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770" r:id="rId1"/>
  </p:sldMasterIdLst>
  <p:notesMasterIdLst>
    <p:notesMasterId r:id="rId15"/>
  </p:notesMasterIdLst>
  <p:handoutMasterIdLst>
    <p:handoutMasterId r:id="rId16"/>
  </p:handoutMasterIdLst>
  <p:sldIdLst>
    <p:sldId id="256" r:id="rId2"/>
    <p:sldId id="486" r:id="rId3"/>
    <p:sldId id="586" r:id="rId4"/>
    <p:sldId id="587" r:id="rId5"/>
    <p:sldId id="576" r:id="rId6"/>
    <p:sldId id="578" r:id="rId7"/>
    <p:sldId id="588" r:id="rId8"/>
    <p:sldId id="580" r:id="rId9"/>
    <p:sldId id="581" r:id="rId10"/>
    <p:sldId id="589" r:id="rId11"/>
    <p:sldId id="584" r:id="rId12"/>
    <p:sldId id="585" r:id="rId13"/>
    <p:sldId id="583" r:id="rId14"/>
  </p:sldIdLst>
  <p:sldSz cx="9144000" cy="5143500" type="screen16x9"/>
  <p:notesSz cx="7010400" cy="9296400"/>
  <p:defaultTextStyle>
    <a:defPPr>
      <a:defRPr lang="en-GB"/>
    </a:defPPr>
    <a:lvl1pPr algn="l" rtl="0" fontAlgn="base">
      <a:spcBef>
        <a:spcPct val="0"/>
      </a:spcBef>
      <a:spcAft>
        <a:spcPct val="0"/>
      </a:spcAft>
      <a:defRPr sz="800" b="1" kern="1200">
        <a:solidFill>
          <a:schemeClr val="bg1"/>
        </a:solidFill>
        <a:latin typeface="Tahoma" pitchFamily="34" charset="0"/>
        <a:ea typeface="+mn-ea"/>
        <a:cs typeface="+mn-cs"/>
      </a:defRPr>
    </a:lvl1pPr>
    <a:lvl2pPr marL="389361" algn="l" rtl="0" fontAlgn="base">
      <a:spcBef>
        <a:spcPct val="0"/>
      </a:spcBef>
      <a:spcAft>
        <a:spcPct val="0"/>
      </a:spcAft>
      <a:defRPr sz="800" b="1" kern="1200">
        <a:solidFill>
          <a:schemeClr val="bg1"/>
        </a:solidFill>
        <a:latin typeface="Tahoma" pitchFamily="34" charset="0"/>
        <a:ea typeface="+mn-ea"/>
        <a:cs typeface="+mn-cs"/>
      </a:defRPr>
    </a:lvl2pPr>
    <a:lvl3pPr marL="778721" algn="l" rtl="0" fontAlgn="base">
      <a:spcBef>
        <a:spcPct val="0"/>
      </a:spcBef>
      <a:spcAft>
        <a:spcPct val="0"/>
      </a:spcAft>
      <a:defRPr sz="800" b="1" kern="1200">
        <a:solidFill>
          <a:schemeClr val="bg1"/>
        </a:solidFill>
        <a:latin typeface="Tahoma" pitchFamily="34" charset="0"/>
        <a:ea typeface="+mn-ea"/>
        <a:cs typeface="+mn-cs"/>
      </a:defRPr>
    </a:lvl3pPr>
    <a:lvl4pPr marL="1168080" algn="l" rtl="0" fontAlgn="base">
      <a:spcBef>
        <a:spcPct val="0"/>
      </a:spcBef>
      <a:spcAft>
        <a:spcPct val="0"/>
      </a:spcAft>
      <a:defRPr sz="800" b="1" kern="1200">
        <a:solidFill>
          <a:schemeClr val="bg1"/>
        </a:solidFill>
        <a:latin typeface="Tahoma" pitchFamily="34" charset="0"/>
        <a:ea typeface="+mn-ea"/>
        <a:cs typeface="+mn-cs"/>
      </a:defRPr>
    </a:lvl4pPr>
    <a:lvl5pPr marL="1557441" algn="l" rtl="0" fontAlgn="base">
      <a:spcBef>
        <a:spcPct val="0"/>
      </a:spcBef>
      <a:spcAft>
        <a:spcPct val="0"/>
      </a:spcAft>
      <a:defRPr sz="800" b="1" kern="1200">
        <a:solidFill>
          <a:schemeClr val="bg1"/>
        </a:solidFill>
        <a:latin typeface="Tahoma" pitchFamily="34" charset="0"/>
        <a:ea typeface="+mn-ea"/>
        <a:cs typeface="+mn-cs"/>
      </a:defRPr>
    </a:lvl5pPr>
    <a:lvl6pPr marL="1946800" algn="l" defTabSz="778721" rtl="0" eaLnBrk="1" latinLnBrk="0" hangingPunct="1">
      <a:defRPr sz="800" b="1" kern="1200">
        <a:solidFill>
          <a:schemeClr val="bg1"/>
        </a:solidFill>
        <a:latin typeface="Tahoma" pitchFamily="34" charset="0"/>
        <a:ea typeface="+mn-ea"/>
        <a:cs typeface="+mn-cs"/>
      </a:defRPr>
    </a:lvl6pPr>
    <a:lvl7pPr marL="2336161" algn="l" defTabSz="778721" rtl="0" eaLnBrk="1" latinLnBrk="0" hangingPunct="1">
      <a:defRPr sz="800" b="1" kern="1200">
        <a:solidFill>
          <a:schemeClr val="bg1"/>
        </a:solidFill>
        <a:latin typeface="Tahoma" pitchFamily="34" charset="0"/>
        <a:ea typeface="+mn-ea"/>
        <a:cs typeface="+mn-cs"/>
      </a:defRPr>
    </a:lvl7pPr>
    <a:lvl8pPr marL="2725520" algn="l" defTabSz="778721" rtl="0" eaLnBrk="1" latinLnBrk="0" hangingPunct="1">
      <a:defRPr sz="800" b="1" kern="1200">
        <a:solidFill>
          <a:schemeClr val="bg1"/>
        </a:solidFill>
        <a:latin typeface="Tahoma" pitchFamily="34" charset="0"/>
        <a:ea typeface="+mn-ea"/>
        <a:cs typeface="+mn-cs"/>
      </a:defRPr>
    </a:lvl8pPr>
    <a:lvl9pPr marL="3114880" algn="l" defTabSz="778721" rtl="0" eaLnBrk="1" latinLnBrk="0" hangingPunct="1">
      <a:defRPr sz="800" b="1" kern="1200">
        <a:solidFill>
          <a:schemeClr val="bg1"/>
        </a:solidFill>
        <a:latin typeface="Tahoma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73">
          <p15:clr>
            <a:srgbClr val="A4A3A4"/>
          </p15:clr>
        </p15:guide>
        <p15:guide id="2" orient="horz" pos="1058">
          <p15:clr>
            <a:srgbClr val="A4A3A4"/>
          </p15:clr>
        </p15:guide>
        <p15:guide id="3" orient="horz" pos="2036">
          <p15:clr>
            <a:srgbClr val="A4A3A4"/>
          </p15:clr>
        </p15:guide>
        <p15:guide id="4" orient="horz" pos="1792">
          <p15:clr>
            <a:srgbClr val="A4A3A4"/>
          </p15:clr>
        </p15:guide>
        <p15:guide id="5" orient="horz" pos="1548">
          <p15:clr>
            <a:srgbClr val="A4A3A4"/>
          </p15:clr>
        </p15:guide>
        <p15:guide id="6" orient="horz" pos="1301">
          <p15:clr>
            <a:srgbClr val="A4A3A4"/>
          </p15:clr>
        </p15:guide>
        <p15:guide id="7" orient="horz" pos="2527">
          <p15:clr>
            <a:srgbClr val="A4A3A4"/>
          </p15:clr>
        </p15:guide>
        <p15:guide id="8" orient="horz" pos="2774">
          <p15:clr>
            <a:srgbClr val="A4A3A4"/>
          </p15:clr>
        </p15:guide>
        <p15:guide id="9" pos="3890">
          <p15:clr>
            <a:srgbClr val="A4A3A4"/>
          </p15:clr>
        </p15:guide>
        <p15:guide id="10" pos="330">
          <p15:clr>
            <a:srgbClr val="A4A3A4"/>
          </p15:clr>
        </p15:guide>
        <p15:guide id="11" pos="842">
          <p15:clr>
            <a:srgbClr val="A4A3A4"/>
          </p15:clr>
        </p15:guide>
        <p15:guide id="12" pos="4504">
          <p15:clr>
            <a:srgbClr val="A4A3A4"/>
          </p15:clr>
        </p15:guide>
        <p15:guide id="13" pos="5129">
          <p15:clr>
            <a:srgbClr val="A4A3A4"/>
          </p15:clr>
        </p15:guide>
        <p15:guide id="14" pos="1314">
          <p15:clr>
            <a:srgbClr val="A4A3A4"/>
          </p15:clr>
        </p15:guide>
        <p15:guide id="15" pos="371">
          <p15:clr>
            <a:srgbClr val="A4A3A4"/>
          </p15:clr>
        </p15:guide>
        <p15:guide id="16" pos="165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>
          <p15:clr>
            <a:srgbClr val="A4A3A4"/>
          </p15:clr>
        </p15:guide>
        <p15:guide id="2" pos="2207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E2D24"/>
    <a:srgbClr val="009900"/>
    <a:srgbClr val="A2DADE"/>
    <a:srgbClr val="FF9900"/>
    <a:srgbClr val="3333FF"/>
    <a:srgbClr val="4E0B55"/>
    <a:srgbClr val="C7A775"/>
    <a:srgbClr val="00B5EF"/>
    <a:srgbClr val="CDE3A0"/>
    <a:srgbClr val="EFC8D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3590" autoAdjust="0"/>
    <p:restoredTop sz="89835" autoAdjust="0"/>
  </p:normalViewPr>
  <p:slideViewPr>
    <p:cSldViewPr snapToGrid="0">
      <p:cViewPr varScale="1">
        <p:scale>
          <a:sx n="72" d="100"/>
          <a:sy n="72" d="100"/>
        </p:scale>
        <p:origin x="210" y="78"/>
      </p:cViewPr>
      <p:guideLst>
        <p:guide orient="horz" pos="873"/>
        <p:guide orient="horz" pos="1058"/>
        <p:guide orient="horz" pos="2036"/>
        <p:guide orient="horz" pos="1792"/>
        <p:guide orient="horz" pos="1548"/>
        <p:guide orient="horz" pos="1301"/>
        <p:guide orient="horz" pos="2527"/>
        <p:guide orient="horz" pos="2774"/>
        <p:guide pos="3890"/>
        <p:guide pos="330"/>
        <p:guide pos="842"/>
        <p:guide pos="4504"/>
        <p:guide pos="5129"/>
        <p:guide pos="1314"/>
        <p:guide pos="371"/>
        <p:guide pos="165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90" d="100"/>
        <a:sy n="90" d="100"/>
      </p:scale>
      <p:origin x="0" y="0"/>
    </p:cViewPr>
  </p:sorterViewPr>
  <p:notesViewPr>
    <p:cSldViewPr snapToGrid="0">
      <p:cViewPr varScale="1">
        <p:scale>
          <a:sx n="69" d="100"/>
          <a:sy n="69" d="100"/>
        </p:scale>
        <p:origin x="-3606" y="-120"/>
      </p:cViewPr>
      <p:guideLst>
        <p:guide orient="horz" pos="2928"/>
        <p:guide pos="2207"/>
      </p:guideLst>
    </p:cSldViewPr>
  </p:notesViewPr>
  <p:gridSpacing cx="90012" cy="90012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BBD803E-17CE-4238-A92C-47F0C5B2DF25}" type="doc">
      <dgm:prSet loTypeId="urn:microsoft.com/office/officeart/2005/8/layout/cycle2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79350BB6-147C-4245-9342-156FB94865AE}">
      <dgm:prSet phldrT="[Text]" custT="1"/>
      <dgm:spPr/>
      <dgm:t>
        <a:bodyPr/>
        <a:lstStyle/>
        <a:p>
          <a:r>
            <a:rPr lang="en-US" sz="4000" dirty="0" smtClean="0"/>
            <a:t>Author</a:t>
          </a:r>
          <a:endParaRPr lang="en-US" sz="1900" dirty="0" smtClean="0"/>
        </a:p>
        <a:p>
          <a:endParaRPr lang="en-US" sz="1050" dirty="0">
            <a:solidFill>
              <a:schemeClr val="tx1"/>
            </a:solidFill>
          </a:endParaRPr>
        </a:p>
      </dgm:t>
    </dgm:pt>
    <dgm:pt modelId="{441D43D0-408B-489E-A084-C76F1A599399}" type="parTrans" cxnId="{01DDCEE4-3366-4DE8-8E6C-FC230622F75E}">
      <dgm:prSet/>
      <dgm:spPr/>
      <dgm:t>
        <a:bodyPr/>
        <a:lstStyle/>
        <a:p>
          <a:endParaRPr lang="en-US"/>
        </a:p>
      </dgm:t>
    </dgm:pt>
    <dgm:pt modelId="{1B2A0D6B-2038-42D7-B25E-D1133C26F6F8}" type="sibTrans" cxnId="{01DDCEE4-3366-4DE8-8E6C-FC230622F75E}">
      <dgm:prSet/>
      <dgm:spPr/>
      <dgm:t>
        <a:bodyPr/>
        <a:lstStyle/>
        <a:p>
          <a:endParaRPr lang="en-US"/>
        </a:p>
      </dgm:t>
    </dgm:pt>
    <dgm:pt modelId="{DFAD8C6A-05E1-4B05-944C-C0C5B7FE7E15}">
      <dgm:prSet phldrT="[Text]" custT="1"/>
      <dgm:spPr/>
      <dgm:t>
        <a:bodyPr/>
        <a:lstStyle/>
        <a:p>
          <a:endParaRPr lang="en-US" sz="1800" dirty="0" smtClean="0"/>
        </a:p>
        <a:p>
          <a:r>
            <a:rPr lang="en-US" sz="3600" dirty="0" smtClean="0"/>
            <a:t>Reviewer</a:t>
          </a:r>
        </a:p>
        <a:p>
          <a:endParaRPr lang="en-US" sz="1050" dirty="0">
            <a:solidFill>
              <a:schemeClr val="tx1"/>
            </a:solidFill>
          </a:endParaRPr>
        </a:p>
      </dgm:t>
    </dgm:pt>
    <dgm:pt modelId="{AF92CD6A-160A-4429-9D62-CDC3785B1BDB}" type="parTrans" cxnId="{B54AC27A-43EF-4443-BBEC-3D46713A0932}">
      <dgm:prSet/>
      <dgm:spPr/>
      <dgm:t>
        <a:bodyPr/>
        <a:lstStyle/>
        <a:p>
          <a:endParaRPr lang="en-US"/>
        </a:p>
      </dgm:t>
    </dgm:pt>
    <dgm:pt modelId="{9BFB0DFC-8A9F-485A-8240-57A831D7C594}" type="sibTrans" cxnId="{B54AC27A-43EF-4443-BBEC-3D46713A0932}">
      <dgm:prSet/>
      <dgm:spPr/>
      <dgm:t>
        <a:bodyPr/>
        <a:lstStyle/>
        <a:p>
          <a:endParaRPr lang="en-US"/>
        </a:p>
      </dgm:t>
    </dgm:pt>
    <dgm:pt modelId="{3FAD925C-ED6C-44B5-97ED-7DC13033077C}">
      <dgm:prSet phldrT="[Text]"/>
      <dgm:spPr/>
      <dgm:t>
        <a:bodyPr/>
        <a:lstStyle/>
        <a:p>
          <a:r>
            <a:rPr lang="en-US" dirty="0" smtClean="0"/>
            <a:t>Editor</a:t>
          </a:r>
          <a:endParaRPr lang="en-US" dirty="0"/>
        </a:p>
      </dgm:t>
    </dgm:pt>
    <dgm:pt modelId="{FC546B57-D626-42A8-B386-D7DDFC87CFCF}" type="parTrans" cxnId="{5A67794F-F63F-48F1-B560-5C3884F5FBB2}">
      <dgm:prSet/>
      <dgm:spPr/>
      <dgm:t>
        <a:bodyPr/>
        <a:lstStyle/>
        <a:p>
          <a:endParaRPr lang="en-US"/>
        </a:p>
      </dgm:t>
    </dgm:pt>
    <dgm:pt modelId="{C016DE71-B002-4C0A-87D4-07EAEEAEF1B5}" type="sibTrans" cxnId="{5A67794F-F63F-48F1-B560-5C3884F5FBB2}">
      <dgm:prSet/>
      <dgm:spPr/>
      <dgm:t>
        <a:bodyPr/>
        <a:lstStyle/>
        <a:p>
          <a:endParaRPr lang="en-US"/>
        </a:p>
      </dgm:t>
    </dgm:pt>
    <dgm:pt modelId="{B417D23B-623D-417B-ACBF-2237107BD0E8}" type="pres">
      <dgm:prSet presAssocID="{EBBD803E-17CE-4238-A92C-47F0C5B2DF25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394D2A99-C3C8-4EE1-93E3-0D8B38AC5772}" type="pres">
      <dgm:prSet presAssocID="{79350BB6-147C-4245-9342-156FB94865AE}" presName="node" presStyleLbl="node1" presStyleIdx="0" presStyleCnt="3" custScaleX="117160" custScaleY="90678" custRadScaleRad="157190" custRadScaleInc="-17541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2442038-6F7D-4C6E-A004-387A6DD4263C}" type="pres">
      <dgm:prSet presAssocID="{1B2A0D6B-2038-42D7-B25E-D1133C26F6F8}" presName="sibTrans" presStyleLbl="sibTrans2D1" presStyleIdx="0" presStyleCnt="3" custAng="209013" custScaleX="60709" custScaleY="38883" custLinFactNeighborX="2015" custLinFactNeighborY="34247"/>
      <dgm:spPr/>
      <dgm:t>
        <a:bodyPr/>
        <a:lstStyle/>
        <a:p>
          <a:endParaRPr lang="en-US"/>
        </a:p>
      </dgm:t>
    </dgm:pt>
    <dgm:pt modelId="{CA90466E-0F01-4D69-AE53-D80107DCB448}" type="pres">
      <dgm:prSet presAssocID="{1B2A0D6B-2038-42D7-B25E-D1133C26F6F8}" presName="connectorText" presStyleLbl="sibTrans2D1" presStyleIdx="0" presStyleCnt="3"/>
      <dgm:spPr/>
      <dgm:t>
        <a:bodyPr/>
        <a:lstStyle/>
        <a:p>
          <a:endParaRPr lang="en-US"/>
        </a:p>
      </dgm:t>
    </dgm:pt>
    <dgm:pt modelId="{CEDEB88B-2EC1-423D-8DCC-F83C91F8CF4E}" type="pres">
      <dgm:prSet presAssocID="{DFAD8C6A-05E1-4B05-944C-C0C5B7FE7E15}" presName="node" presStyleLbl="node1" presStyleIdx="1" presStyleCnt="3" custScaleX="139687" custScaleY="83574" custRadScaleRad="156202" custRadScaleInc="-3607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612EBF5-47A7-487E-8073-CE4F1F0B52AD}" type="pres">
      <dgm:prSet presAssocID="{9BFB0DFC-8A9F-485A-8240-57A831D7C594}" presName="sibTrans" presStyleLbl="sibTrans2D1" presStyleIdx="1" presStyleCnt="3" custAng="11199583" custLinFactNeighborX="-5335" custLinFactNeighborY="-9339"/>
      <dgm:spPr/>
      <dgm:t>
        <a:bodyPr/>
        <a:lstStyle/>
        <a:p>
          <a:endParaRPr lang="en-US"/>
        </a:p>
      </dgm:t>
    </dgm:pt>
    <dgm:pt modelId="{29277E4E-CE8A-4298-977E-2D4186C266BB}" type="pres">
      <dgm:prSet presAssocID="{9BFB0DFC-8A9F-485A-8240-57A831D7C594}" presName="connectorText" presStyleLbl="sibTrans2D1" presStyleIdx="1" presStyleCnt="3"/>
      <dgm:spPr/>
      <dgm:t>
        <a:bodyPr/>
        <a:lstStyle/>
        <a:p>
          <a:endParaRPr lang="en-US"/>
        </a:p>
      </dgm:t>
    </dgm:pt>
    <dgm:pt modelId="{35CEF56C-D060-404F-B624-5A4FD768B7AD}" type="pres">
      <dgm:prSet presAssocID="{3FAD925C-ED6C-44B5-97ED-7DC13033077C}" presName="node" presStyleLbl="node1" presStyleIdx="2" presStyleCnt="3" custScaleX="121314" custScaleY="81660" custRadScaleRad="101259" custRadScaleInc="19383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5407364-C3C7-4BB5-8716-9E9A6FD93B87}" type="pres">
      <dgm:prSet presAssocID="{C016DE71-B002-4C0A-87D4-07EAEEAEF1B5}" presName="sibTrans" presStyleLbl="sibTrans2D1" presStyleIdx="2" presStyleCnt="3"/>
      <dgm:spPr/>
      <dgm:t>
        <a:bodyPr/>
        <a:lstStyle/>
        <a:p>
          <a:endParaRPr lang="en-US"/>
        </a:p>
      </dgm:t>
    </dgm:pt>
    <dgm:pt modelId="{D7E3A76B-59BC-4567-A713-6A8EAC75A6B2}" type="pres">
      <dgm:prSet presAssocID="{C016DE71-B002-4C0A-87D4-07EAEEAEF1B5}" presName="connectorText" presStyleLbl="sibTrans2D1" presStyleIdx="2" presStyleCnt="3"/>
      <dgm:spPr/>
      <dgm:t>
        <a:bodyPr/>
        <a:lstStyle/>
        <a:p>
          <a:endParaRPr lang="en-US"/>
        </a:p>
      </dgm:t>
    </dgm:pt>
  </dgm:ptLst>
  <dgm:cxnLst>
    <dgm:cxn modelId="{B54AC27A-43EF-4443-BBEC-3D46713A0932}" srcId="{EBBD803E-17CE-4238-A92C-47F0C5B2DF25}" destId="{DFAD8C6A-05E1-4B05-944C-C0C5B7FE7E15}" srcOrd="1" destOrd="0" parTransId="{AF92CD6A-160A-4429-9D62-CDC3785B1BDB}" sibTransId="{9BFB0DFC-8A9F-485A-8240-57A831D7C594}"/>
    <dgm:cxn modelId="{5A67794F-F63F-48F1-B560-5C3884F5FBB2}" srcId="{EBBD803E-17CE-4238-A92C-47F0C5B2DF25}" destId="{3FAD925C-ED6C-44B5-97ED-7DC13033077C}" srcOrd="2" destOrd="0" parTransId="{FC546B57-D626-42A8-B386-D7DDFC87CFCF}" sibTransId="{C016DE71-B002-4C0A-87D4-07EAEEAEF1B5}"/>
    <dgm:cxn modelId="{01DDCEE4-3366-4DE8-8E6C-FC230622F75E}" srcId="{EBBD803E-17CE-4238-A92C-47F0C5B2DF25}" destId="{79350BB6-147C-4245-9342-156FB94865AE}" srcOrd="0" destOrd="0" parTransId="{441D43D0-408B-489E-A084-C76F1A599399}" sibTransId="{1B2A0D6B-2038-42D7-B25E-D1133C26F6F8}"/>
    <dgm:cxn modelId="{5EFE460A-7E26-464A-A6E8-04AA8F0EC386}" type="presOf" srcId="{1B2A0D6B-2038-42D7-B25E-D1133C26F6F8}" destId="{62442038-6F7D-4C6E-A004-387A6DD4263C}" srcOrd="0" destOrd="0" presId="urn:microsoft.com/office/officeart/2005/8/layout/cycle2"/>
    <dgm:cxn modelId="{572841F1-13B1-43D4-98B4-D2440190C367}" type="presOf" srcId="{C016DE71-B002-4C0A-87D4-07EAEEAEF1B5}" destId="{55407364-C3C7-4BB5-8716-9E9A6FD93B87}" srcOrd="0" destOrd="0" presId="urn:microsoft.com/office/officeart/2005/8/layout/cycle2"/>
    <dgm:cxn modelId="{47C33D35-E909-4C8B-9630-D5AE36BD3CFC}" type="presOf" srcId="{EBBD803E-17CE-4238-A92C-47F0C5B2DF25}" destId="{B417D23B-623D-417B-ACBF-2237107BD0E8}" srcOrd="0" destOrd="0" presId="urn:microsoft.com/office/officeart/2005/8/layout/cycle2"/>
    <dgm:cxn modelId="{0E190B5B-776B-420E-9AA7-57F4CF1B378C}" type="presOf" srcId="{C016DE71-B002-4C0A-87D4-07EAEEAEF1B5}" destId="{D7E3A76B-59BC-4567-A713-6A8EAC75A6B2}" srcOrd="1" destOrd="0" presId="urn:microsoft.com/office/officeart/2005/8/layout/cycle2"/>
    <dgm:cxn modelId="{9F682989-6C18-4F28-89E1-12AC1A4FB571}" type="presOf" srcId="{9BFB0DFC-8A9F-485A-8240-57A831D7C594}" destId="{8612EBF5-47A7-487E-8073-CE4F1F0B52AD}" srcOrd="0" destOrd="0" presId="urn:microsoft.com/office/officeart/2005/8/layout/cycle2"/>
    <dgm:cxn modelId="{5E861BC9-5B38-4A0C-B5BA-943014B32AED}" type="presOf" srcId="{9BFB0DFC-8A9F-485A-8240-57A831D7C594}" destId="{29277E4E-CE8A-4298-977E-2D4186C266BB}" srcOrd="1" destOrd="0" presId="urn:microsoft.com/office/officeart/2005/8/layout/cycle2"/>
    <dgm:cxn modelId="{98A6C28D-1126-41AE-BF61-3EB8D55E5C16}" type="presOf" srcId="{1B2A0D6B-2038-42D7-B25E-D1133C26F6F8}" destId="{CA90466E-0F01-4D69-AE53-D80107DCB448}" srcOrd="1" destOrd="0" presId="urn:microsoft.com/office/officeart/2005/8/layout/cycle2"/>
    <dgm:cxn modelId="{F61775C4-66FF-4EA5-99BF-9EF9D490B40E}" type="presOf" srcId="{DFAD8C6A-05E1-4B05-944C-C0C5B7FE7E15}" destId="{CEDEB88B-2EC1-423D-8DCC-F83C91F8CF4E}" srcOrd="0" destOrd="0" presId="urn:microsoft.com/office/officeart/2005/8/layout/cycle2"/>
    <dgm:cxn modelId="{4754509B-3F36-4B4E-8FB6-22C5D220A586}" type="presOf" srcId="{79350BB6-147C-4245-9342-156FB94865AE}" destId="{394D2A99-C3C8-4EE1-93E3-0D8B38AC5772}" srcOrd="0" destOrd="0" presId="urn:microsoft.com/office/officeart/2005/8/layout/cycle2"/>
    <dgm:cxn modelId="{B3B241BF-E765-440E-9F93-9BCADBAFD8A0}" type="presOf" srcId="{3FAD925C-ED6C-44B5-97ED-7DC13033077C}" destId="{35CEF56C-D060-404F-B624-5A4FD768B7AD}" srcOrd="0" destOrd="0" presId="urn:microsoft.com/office/officeart/2005/8/layout/cycle2"/>
    <dgm:cxn modelId="{75F62FC7-A35E-4E22-9EB1-E373C98C0194}" type="presParOf" srcId="{B417D23B-623D-417B-ACBF-2237107BD0E8}" destId="{394D2A99-C3C8-4EE1-93E3-0D8B38AC5772}" srcOrd="0" destOrd="0" presId="urn:microsoft.com/office/officeart/2005/8/layout/cycle2"/>
    <dgm:cxn modelId="{1E3E2B88-0E6D-4856-9F89-60580C0D3BDA}" type="presParOf" srcId="{B417D23B-623D-417B-ACBF-2237107BD0E8}" destId="{62442038-6F7D-4C6E-A004-387A6DD4263C}" srcOrd="1" destOrd="0" presId="urn:microsoft.com/office/officeart/2005/8/layout/cycle2"/>
    <dgm:cxn modelId="{6918BAE2-ED58-4340-8A2F-755144C0CFEB}" type="presParOf" srcId="{62442038-6F7D-4C6E-A004-387A6DD4263C}" destId="{CA90466E-0F01-4D69-AE53-D80107DCB448}" srcOrd="0" destOrd="0" presId="urn:microsoft.com/office/officeart/2005/8/layout/cycle2"/>
    <dgm:cxn modelId="{D4F04B43-1CBD-4416-AF06-D51410822B9A}" type="presParOf" srcId="{B417D23B-623D-417B-ACBF-2237107BD0E8}" destId="{CEDEB88B-2EC1-423D-8DCC-F83C91F8CF4E}" srcOrd="2" destOrd="0" presId="urn:microsoft.com/office/officeart/2005/8/layout/cycle2"/>
    <dgm:cxn modelId="{70FE3EFF-59A0-4E23-968F-A21528DC5A7A}" type="presParOf" srcId="{B417D23B-623D-417B-ACBF-2237107BD0E8}" destId="{8612EBF5-47A7-487E-8073-CE4F1F0B52AD}" srcOrd="3" destOrd="0" presId="urn:microsoft.com/office/officeart/2005/8/layout/cycle2"/>
    <dgm:cxn modelId="{B808A394-50CF-46C6-A693-603481394B95}" type="presParOf" srcId="{8612EBF5-47A7-487E-8073-CE4F1F0B52AD}" destId="{29277E4E-CE8A-4298-977E-2D4186C266BB}" srcOrd="0" destOrd="0" presId="urn:microsoft.com/office/officeart/2005/8/layout/cycle2"/>
    <dgm:cxn modelId="{0310CFAC-C813-4C43-A3ED-C1BAB6567D87}" type="presParOf" srcId="{B417D23B-623D-417B-ACBF-2237107BD0E8}" destId="{35CEF56C-D060-404F-B624-5A4FD768B7AD}" srcOrd="4" destOrd="0" presId="urn:microsoft.com/office/officeart/2005/8/layout/cycle2"/>
    <dgm:cxn modelId="{CB5A6E1C-14D3-47A5-BA72-64B3F0305EFE}" type="presParOf" srcId="{B417D23B-623D-417B-ACBF-2237107BD0E8}" destId="{55407364-C3C7-4BB5-8716-9E9A6FD93B87}" srcOrd="5" destOrd="0" presId="urn:microsoft.com/office/officeart/2005/8/layout/cycle2"/>
    <dgm:cxn modelId="{2F20CA9A-AC3D-4CC7-AF0B-6BC2DD7B718F}" type="presParOf" srcId="{55407364-C3C7-4BB5-8716-9E9A6FD93B87}" destId="{D7E3A76B-59BC-4567-A713-6A8EAC75A6B2}" srcOrd="0" destOrd="0" presId="urn:microsoft.com/office/officeart/2005/8/layout/cycle2"/>
  </dgm:cxnLst>
  <dgm:bg>
    <a:solidFill>
      <a:schemeClr val="bg1"/>
    </a:solidFill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94D2A99-C3C8-4EE1-93E3-0D8B38AC5772}">
      <dsp:nvSpPr>
        <dsp:cNvPr id="0" name=""/>
        <dsp:cNvSpPr/>
      </dsp:nvSpPr>
      <dsp:spPr>
        <a:xfrm>
          <a:off x="526306" y="2494629"/>
          <a:ext cx="2225346" cy="1722345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0" tIns="50800" rIns="50800" bIns="50800" numCol="1" spcCol="1270" anchor="ctr" anchorCtr="0">
          <a:noAutofit/>
        </a:bodyPr>
        <a:lstStyle/>
        <a:p>
          <a:pPr lvl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4000" kern="1200" dirty="0" smtClean="0"/>
            <a:t>Author</a:t>
          </a:r>
          <a:endParaRPr lang="en-US" sz="1900" kern="1200" dirty="0" smtClean="0"/>
        </a:p>
        <a:p>
          <a:pPr lvl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050" kern="1200" dirty="0">
            <a:solidFill>
              <a:schemeClr val="tx1"/>
            </a:solidFill>
          </a:endParaRPr>
        </a:p>
      </dsp:txBody>
      <dsp:txXfrm>
        <a:off x="852200" y="2746861"/>
        <a:ext cx="1573558" cy="1217881"/>
      </dsp:txXfrm>
    </dsp:sp>
    <dsp:sp modelId="{62442038-6F7D-4C6E-A004-387A6DD4263C}">
      <dsp:nvSpPr>
        <dsp:cNvPr id="0" name=""/>
        <dsp:cNvSpPr/>
      </dsp:nvSpPr>
      <dsp:spPr>
        <a:xfrm>
          <a:off x="3622458" y="3306031"/>
          <a:ext cx="842427" cy="249259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000" kern="1200"/>
        </a:p>
      </dsp:txBody>
      <dsp:txXfrm>
        <a:off x="3622458" y="3355883"/>
        <a:ext cx="767649" cy="149555"/>
      </dsp:txXfrm>
    </dsp:sp>
    <dsp:sp modelId="{CEDEB88B-2EC1-423D-8DCC-F83C91F8CF4E}">
      <dsp:nvSpPr>
        <dsp:cNvPr id="0" name=""/>
        <dsp:cNvSpPr/>
      </dsp:nvSpPr>
      <dsp:spPr>
        <a:xfrm>
          <a:off x="5354780" y="2255142"/>
          <a:ext cx="2653226" cy="1587411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800" kern="1200" dirty="0" smtClean="0"/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600" kern="1200" dirty="0" smtClean="0"/>
            <a:t>Reviewer</a:t>
          </a:r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050" kern="1200" dirty="0">
            <a:solidFill>
              <a:schemeClr val="tx1"/>
            </a:solidFill>
          </a:endParaRPr>
        </a:p>
      </dsp:txBody>
      <dsp:txXfrm>
        <a:off x="5743336" y="2487613"/>
        <a:ext cx="1876114" cy="1122469"/>
      </dsp:txXfrm>
    </dsp:sp>
    <dsp:sp modelId="{8612EBF5-47A7-487E-8073-CE4F1F0B52AD}">
      <dsp:nvSpPr>
        <dsp:cNvPr id="0" name=""/>
        <dsp:cNvSpPr/>
      </dsp:nvSpPr>
      <dsp:spPr>
        <a:xfrm rot="2651670">
          <a:off x="4944649" y="1640483"/>
          <a:ext cx="720606" cy="641050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700" kern="1200"/>
        </a:p>
      </dsp:txBody>
      <dsp:txXfrm rot="10800000">
        <a:off x="4971864" y="1701662"/>
        <a:ext cx="528291" cy="384630"/>
      </dsp:txXfrm>
    </dsp:sp>
    <dsp:sp modelId="{35CEF56C-D060-404F-B624-5A4FD768B7AD}">
      <dsp:nvSpPr>
        <dsp:cNvPr id="0" name=""/>
        <dsp:cNvSpPr/>
      </dsp:nvSpPr>
      <dsp:spPr>
        <a:xfrm>
          <a:off x="2876779" y="235433"/>
          <a:ext cx="2304248" cy="1551056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2133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4800" kern="1200" dirty="0" smtClean="0"/>
            <a:t>Editor</a:t>
          </a:r>
          <a:endParaRPr lang="en-US" sz="4800" kern="1200" dirty="0"/>
        </a:p>
      </dsp:txBody>
      <dsp:txXfrm>
        <a:off x="3214228" y="462580"/>
        <a:ext cx="1629350" cy="1096762"/>
      </dsp:txXfrm>
    </dsp:sp>
    <dsp:sp modelId="{55407364-C3C7-4BB5-8716-9E9A6FD93B87}">
      <dsp:nvSpPr>
        <dsp:cNvPr id="0" name=""/>
        <dsp:cNvSpPr/>
      </dsp:nvSpPr>
      <dsp:spPr>
        <a:xfrm rot="8132732">
          <a:off x="2478901" y="1829103"/>
          <a:ext cx="778886" cy="641050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700" kern="1200"/>
        </a:p>
      </dsp:txBody>
      <dsp:txXfrm rot="10800000">
        <a:off x="2643696" y="1889970"/>
        <a:ext cx="586571" cy="38463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2">
  <dgm:title val=""/>
  <dgm:desc val=""/>
  <dgm:catLst>
    <dgm:cat type="cycle" pri="1000"/>
    <dgm:cat type="convert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op="equ" fact="0.25"/>
      <dgm:constr type="sibSp" refType="w" refFor="ch" refPtType="node" fact="0.5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sibTransForEach" axis="followSib" ptType="sibTrans" hideLastTrans="0" cnt="1">
            <dgm:layoutNode name="sibTrans">
              <dgm:choose name="Name11">
                <dgm:if name="Name12" axis="par ch" ptType="doc node" func="cnt" op="lt" val="3">
                  <dgm:alg type="conn">
                    <dgm:param type="begPts" val="radial"/>
                    <dgm:param type="endPts" val="radial"/>
                  </dgm:alg>
                </dgm:if>
                <dgm:else name="Name13">
                  <dgm:alg type="conn">
                    <dgm:param type="begPts" val="auto"/>
                    <dgm:param type="endPts" val="auto"/>
                  </dgm:alg>
                </dgm:else>
              </dgm:choose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1.35"/>
                <dgm:constr type="connDist"/>
                <dgm:constr type="w" for="ch" refType="connDist" fact="0.45"/>
                <dgm:constr type="h" for="ch" refType="h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self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forEach>
        </dgm:if>
        <dgm:else name="Name14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97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65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defTabSz="919163" eaLnBrk="0" hangingPunct="0">
              <a:spcBef>
                <a:spcPct val="0"/>
              </a:spcBef>
              <a:defRPr sz="1200" b="0">
                <a:solidFill>
                  <a:srgbClr val="000000"/>
                </a:solidFill>
                <a:latin typeface="Helvetica" pitchFamily="34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2697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6024396" y="0"/>
            <a:ext cx="1022716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 defTabSz="919163" eaLnBrk="0" hangingPunct="0">
              <a:spcBef>
                <a:spcPct val="0"/>
              </a:spcBef>
              <a:defRPr sz="1200" b="0">
                <a:solidFill>
                  <a:srgbClr val="000000"/>
                </a:solidFill>
                <a:latin typeface="Helvetica" pitchFamily="34" charset="0"/>
              </a:defRPr>
            </a:lvl1pPr>
          </a:lstStyle>
          <a:p>
            <a:pPr>
              <a:defRPr/>
            </a:pPr>
            <a:fld id="{9BDA86A5-C3F8-4600-8CE3-C04B72EF9C2F}" type="datetime4">
              <a:rPr lang="en-GB" smtClean="0"/>
              <a:pPr>
                <a:defRPr/>
              </a:pPr>
              <a:t>24 March 2017</a:t>
            </a:fld>
            <a:endParaRPr lang="de-DE"/>
          </a:p>
        </p:txBody>
      </p:sp>
      <p:sp>
        <p:nvSpPr>
          <p:cNvPr id="12698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104302"/>
            <a:ext cx="65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defTabSz="919163" eaLnBrk="0" hangingPunct="0">
              <a:spcBef>
                <a:spcPct val="0"/>
              </a:spcBef>
              <a:defRPr sz="1200" b="0">
                <a:solidFill>
                  <a:srgbClr val="000000"/>
                </a:solidFill>
                <a:latin typeface="Helvetica" pitchFamily="34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2698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6859562" y="9104302"/>
            <a:ext cx="187551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 defTabSz="919163" eaLnBrk="0" hangingPunct="0">
              <a:spcBef>
                <a:spcPct val="0"/>
              </a:spcBef>
              <a:defRPr sz="1200" b="0">
                <a:solidFill>
                  <a:srgbClr val="000000"/>
                </a:solidFill>
                <a:latin typeface="Helvetica" pitchFamily="34" charset="0"/>
              </a:defRPr>
            </a:lvl1pPr>
          </a:lstStyle>
          <a:p>
            <a:pPr>
              <a:defRPr/>
            </a:pPr>
            <a:fld id="{173C6697-A4F6-43B0-B68C-324E1280CAFB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37117" cy="4652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851" tIns="45926" rIns="91851" bIns="45926" numCol="1" anchor="t" anchorCtr="0" compatLnSpc="1">
            <a:prstTxWarp prst="textNoShape">
              <a:avLst/>
            </a:prstTxWarp>
          </a:bodyPr>
          <a:lstStyle>
            <a:lvl1pPr defTabSz="919163" eaLnBrk="0" hangingPunct="0">
              <a:spcBef>
                <a:spcPct val="0"/>
              </a:spcBef>
              <a:defRPr sz="1200" b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73283" y="0"/>
            <a:ext cx="3037117" cy="4652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851" tIns="45926" rIns="91851" bIns="45926" numCol="1" anchor="t" anchorCtr="0" compatLnSpc="1">
            <a:prstTxWarp prst="textNoShape">
              <a:avLst/>
            </a:prstTxWarp>
          </a:bodyPr>
          <a:lstStyle>
            <a:lvl1pPr algn="r" defTabSz="919163" eaLnBrk="0" hangingPunct="0">
              <a:spcBef>
                <a:spcPct val="0"/>
              </a:spcBef>
              <a:defRPr sz="1200" b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fld id="{AF3C147A-0D2F-4A49-8F4F-33980B94F1F7}" type="datetime4">
              <a:rPr lang="en-GB" smtClean="0"/>
              <a:pPr>
                <a:defRPr/>
              </a:pPr>
              <a:t>24 March 2017</a:t>
            </a:fld>
            <a:endParaRPr lang="de-DE"/>
          </a:p>
        </p:txBody>
      </p:sp>
      <p:sp>
        <p:nvSpPr>
          <p:cNvPr id="3379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06400" y="695325"/>
            <a:ext cx="6197600" cy="34861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32829" y="4414824"/>
            <a:ext cx="5144742" cy="41859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851" tIns="45926" rIns="91851" bIns="4592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831135"/>
            <a:ext cx="3037117" cy="4652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851" tIns="45926" rIns="91851" bIns="45926" numCol="1" anchor="b" anchorCtr="0" compatLnSpc="1">
            <a:prstTxWarp prst="textNoShape">
              <a:avLst/>
            </a:prstTxWarp>
          </a:bodyPr>
          <a:lstStyle>
            <a:lvl1pPr defTabSz="919163" eaLnBrk="0" hangingPunct="0">
              <a:spcBef>
                <a:spcPct val="0"/>
              </a:spcBef>
              <a:defRPr sz="1200" b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73283" y="8831135"/>
            <a:ext cx="3037117" cy="4652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851" tIns="45926" rIns="91851" bIns="45926" numCol="1" anchor="b" anchorCtr="0" compatLnSpc="1">
            <a:prstTxWarp prst="textNoShape">
              <a:avLst/>
            </a:prstTxWarp>
          </a:bodyPr>
          <a:lstStyle>
            <a:lvl1pPr algn="r" defTabSz="919163" eaLnBrk="0" hangingPunct="0">
              <a:spcBef>
                <a:spcPct val="0"/>
              </a:spcBef>
              <a:defRPr sz="1200" b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fld id="{123812D3-E89D-4B71-A037-BF846B8DE299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/>
  <p:notesStyle>
    <a:lvl1pPr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389361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778721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168080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557441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1946800" algn="l" defTabSz="778721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2336161" algn="l" defTabSz="778721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2725520" algn="l" defTabSz="778721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3114880" algn="l" defTabSz="778721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E3FB869D-7AE8-45BD-AD5A-D0DA05E60C73}" type="slidenum">
              <a:rPr lang="de-DE" smtClean="0"/>
              <a:pPr/>
              <a:t>1</a:t>
            </a:fld>
            <a:endParaRPr lang="de-DE" smtClean="0"/>
          </a:p>
        </p:txBody>
      </p:sp>
      <p:sp>
        <p:nvSpPr>
          <p:cNvPr id="348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06400" y="695325"/>
            <a:ext cx="6197600" cy="3486150"/>
          </a:xfrm>
          <a:ln/>
        </p:spPr>
      </p:sp>
      <p:sp>
        <p:nvSpPr>
          <p:cNvPr id="3482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de-DE" smtClean="0"/>
          </a:p>
        </p:txBody>
      </p:sp>
      <p:sp>
        <p:nvSpPr>
          <p:cNvPr id="5" name="Date Placeholder 4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84E8CFAD-6A94-4CB7-B32D-926ACF4E508E}" type="datetime4">
              <a:rPr lang="en-GB" smtClean="0"/>
              <a:pPr>
                <a:defRPr/>
              </a:pPr>
              <a:t>24 March 2017</a:t>
            </a:fld>
            <a:endParaRPr lang="de-D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AF3C147A-0D2F-4A49-8F4F-33980B94F1F7}" type="datetime4">
              <a:rPr lang="en-GB" smtClean="0"/>
              <a:pPr>
                <a:defRPr/>
              </a:pPr>
              <a:t>24 March 2017</a:t>
            </a:fld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23812D3-E89D-4B71-A037-BF846B8DE299}" type="slidenum">
              <a:rPr lang="de-DE" smtClean="0"/>
              <a:pPr>
                <a:defRPr/>
              </a:pPr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6118538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38BB5777-2E45-41D1-883D-BE35D610D2B1}" type="slidenum">
              <a:rPr lang="de-DE"/>
              <a:pPr/>
              <a:t>4</a:t>
            </a:fld>
            <a:endParaRPr lang="de-DE"/>
          </a:p>
        </p:txBody>
      </p:sp>
      <p:sp>
        <p:nvSpPr>
          <p:cNvPr id="40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06400" y="695325"/>
            <a:ext cx="6197600" cy="3486150"/>
          </a:xfrm>
          <a:ln/>
        </p:spPr>
      </p:sp>
      <p:sp>
        <p:nvSpPr>
          <p:cNvPr id="409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4355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5325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AF3C147A-0D2F-4A49-8F4F-33980B94F1F7}" type="datetime4">
              <a:rPr lang="en-GB" smtClean="0"/>
              <a:pPr>
                <a:defRPr/>
              </a:pPr>
              <a:t>24 March 2017</a:t>
            </a:fld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23812D3-E89D-4B71-A037-BF846B8DE299}" type="slidenum">
              <a:rPr lang="de-DE" smtClean="0"/>
              <a:pPr>
                <a:defRPr/>
              </a:pPr>
              <a:t>6</a:t>
            </a:fld>
            <a:endParaRPr 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020500"/>
            <a:ext cx="7772400" cy="1102519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321844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893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87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7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6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6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5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4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GB" dirty="0"/>
          </a:p>
        </p:txBody>
      </p:sp>
      <p:pic>
        <p:nvPicPr>
          <p:cNvPr id="57346" name="Picture 2" descr="H:\MY DOCUMENTS\GSICS\logo\GSICS500px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373923" y="139311"/>
            <a:ext cx="4396154" cy="1450181"/>
          </a:xfrm>
          <a:prstGeom prst="rect">
            <a:avLst/>
          </a:prstGeom>
          <a:noFill/>
        </p:spPr>
      </p:pic>
    </p:spTree>
  </p:cSld>
  <p:clrMapOvr>
    <a:masterClrMapping/>
  </p:clrMapOvr>
  <p:hf hdr="0" ft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17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 rtlCol="0">
            <a:normAutofit/>
          </a:bodyPr>
          <a:lstStyle>
            <a:lvl1pPr marL="0" indent="0">
              <a:buNone/>
              <a:defRPr sz="2700"/>
            </a:lvl1pPr>
            <a:lvl2pPr marL="389361" indent="0">
              <a:buNone/>
              <a:defRPr sz="2400"/>
            </a:lvl2pPr>
            <a:lvl3pPr marL="778721" indent="0">
              <a:buNone/>
              <a:defRPr sz="2000"/>
            </a:lvl3pPr>
            <a:lvl4pPr marL="1168080" indent="0">
              <a:buNone/>
              <a:defRPr sz="1700"/>
            </a:lvl4pPr>
            <a:lvl5pPr marL="1557441" indent="0">
              <a:buNone/>
              <a:defRPr sz="1700"/>
            </a:lvl5pPr>
            <a:lvl6pPr marL="1946800" indent="0">
              <a:buNone/>
              <a:defRPr sz="1700"/>
            </a:lvl6pPr>
            <a:lvl7pPr marL="2336161" indent="0">
              <a:buNone/>
              <a:defRPr sz="1700"/>
            </a:lvl7pPr>
            <a:lvl8pPr marL="2725520" indent="0">
              <a:buNone/>
              <a:defRPr sz="1700"/>
            </a:lvl8pPr>
            <a:lvl9pPr marL="3114880" indent="0">
              <a:buNone/>
              <a:defRPr sz="1700"/>
            </a:lvl9pPr>
          </a:lstStyle>
          <a:p>
            <a:pPr lvl="0"/>
            <a:endParaRPr lang="en-GB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09"/>
            <a:ext cx="5486400" cy="603647"/>
          </a:xfrm>
        </p:spPr>
        <p:txBody>
          <a:bodyPr/>
          <a:lstStyle>
            <a:lvl1pPr marL="0" indent="0">
              <a:buNone/>
              <a:defRPr sz="1200"/>
            </a:lvl1pPr>
            <a:lvl2pPr marL="389361" indent="0">
              <a:buNone/>
              <a:defRPr sz="1000"/>
            </a:lvl2pPr>
            <a:lvl3pPr marL="778721" indent="0">
              <a:buNone/>
              <a:defRPr sz="900"/>
            </a:lvl3pPr>
            <a:lvl4pPr marL="1168080" indent="0">
              <a:buNone/>
              <a:defRPr sz="800"/>
            </a:lvl4pPr>
            <a:lvl5pPr marL="1557441" indent="0">
              <a:buNone/>
              <a:defRPr sz="800"/>
            </a:lvl5pPr>
            <a:lvl6pPr marL="1946800" indent="0">
              <a:buNone/>
              <a:defRPr sz="800"/>
            </a:lvl6pPr>
            <a:lvl7pPr marL="2336161" indent="0">
              <a:buNone/>
              <a:defRPr sz="800"/>
            </a:lvl7pPr>
            <a:lvl8pPr marL="2725520" indent="0">
              <a:buNone/>
              <a:defRPr sz="800"/>
            </a:lvl8pPr>
            <a:lvl9pPr marL="3114880" indent="0">
              <a:buNone/>
              <a:defRPr sz="8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181850" y="205986"/>
            <a:ext cx="2228850" cy="4388644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5303" y="205986"/>
            <a:ext cx="6534150" cy="4388644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52"/>
          <p:cNvGrpSpPr>
            <a:grpSpLocks/>
          </p:cNvGrpSpPr>
          <p:nvPr userDrawn="1"/>
        </p:nvGrpSpPr>
        <p:grpSpPr bwMode="auto">
          <a:xfrm>
            <a:off x="4411" y="817972"/>
            <a:ext cx="9139603" cy="96440"/>
            <a:chOff x="3" y="2044"/>
            <a:chExt cx="6237" cy="179"/>
          </a:xfrm>
        </p:grpSpPr>
        <p:sp>
          <p:nvSpPr>
            <p:cNvPr id="5" name="Rectangle 53"/>
            <p:cNvSpPr>
              <a:spLocks noChangeArrowheads="1"/>
            </p:cNvSpPr>
            <p:nvPr userDrawn="1"/>
          </p:nvSpPr>
          <p:spPr bwMode="auto">
            <a:xfrm>
              <a:off x="3" y="2044"/>
              <a:ext cx="2433" cy="179"/>
            </a:xfrm>
            <a:prstGeom prst="rect">
              <a:avLst/>
            </a:prstGeom>
            <a:solidFill>
              <a:schemeClr val="bg1">
                <a:alpha val="39999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GB"/>
            </a:p>
          </p:txBody>
        </p:sp>
        <p:sp>
          <p:nvSpPr>
            <p:cNvPr id="6" name="Rectangle 54"/>
            <p:cNvSpPr>
              <a:spLocks noChangeArrowheads="1"/>
            </p:cNvSpPr>
            <p:nvPr userDrawn="1"/>
          </p:nvSpPr>
          <p:spPr bwMode="auto">
            <a:xfrm>
              <a:off x="2557" y="2044"/>
              <a:ext cx="445" cy="179"/>
            </a:xfrm>
            <a:prstGeom prst="rect">
              <a:avLst/>
            </a:prstGeom>
            <a:solidFill>
              <a:schemeClr val="bg1">
                <a:alpha val="39999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GB"/>
            </a:p>
          </p:txBody>
        </p:sp>
        <p:sp>
          <p:nvSpPr>
            <p:cNvPr id="7" name="Rectangle 55"/>
            <p:cNvSpPr>
              <a:spLocks noChangeArrowheads="1"/>
            </p:cNvSpPr>
            <p:nvPr userDrawn="1"/>
          </p:nvSpPr>
          <p:spPr bwMode="auto">
            <a:xfrm>
              <a:off x="3149" y="2044"/>
              <a:ext cx="149" cy="179"/>
            </a:xfrm>
            <a:prstGeom prst="rect">
              <a:avLst/>
            </a:prstGeom>
            <a:solidFill>
              <a:schemeClr val="bg1">
                <a:alpha val="39999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GB"/>
            </a:p>
          </p:txBody>
        </p:sp>
        <p:sp>
          <p:nvSpPr>
            <p:cNvPr id="8" name="Rectangle 56"/>
            <p:cNvSpPr>
              <a:spLocks noChangeArrowheads="1"/>
            </p:cNvSpPr>
            <p:nvPr userDrawn="1"/>
          </p:nvSpPr>
          <p:spPr bwMode="auto">
            <a:xfrm>
              <a:off x="3476" y="2044"/>
              <a:ext cx="89" cy="179"/>
            </a:xfrm>
            <a:prstGeom prst="rect">
              <a:avLst/>
            </a:prstGeom>
            <a:solidFill>
              <a:schemeClr val="bg1">
                <a:alpha val="39999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GB"/>
            </a:p>
          </p:txBody>
        </p:sp>
        <p:sp>
          <p:nvSpPr>
            <p:cNvPr id="9" name="Rectangle 57"/>
            <p:cNvSpPr>
              <a:spLocks noChangeArrowheads="1"/>
            </p:cNvSpPr>
            <p:nvPr userDrawn="1"/>
          </p:nvSpPr>
          <p:spPr bwMode="auto">
            <a:xfrm>
              <a:off x="4398" y="2044"/>
              <a:ext cx="1842" cy="179"/>
            </a:xfrm>
            <a:prstGeom prst="rect">
              <a:avLst/>
            </a:prstGeom>
            <a:solidFill>
              <a:schemeClr val="bg1">
                <a:alpha val="39999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GB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 b="1"/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000" b="1"/>
            </a:lvl1pPr>
            <a:lvl2pPr>
              <a:defRPr sz="1700" b="1"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94"/>
            <a:ext cx="7772400" cy="1021556"/>
          </a:xfrm>
        </p:spPr>
        <p:txBody>
          <a:bodyPr anchor="t"/>
          <a:lstStyle>
            <a:lvl1pPr algn="l">
              <a:defRPr sz="34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1pPr>
            <a:lvl2pPr marL="389361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77872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16808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55744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946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33616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72552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311488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985"/>
            <a:ext cx="8229600" cy="715565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389361" indent="0">
              <a:buNone/>
              <a:defRPr sz="1700" b="1"/>
            </a:lvl2pPr>
            <a:lvl3pPr marL="778721" indent="0">
              <a:buNone/>
              <a:defRPr sz="1500" b="1"/>
            </a:lvl3pPr>
            <a:lvl4pPr marL="1168080" indent="0">
              <a:buNone/>
              <a:defRPr sz="1400" b="1"/>
            </a:lvl4pPr>
            <a:lvl5pPr marL="1557441" indent="0">
              <a:buNone/>
              <a:defRPr sz="1400" b="1"/>
            </a:lvl5pPr>
            <a:lvl6pPr marL="1946800" indent="0">
              <a:buNone/>
              <a:defRPr sz="1400" b="1"/>
            </a:lvl6pPr>
            <a:lvl7pPr marL="2336161" indent="0">
              <a:buNone/>
              <a:defRPr sz="1400" b="1"/>
            </a:lvl7pPr>
            <a:lvl8pPr marL="2725520" indent="0">
              <a:buNone/>
              <a:defRPr sz="1400" b="1"/>
            </a:lvl8pPr>
            <a:lvl9pPr marL="3114880" indent="0">
              <a:buNone/>
              <a:defRPr sz="14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000"/>
            </a:lvl1pPr>
            <a:lvl2pPr>
              <a:defRPr sz="1700"/>
            </a:lvl2pPr>
            <a:lvl3pPr>
              <a:defRPr sz="15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9" y="1151335"/>
            <a:ext cx="4041775" cy="47982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389361" indent="0">
              <a:buNone/>
              <a:defRPr sz="1700" b="1"/>
            </a:lvl2pPr>
            <a:lvl3pPr marL="778721" indent="0">
              <a:buNone/>
              <a:defRPr sz="1500" b="1"/>
            </a:lvl3pPr>
            <a:lvl4pPr marL="1168080" indent="0">
              <a:buNone/>
              <a:defRPr sz="1400" b="1"/>
            </a:lvl4pPr>
            <a:lvl5pPr marL="1557441" indent="0">
              <a:buNone/>
              <a:defRPr sz="1400" b="1"/>
            </a:lvl5pPr>
            <a:lvl6pPr marL="1946800" indent="0">
              <a:buNone/>
              <a:defRPr sz="1400" b="1"/>
            </a:lvl6pPr>
            <a:lvl7pPr marL="2336161" indent="0">
              <a:buNone/>
              <a:defRPr sz="1400" b="1"/>
            </a:lvl7pPr>
            <a:lvl8pPr marL="2725520" indent="0">
              <a:buNone/>
              <a:defRPr sz="1400" b="1"/>
            </a:lvl8pPr>
            <a:lvl9pPr marL="3114880" indent="0">
              <a:buNone/>
              <a:defRPr sz="14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9" y="1631156"/>
            <a:ext cx="4041775" cy="2963466"/>
          </a:xfrm>
        </p:spPr>
        <p:txBody>
          <a:bodyPr/>
          <a:lstStyle>
            <a:lvl1pPr>
              <a:defRPr sz="2000"/>
            </a:lvl1pPr>
            <a:lvl2pPr>
              <a:defRPr sz="1700"/>
            </a:lvl2pPr>
            <a:lvl3pPr>
              <a:defRPr sz="15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200155"/>
            <a:ext cx="4381500" cy="339447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7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29202" y="1200155"/>
            <a:ext cx="3666392" cy="339447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7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52"/>
          <p:cNvGrpSpPr>
            <a:grpSpLocks/>
          </p:cNvGrpSpPr>
          <p:nvPr userDrawn="1"/>
        </p:nvGrpSpPr>
        <p:grpSpPr bwMode="auto">
          <a:xfrm>
            <a:off x="4411" y="817972"/>
            <a:ext cx="9139603" cy="96440"/>
            <a:chOff x="3" y="2044"/>
            <a:chExt cx="6237" cy="179"/>
          </a:xfrm>
        </p:grpSpPr>
        <p:sp>
          <p:nvSpPr>
            <p:cNvPr id="4" name="Rectangle 53"/>
            <p:cNvSpPr>
              <a:spLocks noChangeArrowheads="1"/>
            </p:cNvSpPr>
            <p:nvPr userDrawn="1"/>
          </p:nvSpPr>
          <p:spPr bwMode="auto">
            <a:xfrm>
              <a:off x="3" y="2044"/>
              <a:ext cx="2433" cy="179"/>
            </a:xfrm>
            <a:prstGeom prst="rect">
              <a:avLst/>
            </a:prstGeom>
            <a:solidFill>
              <a:schemeClr val="bg1">
                <a:alpha val="39999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GB"/>
            </a:p>
          </p:txBody>
        </p:sp>
        <p:sp>
          <p:nvSpPr>
            <p:cNvPr id="5" name="Rectangle 54"/>
            <p:cNvSpPr>
              <a:spLocks noChangeArrowheads="1"/>
            </p:cNvSpPr>
            <p:nvPr userDrawn="1"/>
          </p:nvSpPr>
          <p:spPr bwMode="auto">
            <a:xfrm>
              <a:off x="2557" y="2044"/>
              <a:ext cx="445" cy="179"/>
            </a:xfrm>
            <a:prstGeom prst="rect">
              <a:avLst/>
            </a:prstGeom>
            <a:solidFill>
              <a:schemeClr val="bg1">
                <a:alpha val="39999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GB"/>
            </a:p>
          </p:txBody>
        </p:sp>
        <p:sp>
          <p:nvSpPr>
            <p:cNvPr id="6" name="Rectangle 55"/>
            <p:cNvSpPr>
              <a:spLocks noChangeArrowheads="1"/>
            </p:cNvSpPr>
            <p:nvPr userDrawn="1"/>
          </p:nvSpPr>
          <p:spPr bwMode="auto">
            <a:xfrm>
              <a:off x="3149" y="2044"/>
              <a:ext cx="149" cy="179"/>
            </a:xfrm>
            <a:prstGeom prst="rect">
              <a:avLst/>
            </a:prstGeom>
            <a:solidFill>
              <a:schemeClr val="bg1">
                <a:alpha val="39999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GB"/>
            </a:p>
          </p:txBody>
        </p:sp>
        <p:sp>
          <p:nvSpPr>
            <p:cNvPr id="7" name="Rectangle 56"/>
            <p:cNvSpPr>
              <a:spLocks noChangeArrowheads="1"/>
            </p:cNvSpPr>
            <p:nvPr userDrawn="1"/>
          </p:nvSpPr>
          <p:spPr bwMode="auto">
            <a:xfrm>
              <a:off x="3476" y="2044"/>
              <a:ext cx="89" cy="179"/>
            </a:xfrm>
            <a:prstGeom prst="rect">
              <a:avLst/>
            </a:prstGeom>
            <a:solidFill>
              <a:schemeClr val="bg1">
                <a:alpha val="39999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GB"/>
            </a:p>
          </p:txBody>
        </p:sp>
        <p:sp>
          <p:nvSpPr>
            <p:cNvPr id="8" name="Rectangle 57"/>
            <p:cNvSpPr>
              <a:spLocks noChangeArrowheads="1"/>
            </p:cNvSpPr>
            <p:nvPr userDrawn="1"/>
          </p:nvSpPr>
          <p:spPr bwMode="auto">
            <a:xfrm>
              <a:off x="4398" y="2044"/>
              <a:ext cx="1842" cy="179"/>
            </a:xfrm>
            <a:prstGeom prst="rect">
              <a:avLst/>
            </a:prstGeom>
            <a:solidFill>
              <a:schemeClr val="bg1">
                <a:alpha val="39999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GB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52"/>
          <p:cNvGrpSpPr>
            <a:grpSpLocks/>
          </p:cNvGrpSpPr>
          <p:nvPr userDrawn="1"/>
        </p:nvGrpSpPr>
        <p:grpSpPr bwMode="auto">
          <a:xfrm>
            <a:off x="4411" y="817972"/>
            <a:ext cx="9139603" cy="96440"/>
            <a:chOff x="3" y="2044"/>
            <a:chExt cx="6237" cy="179"/>
          </a:xfrm>
        </p:grpSpPr>
        <p:sp>
          <p:nvSpPr>
            <p:cNvPr id="3" name="Rectangle 53"/>
            <p:cNvSpPr>
              <a:spLocks noChangeArrowheads="1"/>
            </p:cNvSpPr>
            <p:nvPr userDrawn="1"/>
          </p:nvSpPr>
          <p:spPr bwMode="auto">
            <a:xfrm>
              <a:off x="3" y="2044"/>
              <a:ext cx="2433" cy="179"/>
            </a:xfrm>
            <a:prstGeom prst="rect">
              <a:avLst/>
            </a:prstGeom>
            <a:solidFill>
              <a:schemeClr val="bg1">
                <a:alpha val="39999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GB"/>
            </a:p>
          </p:txBody>
        </p:sp>
        <p:sp>
          <p:nvSpPr>
            <p:cNvPr id="4" name="Rectangle 54"/>
            <p:cNvSpPr>
              <a:spLocks noChangeArrowheads="1"/>
            </p:cNvSpPr>
            <p:nvPr userDrawn="1"/>
          </p:nvSpPr>
          <p:spPr bwMode="auto">
            <a:xfrm>
              <a:off x="2557" y="2044"/>
              <a:ext cx="445" cy="179"/>
            </a:xfrm>
            <a:prstGeom prst="rect">
              <a:avLst/>
            </a:prstGeom>
            <a:solidFill>
              <a:schemeClr val="bg1">
                <a:alpha val="39999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GB"/>
            </a:p>
          </p:txBody>
        </p:sp>
        <p:sp>
          <p:nvSpPr>
            <p:cNvPr id="5" name="Rectangle 55"/>
            <p:cNvSpPr>
              <a:spLocks noChangeArrowheads="1"/>
            </p:cNvSpPr>
            <p:nvPr userDrawn="1"/>
          </p:nvSpPr>
          <p:spPr bwMode="auto">
            <a:xfrm>
              <a:off x="3149" y="2044"/>
              <a:ext cx="149" cy="179"/>
            </a:xfrm>
            <a:prstGeom prst="rect">
              <a:avLst/>
            </a:prstGeom>
            <a:solidFill>
              <a:schemeClr val="bg1">
                <a:alpha val="39999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GB"/>
            </a:p>
          </p:txBody>
        </p:sp>
        <p:sp>
          <p:nvSpPr>
            <p:cNvPr id="6" name="Rectangle 56"/>
            <p:cNvSpPr>
              <a:spLocks noChangeArrowheads="1"/>
            </p:cNvSpPr>
            <p:nvPr userDrawn="1"/>
          </p:nvSpPr>
          <p:spPr bwMode="auto">
            <a:xfrm>
              <a:off x="3476" y="2044"/>
              <a:ext cx="89" cy="179"/>
            </a:xfrm>
            <a:prstGeom prst="rect">
              <a:avLst/>
            </a:prstGeom>
            <a:solidFill>
              <a:schemeClr val="bg1">
                <a:alpha val="39999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GB"/>
            </a:p>
          </p:txBody>
        </p:sp>
        <p:sp>
          <p:nvSpPr>
            <p:cNvPr id="7" name="Rectangle 57"/>
            <p:cNvSpPr>
              <a:spLocks noChangeArrowheads="1"/>
            </p:cNvSpPr>
            <p:nvPr userDrawn="1"/>
          </p:nvSpPr>
          <p:spPr bwMode="auto">
            <a:xfrm>
              <a:off x="4398" y="2044"/>
              <a:ext cx="1842" cy="179"/>
            </a:xfrm>
            <a:prstGeom prst="rect">
              <a:avLst/>
            </a:prstGeom>
            <a:solidFill>
              <a:schemeClr val="bg1">
                <a:alpha val="39999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eaLnBrk="0" hangingPunct="0">
                <a:spcBef>
                  <a:spcPct val="50000"/>
                </a:spcBef>
                <a:defRPr/>
              </a:pPr>
              <a:endParaRPr lang="en-GB"/>
            </a:p>
          </p:txBody>
        </p:sp>
      </p:grp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4787"/>
            <a:ext cx="3008313" cy="871538"/>
          </a:xfrm>
        </p:spPr>
        <p:txBody>
          <a:bodyPr anchor="b"/>
          <a:lstStyle>
            <a:lvl1pPr algn="l">
              <a:defRPr sz="17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1" y="204797"/>
            <a:ext cx="5111750" cy="4389835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076328"/>
            <a:ext cx="3008313" cy="3518297"/>
          </a:xfrm>
        </p:spPr>
        <p:txBody>
          <a:bodyPr/>
          <a:lstStyle>
            <a:lvl1pPr marL="0" indent="0">
              <a:buNone/>
              <a:defRPr sz="1200"/>
            </a:lvl1pPr>
            <a:lvl2pPr marL="389361" indent="0">
              <a:buNone/>
              <a:defRPr sz="1000"/>
            </a:lvl2pPr>
            <a:lvl3pPr marL="778721" indent="0">
              <a:buNone/>
              <a:defRPr sz="900"/>
            </a:lvl3pPr>
            <a:lvl4pPr marL="1168080" indent="0">
              <a:buNone/>
              <a:defRPr sz="800"/>
            </a:lvl4pPr>
            <a:lvl5pPr marL="1557441" indent="0">
              <a:buNone/>
              <a:defRPr sz="800"/>
            </a:lvl5pPr>
            <a:lvl6pPr marL="1946800" indent="0">
              <a:buNone/>
              <a:defRPr sz="800"/>
            </a:lvl6pPr>
            <a:lvl7pPr marL="2336161" indent="0">
              <a:buNone/>
              <a:defRPr sz="800"/>
            </a:lvl7pPr>
            <a:lvl8pPr marL="2725520" indent="0">
              <a:buNone/>
              <a:defRPr sz="800"/>
            </a:lvl8pPr>
            <a:lvl9pPr marL="3114880" indent="0">
              <a:buNone/>
              <a:defRPr sz="8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05985"/>
            <a:ext cx="8229600" cy="7155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7871" tIns="38935" rIns="77871" bIns="3893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  <a:endParaRPr lang="en-GB" dirty="0" smtClean="0"/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200154"/>
            <a:ext cx="8229600" cy="33944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7871" tIns="38935" rIns="77871" bIns="3893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9" name="Line 8"/>
          <p:cNvSpPr>
            <a:spLocks noChangeShapeType="1"/>
          </p:cNvSpPr>
          <p:nvPr userDrawn="1"/>
        </p:nvSpPr>
        <p:spPr bwMode="auto">
          <a:xfrm>
            <a:off x="527538" y="904875"/>
            <a:ext cx="8159262" cy="0"/>
          </a:xfrm>
          <a:prstGeom prst="line">
            <a:avLst/>
          </a:prstGeom>
          <a:noFill/>
          <a:ln w="57150" cmpd="thinThick">
            <a:solidFill>
              <a:srgbClr val="3333FF"/>
            </a:solidFill>
            <a:round/>
            <a:headEnd/>
            <a:tailEnd/>
          </a:ln>
          <a:effectLst/>
        </p:spPr>
        <p:txBody>
          <a:bodyPr lIns="77871" tIns="38935" rIns="77871" bIns="38935"/>
          <a:lstStyle/>
          <a:p>
            <a:pPr algn="ctr">
              <a:defRPr/>
            </a:pPr>
            <a:endParaRPr lang="en-US"/>
          </a:p>
        </p:txBody>
      </p:sp>
      <p:pic>
        <p:nvPicPr>
          <p:cNvPr id="2056" name="Picture 8" descr="H:\MY DOCUMENTS\GSICS\logo\GSICS180px.png"/>
          <p:cNvPicPr>
            <a:picLocks noChangeAspect="1" noChangeArrowheads="1"/>
          </p:cNvPicPr>
          <p:nvPr userDrawn="1"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7561389" y="4622019"/>
            <a:ext cx="1582615" cy="521494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077" r:id="rId1"/>
    <p:sldLayoutId id="2147484090" r:id="rId2"/>
    <p:sldLayoutId id="2147484087" r:id="rId3"/>
    <p:sldLayoutId id="2147484078" r:id="rId4"/>
    <p:sldLayoutId id="2147484080" r:id="rId5"/>
    <p:sldLayoutId id="2147484079" r:id="rId6"/>
    <p:sldLayoutId id="2147484088" r:id="rId7"/>
    <p:sldLayoutId id="2147484089" r:id="rId8"/>
    <p:sldLayoutId id="2147484081" r:id="rId9"/>
    <p:sldLayoutId id="2147484082" r:id="rId10"/>
    <p:sldLayoutId id="2147484083" r:id="rId11"/>
    <p:sldLayoutId id="2147484084" r:id="rId12"/>
  </p:sldLayoutIdLst>
  <p:hf hdr="0" ft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7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7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7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700">
          <a:solidFill>
            <a:schemeClr val="tx1"/>
          </a:solidFill>
          <a:latin typeface="Calibri" pitchFamily="34" charset="0"/>
        </a:defRPr>
      </a:lvl5pPr>
      <a:lvl6pPr marL="389361" algn="ctr" rtl="0" fontAlgn="base">
        <a:spcBef>
          <a:spcPct val="0"/>
        </a:spcBef>
        <a:spcAft>
          <a:spcPct val="0"/>
        </a:spcAft>
        <a:defRPr sz="3700">
          <a:solidFill>
            <a:schemeClr val="tx1"/>
          </a:solidFill>
          <a:latin typeface="Calibri" pitchFamily="34" charset="0"/>
        </a:defRPr>
      </a:lvl6pPr>
      <a:lvl7pPr marL="778721" algn="ctr" rtl="0" fontAlgn="base">
        <a:spcBef>
          <a:spcPct val="0"/>
        </a:spcBef>
        <a:spcAft>
          <a:spcPct val="0"/>
        </a:spcAft>
        <a:defRPr sz="3700">
          <a:solidFill>
            <a:schemeClr val="tx1"/>
          </a:solidFill>
          <a:latin typeface="Calibri" pitchFamily="34" charset="0"/>
        </a:defRPr>
      </a:lvl7pPr>
      <a:lvl8pPr marL="1168080" algn="ctr" rtl="0" fontAlgn="base">
        <a:spcBef>
          <a:spcPct val="0"/>
        </a:spcBef>
        <a:spcAft>
          <a:spcPct val="0"/>
        </a:spcAft>
        <a:defRPr sz="3700">
          <a:solidFill>
            <a:schemeClr val="tx1"/>
          </a:solidFill>
          <a:latin typeface="Calibri" pitchFamily="34" charset="0"/>
        </a:defRPr>
      </a:lvl8pPr>
      <a:lvl9pPr marL="1557441" algn="ctr" rtl="0" fontAlgn="base">
        <a:spcBef>
          <a:spcPct val="0"/>
        </a:spcBef>
        <a:spcAft>
          <a:spcPct val="0"/>
        </a:spcAft>
        <a:defRPr sz="3700">
          <a:solidFill>
            <a:schemeClr val="tx1"/>
          </a:solidFill>
          <a:latin typeface="Calibri" pitchFamily="34" charset="0"/>
        </a:defRPr>
      </a:lvl9pPr>
    </p:titleStyle>
    <p:bodyStyle>
      <a:lvl1pPr marL="292020" indent="-29202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632710" indent="-243349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500" b="1" kern="1200">
          <a:solidFill>
            <a:schemeClr val="tx2"/>
          </a:solidFill>
          <a:latin typeface="+mn-lt"/>
          <a:ea typeface="+mn-ea"/>
          <a:cs typeface="+mn-cs"/>
        </a:defRPr>
      </a:lvl2pPr>
      <a:lvl3pPr marL="973400" indent="-194678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362759" indent="-194678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52121" indent="-194678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141480" indent="-194678" algn="l" defTabSz="778721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30840" indent="-194678" algn="l" defTabSz="778721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20200" indent="-194678" algn="l" defTabSz="778721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09560" indent="-194678" algn="l" defTabSz="778721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787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361" algn="l" defTabSz="7787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8721" algn="l" defTabSz="7787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080" algn="l" defTabSz="7787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7441" algn="l" defTabSz="7787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6800" algn="l" defTabSz="7787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6161" algn="l" defTabSz="7787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5520" algn="l" defTabSz="7787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4880" algn="l" defTabSz="7787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hyperlink" Target="http://www.atmos-chem-phys.net/" TargetMode="Externa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117" Type="http://schemas.openxmlformats.org/officeDocument/2006/relationships/tags" Target="../tags/tag117.xml"/><Relationship Id="rId299" Type="http://schemas.openxmlformats.org/officeDocument/2006/relationships/tags" Target="../tags/tag299.xml"/><Relationship Id="rId21" Type="http://schemas.openxmlformats.org/officeDocument/2006/relationships/tags" Target="../tags/tag21.xml"/><Relationship Id="rId63" Type="http://schemas.openxmlformats.org/officeDocument/2006/relationships/tags" Target="../tags/tag63.xml"/><Relationship Id="rId159" Type="http://schemas.openxmlformats.org/officeDocument/2006/relationships/tags" Target="../tags/tag159.xml"/><Relationship Id="rId324" Type="http://schemas.openxmlformats.org/officeDocument/2006/relationships/tags" Target="../tags/tag324.xml"/><Relationship Id="rId366" Type="http://schemas.openxmlformats.org/officeDocument/2006/relationships/tags" Target="../tags/tag366.xml"/><Relationship Id="rId170" Type="http://schemas.openxmlformats.org/officeDocument/2006/relationships/tags" Target="../tags/tag170.xml"/><Relationship Id="rId226" Type="http://schemas.openxmlformats.org/officeDocument/2006/relationships/tags" Target="../tags/tag226.xml"/><Relationship Id="rId268" Type="http://schemas.openxmlformats.org/officeDocument/2006/relationships/tags" Target="../tags/tag268.xml"/><Relationship Id="rId32" Type="http://schemas.openxmlformats.org/officeDocument/2006/relationships/tags" Target="../tags/tag32.xml"/><Relationship Id="rId74" Type="http://schemas.openxmlformats.org/officeDocument/2006/relationships/tags" Target="../tags/tag74.xml"/><Relationship Id="rId128" Type="http://schemas.openxmlformats.org/officeDocument/2006/relationships/tags" Target="../tags/tag128.xml"/><Relationship Id="rId335" Type="http://schemas.openxmlformats.org/officeDocument/2006/relationships/tags" Target="../tags/tag335.xml"/><Relationship Id="rId377" Type="http://schemas.openxmlformats.org/officeDocument/2006/relationships/tags" Target="../tags/tag377.xml"/><Relationship Id="rId5" Type="http://schemas.openxmlformats.org/officeDocument/2006/relationships/tags" Target="../tags/tag5.xml"/><Relationship Id="rId181" Type="http://schemas.openxmlformats.org/officeDocument/2006/relationships/tags" Target="../tags/tag181.xml"/><Relationship Id="rId237" Type="http://schemas.openxmlformats.org/officeDocument/2006/relationships/tags" Target="../tags/tag237.xml"/><Relationship Id="rId279" Type="http://schemas.openxmlformats.org/officeDocument/2006/relationships/tags" Target="../tags/tag279.xml"/><Relationship Id="rId43" Type="http://schemas.openxmlformats.org/officeDocument/2006/relationships/tags" Target="../tags/tag43.xml"/><Relationship Id="rId139" Type="http://schemas.openxmlformats.org/officeDocument/2006/relationships/tags" Target="../tags/tag139.xml"/><Relationship Id="rId290" Type="http://schemas.openxmlformats.org/officeDocument/2006/relationships/tags" Target="../tags/tag290.xml"/><Relationship Id="rId304" Type="http://schemas.openxmlformats.org/officeDocument/2006/relationships/tags" Target="../tags/tag304.xml"/><Relationship Id="rId346" Type="http://schemas.openxmlformats.org/officeDocument/2006/relationships/tags" Target="../tags/tag346.xml"/><Relationship Id="rId85" Type="http://schemas.openxmlformats.org/officeDocument/2006/relationships/tags" Target="../tags/tag85.xml"/><Relationship Id="rId150" Type="http://schemas.openxmlformats.org/officeDocument/2006/relationships/tags" Target="../tags/tag150.xml"/><Relationship Id="rId192" Type="http://schemas.openxmlformats.org/officeDocument/2006/relationships/tags" Target="../tags/tag192.xml"/><Relationship Id="rId206" Type="http://schemas.openxmlformats.org/officeDocument/2006/relationships/tags" Target="../tags/tag206.xml"/><Relationship Id="rId248" Type="http://schemas.openxmlformats.org/officeDocument/2006/relationships/tags" Target="../tags/tag248.xml"/><Relationship Id="rId12" Type="http://schemas.openxmlformats.org/officeDocument/2006/relationships/tags" Target="../tags/tag12.xml"/><Relationship Id="rId108" Type="http://schemas.openxmlformats.org/officeDocument/2006/relationships/tags" Target="../tags/tag108.xml"/><Relationship Id="rId315" Type="http://schemas.openxmlformats.org/officeDocument/2006/relationships/tags" Target="../tags/tag315.xml"/><Relationship Id="rId357" Type="http://schemas.openxmlformats.org/officeDocument/2006/relationships/tags" Target="../tags/tag357.xml"/><Relationship Id="rId54" Type="http://schemas.openxmlformats.org/officeDocument/2006/relationships/tags" Target="../tags/tag54.xml"/><Relationship Id="rId96" Type="http://schemas.openxmlformats.org/officeDocument/2006/relationships/tags" Target="../tags/tag96.xml"/><Relationship Id="rId161" Type="http://schemas.openxmlformats.org/officeDocument/2006/relationships/tags" Target="../tags/tag161.xml"/><Relationship Id="rId217" Type="http://schemas.openxmlformats.org/officeDocument/2006/relationships/tags" Target="../tags/tag217.xml"/><Relationship Id="rId259" Type="http://schemas.openxmlformats.org/officeDocument/2006/relationships/tags" Target="../tags/tag259.xml"/><Relationship Id="rId23" Type="http://schemas.openxmlformats.org/officeDocument/2006/relationships/tags" Target="../tags/tag23.xml"/><Relationship Id="rId119" Type="http://schemas.openxmlformats.org/officeDocument/2006/relationships/tags" Target="../tags/tag119.xml"/><Relationship Id="rId270" Type="http://schemas.openxmlformats.org/officeDocument/2006/relationships/tags" Target="../tags/tag270.xml"/><Relationship Id="rId326" Type="http://schemas.openxmlformats.org/officeDocument/2006/relationships/tags" Target="../tags/tag326.xml"/><Relationship Id="rId65" Type="http://schemas.openxmlformats.org/officeDocument/2006/relationships/tags" Target="../tags/tag65.xml"/><Relationship Id="rId130" Type="http://schemas.openxmlformats.org/officeDocument/2006/relationships/tags" Target="../tags/tag130.xml"/><Relationship Id="rId368" Type="http://schemas.openxmlformats.org/officeDocument/2006/relationships/tags" Target="../tags/tag368.xml"/><Relationship Id="rId172" Type="http://schemas.openxmlformats.org/officeDocument/2006/relationships/tags" Target="../tags/tag172.xml"/><Relationship Id="rId228" Type="http://schemas.openxmlformats.org/officeDocument/2006/relationships/tags" Target="../tags/tag228.xml"/><Relationship Id="rId281" Type="http://schemas.openxmlformats.org/officeDocument/2006/relationships/tags" Target="../tags/tag281.xml"/><Relationship Id="rId337" Type="http://schemas.openxmlformats.org/officeDocument/2006/relationships/tags" Target="../tags/tag337.xml"/><Relationship Id="rId34" Type="http://schemas.openxmlformats.org/officeDocument/2006/relationships/tags" Target="../tags/tag34.xml"/><Relationship Id="rId76" Type="http://schemas.openxmlformats.org/officeDocument/2006/relationships/tags" Target="../tags/tag76.xml"/><Relationship Id="rId141" Type="http://schemas.openxmlformats.org/officeDocument/2006/relationships/tags" Target="../tags/tag141.xml"/><Relationship Id="rId379" Type="http://schemas.openxmlformats.org/officeDocument/2006/relationships/tags" Target="../tags/tag379.xml"/><Relationship Id="rId7" Type="http://schemas.openxmlformats.org/officeDocument/2006/relationships/tags" Target="../tags/tag7.xml"/><Relationship Id="rId183" Type="http://schemas.openxmlformats.org/officeDocument/2006/relationships/tags" Target="../tags/tag183.xml"/><Relationship Id="rId239" Type="http://schemas.openxmlformats.org/officeDocument/2006/relationships/tags" Target="../tags/tag239.xml"/><Relationship Id="rId250" Type="http://schemas.openxmlformats.org/officeDocument/2006/relationships/tags" Target="../tags/tag250.xml"/><Relationship Id="rId292" Type="http://schemas.openxmlformats.org/officeDocument/2006/relationships/tags" Target="../tags/tag292.xml"/><Relationship Id="rId306" Type="http://schemas.openxmlformats.org/officeDocument/2006/relationships/tags" Target="../tags/tag306.xml"/><Relationship Id="rId45" Type="http://schemas.openxmlformats.org/officeDocument/2006/relationships/tags" Target="../tags/tag45.xml"/><Relationship Id="rId87" Type="http://schemas.openxmlformats.org/officeDocument/2006/relationships/tags" Target="../tags/tag87.xml"/><Relationship Id="rId110" Type="http://schemas.openxmlformats.org/officeDocument/2006/relationships/tags" Target="../tags/tag110.xml"/><Relationship Id="rId348" Type="http://schemas.openxmlformats.org/officeDocument/2006/relationships/tags" Target="../tags/tag348.xml"/><Relationship Id="rId152" Type="http://schemas.openxmlformats.org/officeDocument/2006/relationships/tags" Target="../tags/tag152.xml"/><Relationship Id="rId194" Type="http://schemas.openxmlformats.org/officeDocument/2006/relationships/tags" Target="../tags/tag194.xml"/><Relationship Id="rId208" Type="http://schemas.openxmlformats.org/officeDocument/2006/relationships/tags" Target="../tags/tag208.xml"/><Relationship Id="rId261" Type="http://schemas.openxmlformats.org/officeDocument/2006/relationships/tags" Target="../tags/tag261.xml"/><Relationship Id="rId14" Type="http://schemas.openxmlformats.org/officeDocument/2006/relationships/tags" Target="../tags/tag14.xml"/><Relationship Id="rId56" Type="http://schemas.openxmlformats.org/officeDocument/2006/relationships/tags" Target="../tags/tag56.xml"/><Relationship Id="rId317" Type="http://schemas.openxmlformats.org/officeDocument/2006/relationships/tags" Target="../tags/tag317.xml"/><Relationship Id="rId359" Type="http://schemas.openxmlformats.org/officeDocument/2006/relationships/tags" Target="../tags/tag359.xml"/><Relationship Id="rId98" Type="http://schemas.openxmlformats.org/officeDocument/2006/relationships/tags" Target="../tags/tag98.xml"/><Relationship Id="rId121" Type="http://schemas.openxmlformats.org/officeDocument/2006/relationships/tags" Target="../tags/tag121.xml"/><Relationship Id="rId163" Type="http://schemas.openxmlformats.org/officeDocument/2006/relationships/tags" Target="../tags/tag163.xml"/><Relationship Id="rId219" Type="http://schemas.openxmlformats.org/officeDocument/2006/relationships/tags" Target="../tags/tag219.xml"/><Relationship Id="rId370" Type="http://schemas.openxmlformats.org/officeDocument/2006/relationships/tags" Target="../tags/tag370.xml"/><Relationship Id="rId230" Type="http://schemas.openxmlformats.org/officeDocument/2006/relationships/tags" Target="../tags/tag230.xml"/><Relationship Id="rId25" Type="http://schemas.openxmlformats.org/officeDocument/2006/relationships/tags" Target="../tags/tag25.xml"/><Relationship Id="rId67" Type="http://schemas.openxmlformats.org/officeDocument/2006/relationships/tags" Target="../tags/tag67.xml"/><Relationship Id="rId272" Type="http://schemas.openxmlformats.org/officeDocument/2006/relationships/tags" Target="../tags/tag272.xml"/><Relationship Id="rId328" Type="http://schemas.openxmlformats.org/officeDocument/2006/relationships/tags" Target="../tags/tag328.xml"/><Relationship Id="rId132" Type="http://schemas.openxmlformats.org/officeDocument/2006/relationships/tags" Target="../tags/tag132.xml"/><Relationship Id="rId174" Type="http://schemas.openxmlformats.org/officeDocument/2006/relationships/tags" Target="../tags/tag174.xml"/><Relationship Id="rId381" Type="http://schemas.openxmlformats.org/officeDocument/2006/relationships/tags" Target="../tags/tag381.xml"/><Relationship Id="rId241" Type="http://schemas.openxmlformats.org/officeDocument/2006/relationships/tags" Target="../tags/tag241.xml"/><Relationship Id="rId36" Type="http://schemas.openxmlformats.org/officeDocument/2006/relationships/tags" Target="../tags/tag36.xml"/><Relationship Id="rId283" Type="http://schemas.openxmlformats.org/officeDocument/2006/relationships/tags" Target="../tags/tag283.xml"/><Relationship Id="rId339" Type="http://schemas.openxmlformats.org/officeDocument/2006/relationships/tags" Target="../tags/tag339.xml"/><Relationship Id="rId78" Type="http://schemas.openxmlformats.org/officeDocument/2006/relationships/tags" Target="../tags/tag78.xml"/><Relationship Id="rId101" Type="http://schemas.openxmlformats.org/officeDocument/2006/relationships/tags" Target="../tags/tag101.xml"/><Relationship Id="rId143" Type="http://schemas.openxmlformats.org/officeDocument/2006/relationships/tags" Target="../tags/tag143.xml"/><Relationship Id="rId185" Type="http://schemas.openxmlformats.org/officeDocument/2006/relationships/tags" Target="../tags/tag185.xml"/><Relationship Id="rId350" Type="http://schemas.openxmlformats.org/officeDocument/2006/relationships/tags" Target="../tags/tag350.xml"/><Relationship Id="rId9" Type="http://schemas.openxmlformats.org/officeDocument/2006/relationships/tags" Target="../tags/tag9.xml"/><Relationship Id="rId210" Type="http://schemas.openxmlformats.org/officeDocument/2006/relationships/tags" Target="../tags/tag210.xml"/><Relationship Id="rId26" Type="http://schemas.openxmlformats.org/officeDocument/2006/relationships/tags" Target="../tags/tag26.xml"/><Relationship Id="rId231" Type="http://schemas.openxmlformats.org/officeDocument/2006/relationships/tags" Target="../tags/tag231.xml"/><Relationship Id="rId252" Type="http://schemas.openxmlformats.org/officeDocument/2006/relationships/tags" Target="../tags/tag252.xml"/><Relationship Id="rId273" Type="http://schemas.openxmlformats.org/officeDocument/2006/relationships/tags" Target="../tags/tag273.xml"/><Relationship Id="rId294" Type="http://schemas.openxmlformats.org/officeDocument/2006/relationships/tags" Target="../tags/tag294.xml"/><Relationship Id="rId308" Type="http://schemas.openxmlformats.org/officeDocument/2006/relationships/tags" Target="../tags/tag308.xml"/><Relationship Id="rId329" Type="http://schemas.openxmlformats.org/officeDocument/2006/relationships/tags" Target="../tags/tag329.xml"/><Relationship Id="rId47" Type="http://schemas.openxmlformats.org/officeDocument/2006/relationships/tags" Target="../tags/tag47.xml"/><Relationship Id="rId68" Type="http://schemas.openxmlformats.org/officeDocument/2006/relationships/tags" Target="../tags/tag68.xml"/><Relationship Id="rId89" Type="http://schemas.openxmlformats.org/officeDocument/2006/relationships/tags" Target="../tags/tag89.xml"/><Relationship Id="rId112" Type="http://schemas.openxmlformats.org/officeDocument/2006/relationships/tags" Target="../tags/tag112.xml"/><Relationship Id="rId133" Type="http://schemas.openxmlformats.org/officeDocument/2006/relationships/tags" Target="../tags/tag133.xml"/><Relationship Id="rId154" Type="http://schemas.openxmlformats.org/officeDocument/2006/relationships/tags" Target="../tags/tag154.xml"/><Relationship Id="rId175" Type="http://schemas.openxmlformats.org/officeDocument/2006/relationships/tags" Target="../tags/tag175.xml"/><Relationship Id="rId340" Type="http://schemas.openxmlformats.org/officeDocument/2006/relationships/tags" Target="../tags/tag340.xml"/><Relationship Id="rId361" Type="http://schemas.openxmlformats.org/officeDocument/2006/relationships/tags" Target="../tags/tag361.xml"/><Relationship Id="rId196" Type="http://schemas.openxmlformats.org/officeDocument/2006/relationships/tags" Target="../tags/tag196.xml"/><Relationship Id="rId200" Type="http://schemas.openxmlformats.org/officeDocument/2006/relationships/tags" Target="../tags/tag200.xml"/><Relationship Id="rId382" Type="http://schemas.openxmlformats.org/officeDocument/2006/relationships/slideLayout" Target="../slideLayouts/slideLayout8.xml"/><Relationship Id="rId16" Type="http://schemas.openxmlformats.org/officeDocument/2006/relationships/tags" Target="../tags/tag16.xml"/><Relationship Id="rId221" Type="http://schemas.openxmlformats.org/officeDocument/2006/relationships/tags" Target="../tags/tag221.xml"/><Relationship Id="rId242" Type="http://schemas.openxmlformats.org/officeDocument/2006/relationships/tags" Target="../tags/tag242.xml"/><Relationship Id="rId263" Type="http://schemas.openxmlformats.org/officeDocument/2006/relationships/tags" Target="../tags/tag263.xml"/><Relationship Id="rId284" Type="http://schemas.openxmlformats.org/officeDocument/2006/relationships/tags" Target="../tags/tag284.xml"/><Relationship Id="rId319" Type="http://schemas.openxmlformats.org/officeDocument/2006/relationships/tags" Target="../tags/tag319.xml"/><Relationship Id="rId37" Type="http://schemas.openxmlformats.org/officeDocument/2006/relationships/tags" Target="../tags/tag37.xml"/><Relationship Id="rId58" Type="http://schemas.openxmlformats.org/officeDocument/2006/relationships/tags" Target="../tags/tag58.xml"/><Relationship Id="rId79" Type="http://schemas.openxmlformats.org/officeDocument/2006/relationships/tags" Target="../tags/tag79.xml"/><Relationship Id="rId102" Type="http://schemas.openxmlformats.org/officeDocument/2006/relationships/tags" Target="../tags/tag102.xml"/><Relationship Id="rId123" Type="http://schemas.openxmlformats.org/officeDocument/2006/relationships/tags" Target="../tags/tag123.xml"/><Relationship Id="rId144" Type="http://schemas.openxmlformats.org/officeDocument/2006/relationships/tags" Target="../tags/tag144.xml"/><Relationship Id="rId330" Type="http://schemas.openxmlformats.org/officeDocument/2006/relationships/tags" Target="../tags/tag330.xml"/><Relationship Id="rId90" Type="http://schemas.openxmlformats.org/officeDocument/2006/relationships/tags" Target="../tags/tag90.xml"/><Relationship Id="rId165" Type="http://schemas.openxmlformats.org/officeDocument/2006/relationships/tags" Target="../tags/tag165.xml"/><Relationship Id="rId186" Type="http://schemas.openxmlformats.org/officeDocument/2006/relationships/tags" Target="../tags/tag186.xml"/><Relationship Id="rId351" Type="http://schemas.openxmlformats.org/officeDocument/2006/relationships/tags" Target="../tags/tag351.xml"/><Relationship Id="rId372" Type="http://schemas.openxmlformats.org/officeDocument/2006/relationships/tags" Target="../tags/tag372.xml"/><Relationship Id="rId211" Type="http://schemas.openxmlformats.org/officeDocument/2006/relationships/tags" Target="../tags/tag211.xml"/><Relationship Id="rId232" Type="http://schemas.openxmlformats.org/officeDocument/2006/relationships/tags" Target="../tags/tag232.xml"/><Relationship Id="rId253" Type="http://schemas.openxmlformats.org/officeDocument/2006/relationships/tags" Target="../tags/tag253.xml"/><Relationship Id="rId274" Type="http://schemas.openxmlformats.org/officeDocument/2006/relationships/tags" Target="../tags/tag274.xml"/><Relationship Id="rId295" Type="http://schemas.openxmlformats.org/officeDocument/2006/relationships/tags" Target="../tags/tag295.xml"/><Relationship Id="rId309" Type="http://schemas.openxmlformats.org/officeDocument/2006/relationships/tags" Target="../tags/tag309.xml"/><Relationship Id="rId27" Type="http://schemas.openxmlformats.org/officeDocument/2006/relationships/tags" Target="../tags/tag27.xml"/><Relationship Id="rId48" Type="http://schemas.openxmlformats.org/officeDocument/2006/relationships/tags" Target="../tags/tag48.xml"/><Relationship Id="rId69" Type="http://schemas.openxmlformats.org/officeDocument/2006/relationships/tags" Target="../tags/tag69.xml"/><Relationship Id="rId113" Type="http://schemas.openxmlformats.org/officeDocument/2006/relationships/tags" Target="../tags/tag113.xml"/><Relationship Id="rId134" Type="http://schemas.openxmlformats.org/officeDocument/2006/relationships/tags" Target="../tags/tag134.xml"/><Relationship Id="rId320" Type="http://schemas.openxmlformats.org/officeDocument/2006/relationships/tags" Target="../tags/tag320.xml"/><Relationship Id="rId80" Type="http://schemas.openxmlformats.org/officeDocument/2006/relationships/tags" Target="../tags/tag80.xml"/><Relationship Id="rId155" Type="http://schemas.openxmlformats.org/officeDocument/2006/relationships/tags" Target="../tags/tag155.xml"/><Relationship Id="rId176" Type="http://schemas.openxmlformats.org/officeDocument/2006/relationships/tags" Target="../tags/tag176.xml"/><Relationship Id="rId197" Type="http://schemas.openxmlformats.org/officeDocument/2006/relationships/tags" Target="../tags/tag197.xml"/><Relationship Id="rId341" Type="http://schemas.openxmlformats.org/officeDocument/2006/relationships/tags" Target="../tags/tag341.xml"/><Relationship Id="rId362" Type="http://schemas.openxmlformats.org/officeDocument/2006/relationships/tags" Target="../tags/tag362.xml"/><Relationship Id="rId383" Type="http://schemas.openxmlformats.org/officeDocument/2006/relationships/notesSlide" Target="../notesSlides/notesSlide3.xml"/><Relationship Id="rId201" Type="http://schemas.openxmlformats.org/officeDocument/2006/relationships/tags" Target="../tags/tag201.xml"/><Relationship Id="rId222" Type="http://schemas.openxmlformats.org/officeDocument/2006/relationships/tags" Target="../tags/tag222.xml"/><Relationship Id="rId243" Type="http://schemas.openxmlformats.org/officeDocument/2006/relationships/tags" Target="../tags/tag243.xml"/><Relationship Id="rId264" Type="http://schemas.openxmlformats.org/officeDocument/2006/relationships/tags" Target="../tags/tag264.xml"/><Relationship Id="rId285" Type="http://schemas.openxmlformats.org/officeDocument/2006/relationships/tags" Target="../tags/tag285.xml"/><Relationship Id="rId17" Type="http://schemas.openxmlformats.org/officeDocument/2006/relationships/tags" Target="../tags/tag17.xml"/><Relationship Id="rId38" Type="http://schemas.openxmlformats.org/officeDocument/2006/relationships/tags" Target="../tags/tag38.xml"/><Relationship Id="rId59" Type="http://schemas.openxmlformats.org/officeDocument/2006/relationships/tags" Target="../tags/tag59.xml"/><Relationship Id="rId103" Type="http://schemas.openxmlformats.org/officeDocument/2006/relationships/tags" Target="../tags/tag103.xml"/><Relationship Id="rId124" Type="http://schemas.openxmlformats.org/officeDocument/2006/relationships/tags" Target="../tags/tag124.xml"/><Relationship Id="rId310" Type="http://schemas.openxmlformats.org/officeDocument/2006/relationships/tags" Target="../tags/tag310.xml"/><Relationship Id="rId70" Type="http://schemas.openxmlformats.org/officeDocument/2006/relationships/tags" Target="../tags/tag70.xml"/><Relationship Id="rId91" Type="http://schemas.openxmlformats.org/officeDocument/2006/relationships/tags" Target="../tags/tag91.xml"/><Relationship Id="rId145" Type="http://schemas.openxmlformats.org/officeDocument/2006/relationships/tags" Target="../tags/tag145.xml"/><Relationship Id="rId166" Type="http://schemas.openxmlformats.org/officeDocument/2006/relationships/tags" Target="../tags/tag166.xml"/><Relationship Id="rId187" Type="http://schemas.openxmlformats.org/officeDocument/2006/relationships/tags" Target="../tags/tag187.xml"/><Relationship Id="rId331" Type="http://schemas.openxmlformats.org/officeDocument/2006/relationships/tags" Target="../tags/tag331.xml"/><Relationship Id="rId352" Type="http://schemas.openxmlformats.org/officeDocument/2006/relationships/tags" Target="../tags/tag352.xml"/><Relationship Id="rId373" Type="http://schemas.openxmlformats.org/officeDocument/2006/relationships/tags" Target="../tags/tag373.xml"/><Relationship Id="rId1" Type="http://schemas.openxmlformats.org/officeDocument/2006/relationships/tags" Target="../tags/tag1.xml"/><Relationship Id="rId212" Type="http://schemas.openxmlformats.org/officeDocument/2006/relationships/tags" Target="../tags/tag212.xml"/><Relationship Id="rId233" Type="http://schemas.openxmlformats.org/officeDocument/2006/relationships/tags" Target="../tags/tag233.xml"/><Relationship Id="rId254" Type="http://schemas.openxmlformats.org/officeDocument/2006/relationships/tags" Target="../tags/tag254.xml"/><Relationship Id="rId28" Type="http://schemas.openxmlformats.org/officeDocument/2006/relationships/tags" Target="../tags/tag28.xml"/><Relationship Id="rId49" Type="http://schemas.openxmlformats.org/officeDocument/2006/relationships/tags" Target="../tags/tag49.xml"/><Relationship Id="rId114" Type="http://schemas.openxmlformats.org/officeDocument/2006/relationships/tags" Target="../tags/tag114.xml"/><Relationship Id="rId275" Type="http://schemas.openxmlformats.org/officeDocument/2006/relationships/tags" Target="../tags/tag275.xml"/><Relationship Id="rId296" Type="http://schemas.openxmlformats.org/officeDocument/2006/relationships/tags" Target="../tags/tag296.xml"/><Relationship Id="rId300" Type="http://schemas.openxmlformats.org/officeDocument/2006/relationships/tags" Target="../tags/tag300.xml"/><Relationship Id="rId60" Type="http://schemas.openxmlformats.org/officeDocument/2006/relationships/tags" Target="../tags/tag60.xml"/><Relationship Id="rId81" Type="http://schemas.openxmlformats.org/officeDocument/2006/relationships/tags" Target="../tags/tag81.xml"/><Relationship Id="rId135" Type="http://schemas.openxmlformats.org/officeDocument/2006/relationships/tags" Target="../tags/tag135.xml"/><Relationship Id="rId156" Type="http://schemas.openxmlformats.org/officeDocument/2006/relationships/tags" Target="../tags/tag156.xml"/><Relationship Id="rId177" Type="http://schemas.openxmlformats.org/officeDocument/2006/relationships/tags" Target="../tags/tag177.xml"/><Relationship Id="rId198" Type="http://schemas.openxmlformats.org/officeDocument/2006/relationships/tags" Target="../tags/tag198.xml"/><Relationship Id="rId321" Type="http://schemas.openxmlformats.org/officeDocument/2006/relationships/tags" Target="../tags/tag321.xml"/><Relationship Id="rId342" Type="http://schemas.openxmlformats.org/officeDocument/2006/relationships/tags" Target="../tags/tag342.xml"/><Relationship Id="rId363" Type="http://schemas.openxmlformats.org/officeDocument/2006/relationships/tags" Target="../tags/tag363.xml"/><Relationship Id="rId202" Type="http://schemas.openxmlformats.org/officeDocument/2006/relationships/tags" Target="../tags/tag202.xml"/><Relationship Id="rId223" Type="http://schemas.openxmlformats.org/officeDocument/2006/relationships/tags" Target="../tags/tag223.xml"/><Relationship Id="rId244" Type="http://schemas.openxmlformats.org/officeDocument/2006/relationships/tags" Target="../tags/tag244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265" Type="http://schemas.openxmlformats.org/officeDocument/2006/relationships/tags" Target="../tags/tag265.xml"/><Relationship Id="rId286" Type="http://schemas.openxmlformats.org/officeDocument/2006/relationships/tags" Target="../tags/tag286.xml"/><Relationship Id="rId50" Type="http://schemas.openxmlformats.org/officeDocument/2006/relationships/tags" Target="../tags/tag50.xml"/><Relationship Id="rId104" Type="http://schemas.openxmlformats.org/officeDocument/2006/relationships/tags" Target="../tags/tag104.xml"/><Relationship Id="rId125" Type="http://schemas.openxmlformats.org/officeDocument/2006/relationships/tags" Target="../tags/tag125.xml"/><Relationship Id="rId146" Type="http://schemas.openxmlformats.org/officeDocument/2006/relationships/tags" Target="../tags/tag146.xml"/><Relationship Id="rId167" Type="http://schemas.openxmlformats.org/officeDocument/2006/relationships/tags" Target="../tags/tag167.xml"/><Relationship Id="rId188" Type="http://schemas.openxmlformats.org/officeDocument/2006/relationships/tags" Target="../tags/tag188.xml"/><Relationship Id="rId311" Type="http://schemas.openxmlformats.org/officeDocument/2006/relationships/tags" Target="../tags/tag311.xml"/><Relationship Id="rId332" Type="http://schemas.openxmlformats.org/officeDocument/2006/relationships/tags" Target="../tags/tag332.xml"/><Relationship Id="rId353" Type="http://schemas.openxmlformats.org/officeDocument/2006/relationships/tags" Target="../tags/tag353.xml"/><Relationship Id="rId374" Type="http://schemas.openxmlformats.org/officeDocument/2006/relationships/tags" Target="../tags/tag374.xml"/><Relationship Id="rId71" Type="http://schemas.openxmlformats.org/officeDocument/2006/relationships/tags" Target="../tags/tag71.xml"/><Relationship Id="rId92" Type="http://schemas.openxmlformats.org/officeDocument/2006/relationships/tags" Target="../tags/tag92.xml"/><Relationship Id="rId213" Type="http://schemas.openxmlformats.org/officeDocument/2006/relationships/tags" Target="../tags/tag213.xml"/><Relationship Id="rId234" Type="http://schemas.openxmlformats.org/officeDocument/2006/relationships/tags" Target="../tags/tag234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55" Type="http://schemas.openxmlformats.org/officeDocument/2006/relationships/tags" Target="../tags/tag255.xml"/><Relationship Id="rId276" Type="http://schemas.openxmlformats.org/officeDocument/2006/relationships/tags" Target="../tags/tag276.xml"/><Relationship Id="rId297" Type="http://schemas.openxmlformats.org/officeDocument/2006/relationships/tags" Target="../tags/tag297.xml"/><Relationship Id="rId40" Type="http://schemas.openxmlformats.org/officeDocument/2006/relationships/tags" Target="../tags/tag40.xml"/><Relationship Id="rId115" Type="http://schemas.openxmlformats.org/officeDocument/2006/relationships/tags" Target="../tags/tag115.xml"/><Relationship Id="rId136" Type="http://schemas.openxmlformats.org/officeDocument/2006/relationships/tags" Target="../tags/tag136.xml"/><Relationship Id="rId157" Type="http://schemas.openxmlformats.org/officeDocument/2006/relationships/tags" Target="../tags/tag157.xml"/><Relationship Id="rId178" Type="http://schemas.openxmlformats.org/officeDocument/2006/relationships/tags" Target="../tags/tag178.xml"/><Relationship Id="rId301" Type="http://schemas.openxmlformats.org/officeDocument/2006/relationships/tags" Target="../tags/tag301.xml"/><Relationship Id="rId322" Type="http://schemas.openxmlformats.org/officeDocument/2006/relationships/tags" Target="../tags/tag322.xml"/><Relationship Id="rId343" Type="http://schemas.openxmlformats.org/officeDocument/2006/relationships/tags" Target="../tags/tag343.xml"/><Relationship Id="rId364" Type="http://schemas.openxmlformats.org/officeDocument/2006/relationships/tags" Target="../tags/tag364.xml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199" Type="http://schemas.openxmlformats.org/officeDocument/2006/relationships/tags" Target="../tags/tag199.xml"/><Relationship Id="rId203" Type="http://schemas.openxmlformats.org/officeDocument/2006/relationships/tags" Target="../tags/tag203.xml"/><Relationship Id="rId19" Type="http://schemas.openxmlformats.org/officeDocument/2006/relationships/tags" Target="../tags/tag19.xml"/><Relationship Id="rId224" Type="http://schemas.openxmlformats.org/officeDocument/2006/relationships/tags" Target="../tags/tag224.xml"/><Relationship Id="rId245" Type="http://schemas.openxmlformats.org/officeDocument/2006/relationships/tags" Target="../tags/tag245.xml"/><Relationship Id="rId266" Type="http://schemas.openxmlformats.org/officeDocument/2006/relationships/tags" Target="../tags/tag266.xml"/><Relationship Id="rId287" Type="http://schemas.openxmlformats.org/officeDocument/2006/relationships/tags" Target="../tags/tag287.xml"/><Relationship Id="rId30" Type="http://schemas.openxmlformats.org/officeDocument/2006/relationships/tags" Target="../tags/tag30.xml"/><Relationship Id="rId105" Type="http://schemas.openxmlformats.org/officeDocument/2006/relationships/tags" Target="../tags/tag105.xml"/><Relationship Id="rId126" Type="http://schemas.openxmlformats.org/officeDocument/2006/relationships/tags" Target="../tags/tag126.xml"/><Relationship Id="rId147" Type="http://schemas.openxmlformats.org/officeDocument/2006/relationships/tags" Target="../tags/tag147.xml"/><Relationship Id="rId168" Type="http://schemas.openxmlformats.org/officeDocument/2006/relationships/tags" Target="../tags/tag168.xml"/><Relationship Id="rId312" Type="http://schemas.openxmlformats.org/officeDocument/2006/relationships/tags" Target="../tags/tag312.xml"/><Relationship Id="rId333" Type="http://schemas.openxmlformats.org/officeDocument/2006/relationships/tags" Target="../tags/tag333.xml"/><Relationship Id="rId354" Type="http://schemas.openxmlformats.org/officeDocument/2006/relationships/tags" Target="../tags/tag354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93" Type="http://schemas.openxmlformats.org/officeDocument/2006/relationships/tags" Target="../tags/tag93.xml"/><Relationship Id="rId189" Type="http://schemas.openxmlformats.org/officeDocument/2006/relationships/tags" Target="../tags/tag189.xml"/><Relationship Id="rId375" Type="http://schemas.openxmlformats.org/officeDocument/2006/relationships/tags" Target="../tags/tag375.xml"/><Relationship Id="rId3" Type="http://schemas.openxmlformats.org/officeDocument/2006/relationships/tags" Target="../tags/tag3.xml"/><Relationship Id="rId214" Type="http://schemas.openxmlformats.org/officeDocument/2006/relationships/tags" Target="../tags/tag214.xml"/><Relationship Id="rId235" Type="http://schemas.openxmlformats.org/officeDocument/2006/relationships/tags" Target="../tags/tag235.xml"/><Relationship Id="rId256" Type="http://schemas.openxmlformats.org/officeDocument/2006/relationships/tags" Target="../tags/tag256.xml"/><Relationship Id="rId277" Type="http://schemas.openxmlformats.org/officeDocument/2006/relationships/tags" Target="../tags/tag277.xml"/><Relationship Id="rId298" Type="http://schemas.openxmlformats.org/officeDocument/2006/relationships/tags" Target="../tags/tag298.xml"/><Relationship Id="rId116" Type="http://schemas.openxmlformats.org/officeDocument/2006/relationships/tags" Target="../tags/tag116.xml"/><Relationship Id="rId137" Type="http://schemas.openxmlformats.org/officeDocument/2006/relationships/tags" Target="../tags/tag137.xml"/><Relationship Id="rId158" Type="http://schemas.openxmlformats.org/officeDocument/2006/relationships/tags" Target="../tags/tag158.xml"/><Relationship Id="rId302" Type="http://schemas.openxmlformats.org/officeDocument/2006/relationships/tags" Target="../tags/tag302.xml"/><Relationship Id="rId323" Type="http://schemas.openxmlformats.org/officeDocument/2006/relationships/tags" Target="../tags/tag323.xml"/><Relationship Id="rId344" Type="http://schemas.openxmlformats.org/officeDocument/2006/relationships/tags" Target="../tags/tag344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62" Type="http://schemas.openxmlformats.org/officeDocument/2006/relationships/tags" Target="../tags/tag62.xml"/><Relationship Id="rId83" Type="http://schemas.openxmlformats.org/officeDocument/2006/relationships/tags" Target="../tags/tag83.xml"/><Relationship Id="rId179" Type="http://schemas.openxmlformats.org/officeDocument/2006/relationships/tags" Target="../tags/tag179.xml"/><Relationship Id="rId365" Type="http://schemas.openxmlformats.org/officeDocument/2006/relationships/tags" Target="../tags/tag365.xml"/><Relationship Id="rId190" Type="http://schemas.openxmlformats.org/officeDocument/2006/relationships/tags" Target="../tags/tag190.xml"/><Relationship Id="rId204" Type="http://schemas.openxmlformats.org/officeDocument/2006/relationships/tags" Target="../tags/tag204.xml"/><Relationship Id="rId225" Type="http://schemas.openxmlformats.org/officeDocument/2006/relationships/tags" Target="../tags/tag225.xml"/><Relationship Id="rId246" Type="http://schemas.openxmlformats.org/officeDocument/2006/relationships/tags" Target="../tags/tag246.xml"/><Relationship Id="rId267" Type="http://schemas.openxmlformats.org/officeDocument/2006/relationships/tags" Target="../tags/tag267.xml"/><Relationship Id="rId288" Type="http://schemas.openxmlformats.org/officeDocument/2006/relationships/tags" Target="../tags/tag288.xml"/><Relationship Id="rId106" Type="http://schemas.openxmlformats.org/officeDocument/2006/relationships/tags" Target="../tags/tag106.xml"/><Relationship Id="rId127" Type="http://schemas.openxmlformats.org/officeDocument/2006/relationships/tags" Target="../tags/tag127.xml"/><Relationship Id="rId313" Type="http://schemas.openxmlformats.org/officeDocument/2006/relationships/tags" Target="../tags/tag313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52" Type="http://schemas.openxmlformats.org/officeDocument/2006/relationships/tags" Target="../tags/tag52.xml"/><Relationship Id="rId73" Type="http://schemas.openxmlformats.org/officeDocument/2006/relationships/tags" Target="../tags/tag73.xml"/><Relationship Id="rId94" Type="http://schemas.openxmlformats.org/officeDocument/2006/relationships/tags" Target="../tags/tag94.xml"/><Relationship Id="rId148" Type="http://schemas.openxmlformats.org/officeDocument/2006/relationships/tags" Target="../tags/tag148.xml"/><Relationship Id="rId169" Type="http://schemas.openxmlformats.org/officeDocument/2006/relationships/tags" Target="../tags/tag169.xml"/><Relationship Id="rId334" Type="http://schemas.openxmlformats.org/officeDocument/2006/relationships/tags" Target="../tags/tag334.xml"/><Relationship Id="rId355" Type="http://schemas.openxmlformats.org/officeDocument/2006/relationships/tags" Target="../tags/tag355.xml"/><Relationship Id="rId376" Type="http://schemas.openxmlformats.org/officeDocument/2006/relationships/tags" Target="../tags/tag376.xml"/><Relationship Id="rId4" Type="http://schemas.openxmlformats.org/officeDocument/2006/relationships/tags" Target="../tags/tag4.xml"/><Relationship Id="rId180" Type="http://schemas.openxmlformats.org/officeDocument/2006/relationships/tags" Target="../tags/tag180.xml"/><Relationship Id="rId215" Type="http://schemas.openxmlformats.org/officeDocument/2006/relationships/tags" Target="../tags/tag215.xml"/><Relationship Id="rId236" Type="http://schemas.openxmlformats.org/officeDocument/2006/relationships/tags" Target="../tags/tag236.xml"/><Relationship Id="rId257" Type="http://schemas.openxmlformats.org/officeDocument/2006/relationships/tags" Target="../tags/tag257.xml"/><Relationship Id="rId278" Type="http://schemas.openxmlformats.org/officeDocument/2006/relationships/tags" Target="../tags/tag278.xml"/><Relationship Id="rId303" Type="http://schemas.openxmlformats.org/officeDocument/2006/relationships/tags" Target="../tags/tag303.xml"/><Relationship Id="rId42" Type="http://schemas.openxmlformats.org/officeDocument/2006/relationships/tags" Target="../tags/tag42.xml"/><Relationship Id="rId84" Type="http://schemas.openxmlformats.org/officeDocument/2006/relationships/tags" Target="../tags/tag84.xml"/><Relationship Id="rId138" Type="http://schemas.openxmlformats.org/officeDocument/2006/relationships/tags" Target="../tags/tag138.xml"/><Relationship Id="rId345" Type="http://schemas.openxmlformats.org/officeDocument/2006/relationships/tags" Target="../tags/tag345.xml"/><Relationship Id="rId191" Type="http://schemas.openxmlformats.org/officeDocument/2006/relationships/tags" Target="../tags/tag191.xml"/><Relationship Id="rId205" Type="http://schemas.openxmlformats.org/officeDocument/2006/relationships/tags" Target="../tags/tag205.xml"/><Relationship Id="rId247" Type="http://schemas.openxmlformats.org/officeDocument/2006/relationships/tags" Target="../tags/tag247.xml"/><Relationship Id="rId107" Type="http://schemas.openxmlformats.org/officeDocument/2006/relationships/tags" Target="../tags/tag107.xml"/><Relationship Id="rId289" Type="http://schemas.openxmlformats.org/officeDocument/2006/relationships/tags" Target="../tags/tag289.xml"/><Relationship Id="rId11" Type="http://schemas.openxmlformats.org/officeDocument/2006/relationships/tags" Target="../tags/tag11.xml"/><Relationship Id="rId53" Type="http://schemas.openxmlformats.org/officeDocument/2006/relationships/tags" Target="../tags/tag53.xml"/><Relationship Id="rId149" Type="http://schemas.openxmlformats.org/officeDocument/2006/relationships/tags" Target="../tags/tag149.xml"/><Relationship Id="rId314" Type="http://schemas.openxmlformats.org/officeDocument/2006/relationships/tags" Target="../tags/tag314.xml"/><Relationship Id="rId356" Type="http://schemas.openxmlformats.org/officeDocument/2006/relationships/tags" Target="../tags/tag356.xml"/><Relationship Id="rId95" Type="http://schemas.openxmlformats.org/officeDocument/2006/relationships/tags" Target="../tags/tag95.xml"/><Relationship Id="rId160" Type="http://schemas.openxmlformats.org/officeDocument/2006/relationships/tags" Target="../tags/tag160.xml"/><Relationship Id="rId216" Type="http://schemas.openxmlformats.org/officeDocument/2006/relationships/tags" Target="../tags/tag216.xml"/><Relationship Id="rId258" Type="http://schemas.openxmlformats.org/officeDocument/2006/relationships/tags" Target="../tags/tag258.xml"/><Relationship Id="rId22" Type="http://schemas.openxmlformats.org/officeDocument/2006/relationships/tags" Target="../tags/tag22.xml"/><Relationship Id="rId64" Type="http://schemas.openxmlformats.org/officeDocument/2006/relationships/tags" Target="../tags/tag64.xml"/><Relationship Id="rId118" Type="http://schemas.openxmlformats.org/officeDocument/2006/relationships/tags" Target="../tags/tag118.xml"/><Relationship Id="rId325" Type="http://schemas.openxmlformats.org/officeDocument/2006/relationships/tags" Target="../tags/tag325.xml"/><Relationship Id="rId367" Type="http://schemas.openxmlformats.org/officeDocument/2006/relationships/tags" Target="../tags/tag367.xml"/><Relationship Id="rId171" Type="http://schemas.openxmlformats.org/officeDocument/2006/relationships/tags" Target="../tags/tag171.xml"/><Relationship Id="rId227" Type="http://schemas.openxmlformats.org/officeDocument/2006/relationships/tags" Target="../tags/tag227.xml"/><Relationship Id="rId269" Type="http://schemas.openxmlformats.org/officeDocument/2006/relationships/tags" Target="../tags/tag269.xml"/><Relationship Id="rId33" Type="http://schemas.openxmlformats.org/officeDocument/2006/relationships/tags" Target="../tags/tag33.xml"/><Relationship Id="rId129" Type="http://schemas.openxmlformats.org/officeDocument/2006/relationships/tags" Target="../tags/tag129.xml"/><Relationship Id="rId280" Type="http://schemas.openxmlformats.org/officeDocument/2006/relationships/tags" Target="../tags/tag280.xml"/><Relationship Id="rId336" Type="http://schemas.openxmlformats.org/officeDocument/2006/relationships/tags" Target="../tags/tag336.xml"/><Relationship Id="rId75" Type="http://schemas.openxmlformats.org/officeDocument/2006/relationships/tags" Target="../tags/tag75.xml"/><Relationship Id="rId140" Type="http://schemas.openxmlformats.org/officeDocument/2006/relationships/tags" Target="../tags/tag140.xml"/><Relationship Id="rId182" Type="http://schemas.openxmlformats.org/officeDocument/2006/relationships/tags" Target="../tags/tag182.xml"/><Relationship Id="rId378" Type="http://schemas.openxmlformats.org/officeDocument/2006/relationships/tags" Target="../tags/tag378.xml"/><Relationship Id="rId6" Type="http://schemas.openxmlformats.org/officeDocument/2006/relationships/tags" Target="../tags/tag6.xml"/><Relationship Id="rId238" Type="http://schemas.openxmlformats.org/officeDocument/2006/relationships/tags" Target="../tags/tag238.xml"/><Relationship Id="rId291" Type="http://schemas.openxmlformats.org/officeDocument/2006/relationships/tags" Target="../tags/tag291.xml"/><Relationship Id="rId305" Type="http://schemas.openxmlformats.org/officeDocument/2006/relationships/tags" Target="../tags/tag305.xml"/><Relationship Id="rId347" Type="http://schemas.openxmlformats.org/officeDocument/2006/relationships/tags" Target="../tags/tag347.xml"/><Relationship Id="rId44" Type="http://schemas.openxmlformats.org/officeDocument/2006/relationships/tags" Target="../tags/tag44.xml"/><Relationship Id="rId86" Type="http://schemas.openxmlformats.org/officeDocument/2006/relationships/tags" Target="../tags/tag86.xml"/><Relationship Id="rId151" Type="http://schemas.openxmlformats.org/officeDocument/2006/relationships/tags" Target="../tags/tag151.xml"/><Relationship Id="rId193" Type="http://schemas.openxmlformats.org/officeDocument/2006/relationships/tags" Target="../tags/tag193.xml"/><Relationship Id="rId207" Type="http://schemas.openxmlformats.org/officeDocument/2006/relationships/tags" Target="../tags/tag207.xml"/><Relationship Id="rId249" Type="http://schemas.openxmlformats.org/officeDocument/2006/relationships/tags" Target="../tags/tag249.xml"/><Relationship Id="rId13" Type="http://schemas.openxmlformats.org/officeDocument/2006/relationships/tags" Target="../tags/tag13.xml"/><Relationship Id="rId109" Type="http://schemas.openxmlformats.org/officeDocument/2006/relationships/tags" Target="../tags/tag109.xml"/><Relationship Id="rId260" Type="http://schemas.openxmlformats.org/officeDocument/2006/relationships/tags" Target="../tags/tag260.xml"/><Relationship Id="rId316" Type="http://schemas.openxmlformats.org/officeDocument/2006/relationships/tags" Target="../tags/tag316.xml"/><Relationship Id="rId55" Type="http://schemas.openxmlformats.org/officeDocument/2006/relationships/tags" Target="../tags/tag55.xml"/><Relationship Id="rId97" Type="http://schemas.openxmlformats.org/officeDocument/2006/relationships/tags" Target="../tags/tag97.xml"/><Relationship Id="rId120" Type="http://schemas.openxmlformats.org/officeDocument/2006/relationships/tags" Target="../tags/tag120.xml"/><Relationship Id="rId358" Type="http://schemas.openxmlformats.org/officeDocument/2006/relationships/tags" Target="../tags/tag358.xml"/><Relationship Id="rId162" Type="http://schemas.openxmlformats.org/officeDocument/2006/relationships/tags" Target="../tags/tag162.xml"/><Relationship Id="rId218" Type="http://schemas.openxmlformats.org/officeDocument/2006/relationships/tags" Target="../tags/tag218.xml"/><Relationship Id="rId271" Type="http://schemas.openxmlformats.org/officeDocument/2006/relationships/tags" Target="../tags/tag271.xml"/><Relationship Id="rId24" Type="http://schemas.openxmlformats.org/officeDocument/2006/relationships/tags" Target="../tags/tag24.xml"/><Relationship Id="rId66" Type="http://schemas.openxmlformats.org/officeDocument/2006/relationships/tags" Target="../tags/tag66.xml"/><Relationship Id="rId131" Type="http://schemas.openxmlformats.org/officeDocument/2006/relationships/tags" Target="../tags/tag131.xml"/><Relationship Id="rId327" Type="http://schemas.openxmlformats.org/officeDocument/2006/relationships/tags" Target="../tags/tag327.xml"/><Relationship Id="rId369" Type="http://schemas.openxmlformats.org/officeDocument/2006/relationships/tags" Target="../tags/tag369.xml"/><Relationship Id="rId173" Type="http://schemas.openxmlformats.org/officeDocument/2006/relationships/tags" Target="../tags/tag173.xml"/><Relationship Id="rId229" Type="http://schemas.openxmlformats.org/officeDocument/2006/relationships/tags" Target="../tags/tag229.xml"/><Relationship Id="rId380" Type="http://schemas.openxmlformats.org/officeDocument/2006/relationships/tags" Target="../tags/tag380.xml"/><Relationship Id="rId240" Type="http://schemas.openxmlformats.org/officeDocument/2006/relationships/tags" Target="../tags/tag240.xml"/><Relationship Id="rId35" Type="http://schemas.openxmlformats.org/officeDocument/2006/relationships/tags" Target="../tags/tag35.xml"/><Relationship Id="rId77" Type="http://schemas.openxmlformats.org/officeDocument/2006/relationships/tags" Target="../tags/tag77.xml"/><Relationship Id="rId100" Type="http://schemas.openxmlformats.org/officeDocument/2006/relationships/tags" Target="../tags/tag100.xml"/><Relationship Id="rId282" Type="http://schemas.openxmlformats.org/officeDocument/2006/relationships/tags" Target="../tags/tag282.xml"/><Relationship Id="rId338" Type="http://schemas.openxmlformats.org/officeDocument/2006/relationships/tags" Target="../tags/tag338.xml"/><Relationship Id="rId8" Type="http://schemas.openxmlformats.org/officeDocument/2006/relationships/tags" Target="../tags/tag8.xml"/><Relationship Id="rId142" Type="http://schemas.openxmlformats.org/officeDocument/2006/relationships/tags" Target="../tags/tag142.xml"/><Relationship Id="rId184" Type="http://schemas.openxmlformats.org/officeDocument/2006/relationships/tags" Target="../tags/tag184.xml"/><Relationship Id="rId251" Type="http://schemas.openxmlformats.org/officeDocument/2006/relationships/tags" Target="../tags/tag251.xml"/><Relationship Id="rId46" Type="http://schemas.openxmlformats.org/officeDocument/2006/relationships/tags" Target="../tags/tag46.xml"/><Relationship Id="rId293" Type="http://schemas.openxmlformats.org/officeDocument/2006/relationships/tags" Target="../tags/tag293.xml"/><Relationship Id="rId307" Type="http://schemas.openxmlformats.org/officeDocument/2006/relationships/tags" Target="../tags/tag307.xml"/><Relationship Id="rId349" Type="http://schemas.openxmlformats.org/officeDocument/2006/relationships/tags" Target="../tags/tag349.xml"/><Relationship Id="rId88" Type="http://schemas.openxmlformats.org/officeDocument/2006/relationships/tags" Target="../tags/tag88.xml"/><Relationship Id="rId111" Type="http://schemas.openxmlformats.org/officeDocument/2006/relationships/tags" Target="../tags/tag111.xml"/><Relationship Id="rId153" Type="http://schemas.openxmlformats.org/officeDocument/2006/relationships/tags" Target="../tags/tag153.xml"/><Relationship Id="rId195" Type="http://schemas.openxmlformats.org/officeDocument/2006/relationships/tags" Target="../tags/tag195.xml"/><Relationship Id="rId209" Type="http://schemas.openxmlformats.org/officeDocument/2006/relationships/tags" Target="../tags/tag209.xml"/><Relationship Id="rId360" Type="http://schemas.openxmlformats.org/officeDocument/2006/relationships/tags" Target="../tags/tag360.xml"/><Relationship Id="rId220" Type="http://schemas.openxmlformats.org/officeDocument/2006/relationships/tags" Target="../tags/tag220.xml"/><Relationship Id="rId15" Type="http://schemas.openxmlformats.org/officeDocument/2006/relationships/tags" Target="../tags/tag15.xml"/><Relationship Id="rId57" Type="http://schemas.openxmlformats.org/officeDocument/2006/relationships/tags" Target="../tags/tag57.xml"/><Relationship Id="rId262" Type="http://schemas.openxmlformats.org/officeDocument/2006/relationships/tags" Target="../tags/tag262.xml"/><Relationship Id="rId318" Type="http://schemas.openxmlformats.org/officeDocument/2006/relationships/tags" Target="../tags/tag318.xml"/><Relationship Id="rId99" Type="http://schemas.openxmlformats.org/officeDocument/2006/relationships/tags" Target="../tags/tag99.xml"/><Relationship Id="rId122" Type="http://schemas.openxmlformats.org/officeDocument/2006/relationships/tags" Target="../tags/tag122.xml"/><Relationship Id="rId164" Type="http://schemas.openxmlformats.org/officeDocument/2006/relationships/tags" Target="../tags/tag164.xml"/><Relationship Id="rId371" Type="http://schemas.openxmlformats.org/officeDocument/2006/relationships/tags" Target="../tags/tag37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gif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44"/>
          <p:cNvSpPr>
            <a:spLocks noGrp="1" noChangeArrowheads="1"/>
          </p:cNvSpPr>
          <p:nvPr>
            <p:ph type="ctrTitle"/>
          </p:nvPr>
        </p:nvSpPr>
        <p:spPr>
          <a:xfrm>
            <a:off x="99152" y="1725225"/>
            <a:ext cx="9044848" cy="1102519"/>
          </a:xfrm>
        </p:spPr>
        <p:txBody>
          <a:bodyPr/>
          <a:lstStyle/>
          <a:p>
            <a:pPr eaLnBrk="1" hangingPunct="1"/>
            <a:r>
              <a:rPr lang="en-GB" sz="3100" dirty="0" smtClean="0"/>
              <a:t/>
            </a:r>
            <a:br>
              <a:rPr lang="en-GB" sz="3100" dirty="0" smtClean="0"/>
            </a:br>
            <a:r>
              <a:rPr lang="en-GB" sz="3100" u="sng" dirty="0" smtClean="0"/>
              <a:t>GSICS </a:t>
            </a:r>
            <a:r>
              <a:rPr lang="en-GB" sz="3100" u="sng" dirty="0"/>
              <a:t>Quarterly</a:t>
            </a:r>
            <a:br>
              <a:rPr lang="en-GB" sz="3100" u="sng" dirty="0"/>
            </a:br>
            <a:r>
              <a:rPr lang="en-GB" sz="2800" u="sng" dirty="0" smtClean="0"/>
              <a:t>www.star.nesdis.noaa.gov/smcd/GCC/newsletters.php</a:t>
            </a:r>
            <a:endParaRPr lang="en-GB" sz="2800" dirty="0" smtClean="0"/>
          </a:p>
        </p:txBody>
      </p:sp>
      <p:sp>
        <p:nvSpPr>
          <p:cNvPr id="5" name="Rectangle 43"/>
          <p:cNvSpPr>
            <a:spLocks noGrp="1" noChangeArrowheads="1"/>
          </p:cNvSpPr>
          <p:nvPr>
            <p:ph type="subTitle" idx="1"/>
          </p:nvPr>
        </p:nvSpPr>
        <p:spPr>
          <a:xfrm>
            <a:off x="1358412" y="3474244"/>
            <a:ext cx="6400800" cy="1314450"/>
          </a:xfrm>
        </p:spPr>
        <p:txBody>
          <a:bodyPr/>
          <a:lstStyle/>
          <a:p>
            <a:pPr eaLnBrk="1" hangingPunct="1">
              <a:defRPr/>
            </a:pPr>
            <a:r>
              <a:rPr lang="en-US" dirty="0" err="1" smtClean="0">
                <a:solidFill>
                  <a:srgbClr val="002060"/>
                </a:solidFill>
              </a:rPr>
              <a:t>Manik</a:t>
            </a:r>
            <a:r>
              <a:rPr lang="en-US" dirty="0" smtClean="0">
                <a:solidFill>
                  <a:srgbClr val="002060"/>
                </a:solidFill>
              </a:rPr>
              <a:t> Bali and Larry Flynn</a:t>
            </a:r>
          </a:p>
          <a:p>
            <a:pPr eaLnBrk="1" hangingPunct="1">
              <a:defRPr/>
            </a:pPr>
            <a:r>
              <a:rPr lang="en-US" dirty="0" smtClean="0">
                <a:solidFill>
                  <a:srgbClr val="002060"/>
                </a:solidFill>
              </a:rPr>
              <a:t>GSICS Coordination Center, NOAA</a:t>
            </a:r>
          </a:p>
          <a:p>
            <a:pPr eaLnBrk="1" hangingPunct="1">
              <a:buFont typeface="Arial" pitchFamily="34" charset="0"/>
              <a:buNone/>
              <a:defRPr/>
            </a:pPr>
            <a:r>
              <a:rPr lang="en-US" sz="1400" dirty="0" smtClean="0">
                <a:solidFill>
                  <a:srgbClr val="002060"/>
                </a:solidFill>
              </a:rPr>
              <a:t>GSICS Annual Meeting  2017, CIMSS UW-Madison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2770" name="Picture 2" descr="Image result for thank you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411351" y="1926336"/>
            <a:ext cx="5726113" cy="1914525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651743" y="1591642"/>
            <a:ext cx="4904104" cy="3310305"/>
          </a:xfrm>
          <a:prstGeom prst="rect">
            <a:avLst/>
          </a:prstGeom>
        </p:spPr>
        <p:txBody>
          <a:bodyPr wrap="square" lIns="77889" tIns="38945" rIns="77889" bIns="38945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400" b="0" dirty="0" smtClean="0">
                <a:solidFill>
                  <a:schemeClr val="tx1"/>
                </a:solidFill>
                <a:latin typeface="+mn-lt"/>
              </a:rPr>
              <a:t>People are concerned about the formalism currently adopted by the newsletter, where it could prevent researchers to publish their work. It prevents possible contributors to send papers. </a:t>
            </a:r>
          </a:p>
          <a:p>
            <a:pPr>
              <a:lnSpc>
                <a:spcPct val="150000"/>
              </a:lnSpc>
            </a:pPr>
            <a:r>
              <a:rPr lang="en-US" sz="1400" b="0" dirty="0" smtClean="0">
                <a:solidFill>
                  <a:schemeClr val="tx1"/>
                </a:solidFill>
                <a:latin typeface="+mn-lt"/>
              </a:rPr>
              <a:t> </a:t>
            </a:r>
          </a:p>
          <a:p>
            <a:pPr>
              <a:lnSpc>
                <a:spcPct val="150000"/>
              </a:lnSpc>
            </a:pPr>
            <a:r>
              <a:rPr lang="en-US" sz="1400" dirty="0" smtClean="0">
                <a:solidFill>
                  <a:srgbClr val="3333FF"/>
                </a:solidFill>
                <a:latin typeface="+mn-lt"/>
              </a:rPr>
              <a:t>Action: GCC takes this feedback on-board and will propose an approach more like conference proceedings</a:t>
            </a:r>
          </a:p>
          <a:p>
            <a:pPr>
              <a:lnSpc>
                <a:spcPct val="150000"/>
              </a:lnSpc>
            </a:pPr>
            <a:endParaRPr lang="en-US" sz="1400" b="0" dirty="0" smtClean="0">
              <a:solidFill>
                <a:srgbClr val="3333FF"/>
              </a:solidFill>
              <a:latin typeface="+mn-lt"/>
            </a:endParaRPr>
          </a:p>
          <a:p>
            <a:pPr>
              <a:lnSpc>
                <a:spcPct val="150000"/>
              </a:lnSpc>
            </a:pPr>
            <a:r>
              <a:rPr lang="en-US" sz="1400" b="0" dirty="0" smtClean="0">
                <a:solidFill>
                  <a:schemeClr val="tx1"/>
                </a:solidFill>
                <a:latin typeface="+mn-lt"/>
              </a:rPr>
              <a:t>GCC: GCC took the following steps</a:t>
            </a:r>
          </a:p>
          <a:p>
            <a:pPr marL="243405" indent="-24340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b="0" dirty="0" smtClean="0">
                <a:solidFill>
                  <a:schemeClr val="tx1"/>
                </a:solidFill>
                <a:latin typeface="+mn-lt"/>
              </a:rPr>
              <a:t> Looked at Copyright clauses of major journal publication.</a:t>
            </a:r>
          </a:p>
          <a:p>
            <a:pPr marL="243405" indent="-243405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b="0" dirty="0" smtClean="0">
                <a:solidFill>
                  <a:schemeClr val="tx1"/>
                </a:solidFill>
                <a:latin typeface="+mn-lt"/>
              </a:rPr>
              <a:t>Took views from NOAA library.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2520462" y="1085849"/>
            <a:ext cx="4018344" cy="294094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 lIns="77889" tIns="38945" rIns="77889" bIns="38945" rtlCol="0">
            <a:spAutoFit/>
          </a:bodyPr>
          <a:lstStyle/>
          <a:p>
            <a:r>
              <a:rPr lang="en-US" sz="1400" dirty="0" smtClean="0">
                <a:solidFill>
                  <a:srgbClr val="FF0000"/>
                </a:solidFill>
              </a:rPr>
              <a:t>      </a:t>
            </a:r>
            <a:r>
              <a:rPr lang="en-US" sz="1400" dirty="0" smtClean="0">
                <a:solidFill>
                  <a:schemeClr val="bg1"/>
                </a:solidFill>
              </a:rPr>
              <a:t>GSICS Quarterly Special Issues/Editors 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555849" y="1679053"/>
            <a:ext cx="3354879" cy="3356471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lIns="77889" tIns="38945" rIns="77889" bIns="38945" rtlCol="0">
            <a:spAutoFit/>
          </a:bodyPr>
          <a:lstStyle/>
          <a:p>
            <a:pPr fontAlgn="t">
              <a:lnSpc>
                <a:spcPct val="150000"/>
              </a:lnSpc>
            </a:pPr>
            <a:r>
              <a:rPr lang="en-US" sz="1200" dirty="0" smtClean="0">
                <a:solidFill>
                  <a:schemeClr val="tx1"/>
                </a:solidFill>
              </a:rPr>
              <a:t>Neal </a:t>
            </a:r>
            <a:r>
              <a:rPr lang="en-US" sz="1200" dirty="0" err="1" smtClean="0">
                <a:solidFill>
                  <a:schemeClr val="tx1"/>
                </a:solidFill>
              </a:rPr>
              <a:t>Kaske</a:t>
            </a:r>
            <a:r>
              <a:rPr lang="en-US" sz="1200" dirty="0" smtClean="0">
                <a:solidFill>
                  <a:schemeClr val="tx1"/>
                </a:solidFill>
              </a:rPr>
              <a:t> - NOAA Federal &lt;neal.kaske@noaa.gov&gt;</a:t>
            </a:r>
          </a:p>
          <a:p>
            <a:pPr fontAlgn="t">
              <a:lnSpc>
                <a:spcPct val="150000"/>
              </a:lnSpc>
            </a:pPr>
            <a:r>
              <a:rPr lang="en-US" sz="1200" b="0" dirty="0" smtClean="0">
                <a:solidFill>
                  <a:schemeClr val="tx1"/>
                </a:solidFill>
              </a:rPr>
              <a:t>Apr 20 (1 day ago)</a:t>
            </a:r>
          </a:p>
          <a:p>
            <a:pPr>
              <a:lnSpc>
                <a:spcPct val="150000"/>
              </a:lnSpc>
            </a:pPr>
            <a:r>
              <a:rPr lang="en-US" sz="1200" b="0" dirty="0" smtClean="0">
                <a:solidFill>
                  <a:schemeClr val="tx1"/>
                </a:solidFill>
              </a:rPr>
              <a:t>to me, Stanley, Anna</a:t>
            </a:r>
          </a:p>
          <a:p>
            <a:pPr>
              <a:lnSpc>
                <a:spcPct val="150000"/>
              </a:lnSpc>
            </a:pPr>
            <a:r>
              <a:rPr lang="en-US" sz="1200" b="0" dirty="0" err="1" smtClean="0">
                <a:solidFill>
                  <a:schemeClr val="tx1"/>
                </a:solidFill>
              </a:rPr>
              <a:t>Manik</a:t>
            </a:r>
            <a:r>
              <a:rPr lang="en-US" sz="1200" b="0" dirty="0" smtClean="0">
                <a:solidFill>
                  <a:schemeClr val="tx1"/>
                </a:solidFill>
              </a:rPr>
              <a:t>,  Yes, this can be seen as infringing on the journal's copyright. </a:t>
            </a:r>
            <a:r>
              <a:rPr lang="en-US" sz="1200" b="0" dirty="0" smtClean="0">
                <a:solidFill>
                  <a:srgbClr val="FF0000"/>
                </a:solidFill>
              </a:rPr>
              <a:t>Most journals will permit you to use a figure - all you need to do is ask the publisher for permission. </a:t>
            </a:r>
            <a:r>
              <a:rPr lang="en-US" sz="1200" b="0" dirty="0" smtClean="0">
                <a:solidFill>
                  <a:schemeClr val="tx1"/>
                </a:solidFill>
              </a:rPr>
              <a:t>As for text from an article - as always use quotation marks and provide a full reference to the source. </a:t>
            </a:r>
          </a:p>
          <a:p>
            <a:pPr>
              <a:lnSpc>
                <a:spcPct val="150000"/>
              </a:lnSpc>
            </a:pPr>
            <a:r>
              <a:rPr lang="en-US" sz="1200" b="0" dirty="0" smtClean="0">
                <a:solidFill>
                  <a:schemeClr val="tx1"/>
                </a:solidFill>
              </a:rPr>
              <a:t>Neal</a:t>
            </a:r>
          </a:p>
          <a:p>
            <a:pPr>
              <a:lnSpc>
                <a:spcPct val="150000"/>
              </a:lnSpc>
            </a:pPr>
            <a:endParaRPr lang="en-US" dirty="0">
              <a:latin typeface="+mn-lt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44353" y="156822"/>
            <a:ext cx="8229600" cy="540586"/>
          </a:xfrm>
          <a:solidFill>
            <a:schemeClr val="bg1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/>
          <a:lstStyle/>
          <a:p>
            <a:r>
              <a:rPr lang="en-US" sz="2700" dirty="0" smtClean="0">
                <a:solidFill>
                  <a:schemeClr val="tx1"/>
                </a:solidFill>
              </a:rPr>
              <a:t>ACTION</a:t>
            </a:r>
            <a:endParaRPr lang="en-US" sz="27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0862" y="994206"/>
            <a:ext cx="8432157" cy="2489276"/>
          </a:xfrm>
        </p:spPr>
        <p:txBody>
          <a:bodyPr/>
          <a:lstStyle/>
          <a:p>
            <a:pPr algn="just">
              <a:lnSpc>
                <a:spcPct val="150000"/>
              </a:lnSpc>
            </a:pPr>
            <a:r>
              <a:rPr lang="en-US" sz="1500" dirty="0" smtClean="0"/>
              <a:t>Articles written by  NOAA Federal Employees are exempt from Copyright restrictions. Their research is public.</a:t>
            </a:r>
          </a:p>
          <a:p>
            <a:pPr algn="just">
              <a:lnSpc>
                <a:spcPct val="150000"/>
              </a:lnSpc>
            </a:pPr>
            <a:r>
              <a:rPr lang="en-US" sz="1500" dirty="0" smtClean="0"/>
              <a:t> Journals that are Open Access : Allow publication provided credit is given ( Sensor, EGU-</a:t>
            </a:r>
            <a:r>
              <a:rPr lang="en-US" sz="1500" dirty="0" err="1" smtClean="0"/>
              <a:t>Atmos</a:t>
            </a:r>
            <a:r>
              <a:rPr lang="en-US" sz="1500" dirty="0" smtClean="0"/>
              <a:t>-</a:t>
            </a:r>
            <a:r>
              <a:rPr lang="en-US" sz="1500" dirty="0" err="1" smtClean="0"/>
              <a:t>Chem</a:t>
            </a:r>
            <a:r>
              <a:rPr lang="en-US" sz="1500" dirty="0" smtClean="0"/>
              <a:t>-Phys, AMS -JTECH).</a:t>
            </a:r>
          </a:p>
          <a:p>
            <a:pPr algn="just">
              <a:lnSpc>
                <a:spcPct val="150000"/>
              </a:lnSpc>
            </a:pPr>
            <a:r>
              <a:rPr lang="en-US" sz="1500" dirty="0" smtClean="0"/>
              <a:t>Articles published by the EGU come under Creative Commons Attribution 3.0 ( for example </a:t>
            </a:r>
            <a:r>
              <a:rPr lang="en-US" sz="1500" u="sng" dirty="0" smtClean="0">
                <a:hlinkClick r:id="rId2"/>
              </a:rPr>
              <a:t>www.atmos-chem-phys.net</a:t>
            </a:r>
            <a:r>
              <a:rPr lang="en-US" sz="1500" dirty="0" smtClean="0"/>
              <a:t> ) </a:t>
            </a:r>
          </a:p>
          <a:p>
            <a:pPr algn="just">
              <a:lnSpc>
                <a:spcPct val="150000"/>
              </a:lnSpc>
            </a:pPr>
            <a:r>
              <a:rPr lang="en-US" sz="1500" dirty="0" err="1" smtClean="0"/>
              <a:t>Mausam</a:t>
            </a:r>
            <a:r>
              <a:rPr lang="en-US" sz="1500" dirty="0" smtClean="0"/>
              <a:t>, IMD Journal gave permission to copy content if credit is given.</a:t>
            </a:r>
          </a:p>
          <a:p>
            <a:pPr algn="just">
              <a:lnSpc>
                <a:spcPct val="150000"/>
              </a:lnSpc>
            </a:pPr>
            <a:endParaRPr lang="en-US" sz="1500" dirty="0" smtClean="0"/>
          </a:p>
          <a:p>
            <a:pPr algn="just">
              <a:lnSpc>
                <a:spcPct val="150000"/>
              </a:lnSpc>
            </a:pPr>
            <a:endParaRPr lang="en-US" sz="1500" dirty="0" smtClean="0"/>
          </a:p>
          <a:p>
            <a:pPr algn="just">
              <a:lnSpc>
                <a:spcPct val="150000"/>
              </a:lnSpc>
            </a:pPr>
            <a:endParaRPr lang="en-US" sz="1500" dirty="0" smtClean="0"/>
          </a:p>
          <a:p>
            <a:pPr>
              <a:buNone/>
            </a:pP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373626" y="3746057"/>
            <a:ext cx="8229600" cy="817322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lIns="77898" tIns="38949" rIns="77898" bIns="38949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500" dirty="0" smtClean="0">
                <a:solidFill>
                  <a:srgbClr val="C00000"/>
                </a:solidFill>
              </a:rPr>
              <a:t>GCC would advice authors to give due credit to journals  and if required seek permission from journals wherever necessary, while submitting articles for the GSICS Newsletter</a:t>
            </a:r>
            <a:r>
              <a:rPr lang="en-US" sz="1700" dirty="0" smtClean="0">
                <a:solidFill>
                  <a:srgbClr val="C00000"/>
                </a:solidFill>
              </a:rPr>
              <a:t>.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022041" y="4926324"/>
            <a:ext cx="4724400" cy="217158"/>
          </a:xfrm>
          <a:prstGeom prst="rect">
            <a:avLst/>
          </a:prstGeom>
          <a:noFill/>
        </p:spPr>
        <p:txBody>
          <a:bodyPr wrap="square" lIns="77898" tIns="38949" rIns="77898" bIns="38949" rtlCol="0">
            <a:spAutoFit/>
          </a:bodyPr>
          <a:lstStyle/>
          <a:p>
            <a:r>
              <a:rPr lang="en-US" sz="900" dirty="0" smtClean="0">
                <a:solidFill>
                  <a:srgbClr val="FF0000"/>
                </a:solidFill>
              </a:rPr>
              <a:t>Do  we need a Copyright verse for the Newsletter ?</a:t>
            </a:r>
            <a:endParaRPr lang="en-US" sz="900" dirty="0">
              <a:solidFill>
                <a:srgbClr val="FF0000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itle 1"/>
          <p:cNvSpPr txBox="1">
            <a:spLocks/>
          </p:cNvSpPr>
          <p:nvPr/>
        </p:nvSpPr>
        <p:spPr bwMode="auto">
          <a:xfrm>
            <a:off x="444353" y="156822"/>
            <a:ext cx="8229600" cy="54058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square" lIns="77871" tIns="38935" rIns="77871" bIns="38935" numCol="1" anchor="ctr" anchorCtr="0" compatLnSpc="1">
            <a:prstTxWarp prst="textNoShape">
              <a:avLst/>
            </a:prstTxWarp>
          </a:bodyPr>
          <a:lstStyle/>
          <a:p>
            <a:pPr algn="ctr" defTabSz="914192" eaLnBrk="0" hangingPunct="0">
              <a:defRPr/>
            </a:pPr>
            <a:r>
              <a:rPr lang="en-US" sz="2700" dirty="0" smtClean="0">
                <a:solidFill>
                  <a:schemeClr val="tx1"/>
                </a:solidFill>
              </a:rPr>
              <a:t>ACTION</a:t>
            </a:r>
            <a:endParaRPr lang="en-US" sz="27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15738" y="2300821"/>
            <a:ext cx="2675467" cy="679446"/>
          </a:xfrm>
        </p:spPr>
        <p:txBody>
          <a:bodyPr/>
          <a:lstStyle/>
          <a:p>
            <a:pPr>
              <a:buNone/>
            </a:pPr>
            <a:r>
              <a:rPr lang="en-US" dirty="0" smtClean="0"/>
              <a:t>THANK YOU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solidFill>
            <a:srgbClr val="7030A0"/>
          </a:solidFill>
        </p:spPr>
        <p:txBody>
          <a:bodyPr/>
          <a:lstStyle/>
          <a:p>
            <a:r>
              <a:rPr lang="en-US" dirty="0" smtClean="0"/>
              <a:t>Outlin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057480" y="1035013"/>
            <a:ext cx="6647608" cy="3394472"/>
          </a:xfrm>
        </p:spPr>
        <p:txBody>
          <a:bodyPr/>
          <a:lstStyle/>
          <a:p>
            <a:r>
              <a:rPr lang="en-US" dirty="0" smtClean="0"/>
              <a:t>Introduction</a:t>
            </a:r>
          </a:p>
          <a:p>
            <a:r>
              <a:rPr lang="en-US" dirty="0" smtClean="0"/>
              <a:t>GSICS Newsletter-Past year</a:t>
            </a:r>
          </a:p>
          <a:p>
            <a:r>
              <a:rPr lang="en-US" dirty="0" smtClean="0"/>
              <a:t>Newsletter Readers across the world</a:t>
            </a:r>
          </a:p>
          <a:p>
            <a:r>
              <a:rPr lang="en-US" dirty="0" smtClean="0"/>
              <a:t>Article Review Process</a:t>
            </a:r>
          </a:p>
          <a:p>
            <a:r>
              <a:rPr lang="en-US" dirty="0" smtClean="0"/>
              <a:t>Types of articles accepted</a:t>
            </a:r>
          </a:p>
          <a:p>
            <a:r>
              <a:rPr lang="en-US" dirty="0" smtClean="0"/>
              <a:t>GSICS Newsletter at center of Inter-cal journals</a:t>
            </a:r>
          </a:p>
          <a:p>
            <a:r>
              <a:rPr lang="en-US" dirty="0" smtClean="0"/>
              <a:t>Editorial Board</a:t>
            </a:r>
          </a:p>
          <a:p>
            <a:r>
              <a:rPr lang="en-US" dirty="0" smtClean="0">
                <a:solidFill>
                  <a:srgbClr val="000000"/>
                </a:solidFill>
              </a:rPr>
              <a:t>Conclusion</a:t>
            </a:r>
          </a:p>
          <a:p>
            <a:pPr marL="438029" indent="-389361">
              <a:buNone/>
            </a:pPr>
            <a:endParaRPr lang="en-US" i="1" dirty="0" smtClean="0">
              <a:solidFill>
                <a:srgbClr val="000000"/>
              </a:solidFill>
            </a:endParaRPr>
          </a:p>
          <a:p>
            <a:pPr lvl="1"/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SICS Newsletter-Past Yea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951995"/>
            <a:ext cx="7403335" cy="2241993"/>
          </a:xfrm>
        </p:spPr>
        <p:txBody>
          <a:bodyPr/>
          <a:lstStyle/>
          <a:p>
            <a:pPr>
              <a:buNone/>
            </a:pPr>
            <a:r>
              <a:rPr lang="en-US" dirty="0" smtClean="0"/>
              <a:t>Last four quarters we published four </a:t>
            </a:r>
            <a:r>
              <a:rPr lang="en-US" dirty="0"/>
              <a:t>n</a:t>
            </a:r>
            <a:r>
              <a:rPr lang="en-US" dirty="0" smtClean="0"/>
              <a:t>ew Issues of GSICS Newsletter</a:t>
            </a:r>
          </a:p>
          <a:p>
            <a:pPr lvl="1">
              <a:buFont typeface="Wingdings" pitchFamily="2" charset="2"/>
              <a:buChar char="§"/>
            </a:pPr>
            <a:r>
              <a:rPr lang="en-US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Over 22 Research Articles, 15 Topics of News  to which </a:t>
            </a:r>
            <a:r>
              <a:rPr lang="en-US" dirty="0" smtClean="0">
                <a:solidFill>
                  <a:schemeClr val="tx1">
                    <a:lumMod val="85000"/>
                    <a:lumOff val="15000"/>
                  </a:schemeClr>
                </a:solidFill>
                <a:sym typeface="Wingdings" pitchFamily="2" charset="2"/>
              </a:rPr>
              <a:t> </a:t>
            </a:r>
          </a:p>
          <a:p>
            <a:pPr lvl="1">
              <a:buFont typeface="Wingdings" pitchFamily="2" charset="2"/>
              <a:buChar char="§"/>
            </a:pPr>
            <a:r>
              <a:rPr lang="en-US" dirty="0" smtClean="0">
                <a:solidFill>
                  <a:schemeClr val="tx1">
                    <a:lumMod val="85000"/>
                    <a:lumOff val="15000"/>
                  </a:schemeClr>
                </a:solidFill>
                <a:sym typeface="Wingdings" pitchFamily="2" charset="2"/>
              </a:rPr>
              <a:t>Over 70  Scientists contributed as Authors &amp; Co-Authors.</a:t>
            </a:r>
          </a:p>
          <a:p>
            <a:pPr lvl="1">
              <a:buFont typeface="Wingdings" pitchFamily="2" charset="2"/>
              <a:buChar char="§"/>
            </a:pPr>
            <a:r>
              <a:rPr lang="en-US" dirty="0" smtClean="0">
                <a:solidFill>
                  <a:schemeClr val="tx1">
                    <a:lumMod val="85000"/>
                    <a:lumOff val="15000"/>
                  </a:schemeClr>
                </a:solidFill>
                <a:sym typeface="Wingdings" pitchFamily="2" charset="2"/>
              </a:rPr>
              <a:t>Reviewed contemporary journal policy on content sharing.</a:t>
            </a:r>
          </a:p>
          <a:p>
            <a:pPr lvl="1">
              <a:buFont typeface="Wingdings" pitchFamily="2" charset="2"/>
              <a:buChar char="§"/>
            </a:pPr>
            <a:r>
              <a:rPr lang="en-US" dirty="0" smtClean="0">
                <a:solidFill>
                  <a:schemeClr val="tx1">
                    <a:lumMod val="85000"/>
                    <a:lumOff val="15000"/>
                  </a:schemeClr>
                </a:solidFill>
                <a:sym typeface="Wingdings" pitchFamily="2" charset="2"/>
              </a:rPr>
              <a:t>Contributions from non-GSICS members has increased.</a:t>
            </a:r>
          </a:p>
          <a:p>
            <a:pPr lvl="1">
              <a:buFont typeface="Wingdings" pitchFamily="2" charset="2"/>
              <a:buChar char="§"/>
            </a:pPr>
            <a:r>
              <a:rPr lang="en-US" dirty="0" smtClean="0">
                <a:solidFill>
                  <a:schemeClr val="tx1">
                    <a:lumMod val="85000"/>
                    <a:lumOff val="15000"/>
                  </a:schemeClr>
                </a:solidFill>
                <a:sym typeface="Wingdings" pitchFamily="2" charset="2"/>
              </a:rPr>
              <a:t>Replaced </a:t>
            </a:r>
            <a:r>
              <a:rPr lang="en-US" dirty="0" err="1" smtClean="0">
                <a:solidFill>
                  <a:schemeClr val="tx1">
                    <a:lumMod val="85000"/>
                    <a:lumOff val="15000"/>
                  </a:schemeClr>
                </a:solidFill>
                <a:sym typeface="Wingdings" pitchFamily="2" charset="2"/>
              </a:rPr>
              <a:t>MailChimp</a:t>
            </a:r>
            <a:r>
              <a:rPr lang="en-US" dirty="0" smtClean="0">
                <a:solidFill>
                  <a:schemeClr val="tx1">
                    <a:lumMod val="85000"/>
                    <a:lumOff val="15000"/>
                  </a:schemeClr>
                </a:solidFill>
                <a:sym typeface="Wingdings" pitchFamily="2" charset="2"/>
              </a:rPr>
              <a:t> with NOAA-Email for distribution</a:t>
            </a:r>
            <a:r>
              <a:rPr lang="en-US" dirty="0" smtClean="0">
                <a:solidFill>
                  <a:srgbClr val="009900"/>
                </a:solidFill>
                <a:sym typeface="Wingdings" pitchFamily="2" charset="2"/>
              </a:rPr>
              <a:t>.</a:t>
            </a:r>
          </a:p>
        </p:txBody>
      </p:sp>
      <p:pic>
        <p:nvPicPr>
          <p:cNvPr id="22531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704609" y="3320702"/>
            <a:ext cx="1331020" cy="14256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221161" y="3295528"/>
            <a:ext cx="1365040" cy="1459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793678" y="3235321"/>
            <a:ext cx="1385128" cy="1528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extBox 10"/>
          <p:cNvSpPr txBox="1"/>
          <p:nvPr/>
        </p:nvSpPr>
        <p:spPr>
          <a:xfrm>
            <a:off x="6250898" y="3987596"/>
            <a:ext cx="2893102" cy="1155895"/>
          </a:xfrm>
          <a:prstGeom prst="rect">
            <a:avLst/>
          </a:prstGeom>
          <a:solidFill>
            <a:srgbClr val="00B0F0"/>
          </a:solidFill>
        </p:spPr>
        <p:txBody>
          <a:bodyPr wrap="square" lIns="77916" tIns="38958" rIns="77916" bIns="38958" rtlCol="0">
            <a:spAutoFit/>
          </a:bodyPr>
          <a:lstStyle/>
          <a:p>
            <a:r>
              <a:rPr lang="en-US" sz="1400" dirty="0" smtClean="0"/>
              <a:t>The Newsletter is included in SCOPUS and  extensively cited by agencies and friends of GSICS (on google scholar, twitter, </a:t>
            </a:r>
            <a:r>
              <a:rPr lang="en-US" sz="1400" dirty="0" err="1" smtClean="0"/>
              <a:t>facebook</a:t>
            </a:r>
            <a:r>
              <a:rPr lang="en-US" sz="1400" dirty="0" smtClean="0"/>
              <a:t>).</a:t>
            </a:r>
            <a:endParaRPr lang="en-US" sz="1400" dirty="0"/>
          </a:p>
        </p:txBody>
      </p:sp>
      <p:pic>
        <p:nvPicPr>
          <p:cNvPr id="14342" name="Picture 6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70666" y="3269152"/>
            <a:ext cx="1433653" cy="14683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Content Placeholder 2"/>
          <p:cNvSpPr txBox="1">
            <a:spLocks/>
          </p:cNvSpPr>
          <p:nvPr/>
        </p:nvSpPr>
        <p:spPr bwMode="auto">
          <a:xfrm>
            <a:off x="6145968" y="1294139"/>
            <a:ext cx="2998033" cy="2618294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77871" tIns="38935" rIns="77871" bIns="38935" numCol="1" anchor="t" anchorCtr="0" compatLnSpc="1">
            <a:prstTxWarp prst="textNoShape">
              <a:avLst/>
            </a:prstTxWarp>
            <a:normAutofit fontScale="25000" lnSpcReduction="20000"/>
          </a:bodyPr>
          <a:lstStyle/>
          <a:p>
            <a:pPr marL="243349" indent="-243349" eaLnBrk="0" hangingPunct="0">
              <a:spcBef>
                <a:spcPct val="20000"/>
              </a:spcBef>
              <a:buFont typeface="Arial" pitchFamily="34" charset="0"/>
              <a:buChar char="•"/>
            </a:pPr>
            <a:r>
              <a:rPr lang="en-US" sz="4800" dirty="0" smtClean="0">
                <a:latin typeface="+mn-lt"/>
              </a:rPr>
              <a:t>Since Fall 2013, brand new format .</a:t>
            </a:r>
          </a:p>
          <a:p>
            <a:pPr marL="243349" indent="-243349" eaLnBrk="0" hangingPunct="0">
              <a:spcBef>
                <a:spcPct val="20000"/>
              </a:spcBef>
              <a:buFont typeface="Arial" pitchFamily="34" charset="0"/>
              <a:buChar char="•"/>
            </a:pPr>
            <a:r>
              <a:rPr lang="en-US" sz="4800" dirty="0" smtClean="0">
                <a:latin typeface="+mn-lt"/>
              </a:rPr>
              <a:t>A robust review process.</a:t>
            </a:r>
          </a:p>
          <a:p>
            <a:pPr marL="243349" indent="-243349" eaLnBrk="0" hangingPunct="0">
              <a:spcBef>
                <a:spcPct val="20000"/>
              </a:spcBef>
              <a:buFont typeface="Arial" pitchFamily="34" charset="0"/>
              <a:buChar char="•"/>
            </a:pPr>
            <a:r>
              <a:rPr lang="en-US" sz="4800" dirty="0" smtClean="0">
                <a:latin typeface="+mn-lt"/>
              </a:rPr>
              <a:t>Since Winter Issue for 2014, the Newsletter has a </a:t>
            </a:r>
            <a:r>
              <a:rPr lang="en-US" sz="4800" dirty="0" err="1" smtClean="0">
                <a:latin typeface="+mn-lt"/>
              </a:rPr>
              <a:t>doi</a:t>
            </a:r>
            <a:r>
              <a:rPr lang="en-US" sz="4800" dirty="0" smtClean="0">
                <a:latin typeface="+mn-lt"/>
              </a:rPr>
              <a:t>.</a:t>
            </a:r>
          </a:p>
          <a:p>
            <a:pPr marL="243349" indent="-243349" eaLnBrk="0" hangingPunct="0">
              <a:spcBef>
                <a:spcPct val="20000"/>
              </a:spcBef>
              <a:buFont typeface="Arial" pitchFamily="34" charset="0"/>
              <a:buChar char="•"/>
            </a:pPr>
            <a:r>
              <a:rPr lang="en-US" sz="4800" dirty="0" smtClean="0">
                <a:latin typeface="+mn-lt"/>
              </a:rPr>
              <a:t>Accepts articles on topics related to calibration (Pre- and Post-launch).</a:t>
            </a:r>
          </a:p>
          <a:p>
            <a:pPr marL="243349" indent="-243349" eaLnBrk="0" hangingPunct="0">
              <a:spcBef>
                <a:spcPct val="20000"/>
              </a:spcBef>
              <a:buFont typeface="Arial" pitchFamily="34" charset="0"/>
              <a:buChar char="•"/>
            </a:pPr>
            <a:r>
              <a:rPr lang="en-US" sz="4800" dirty="0" smtClean="0">
                <a:latin typeface="+mn-lt"/>
              </a:rPr>
              <a:t>New Landing page on the GCC website.</a:t>
            </a:r>
          </a:p>
          <a:p>
            <a:pPr marL="243349" indent="-243349" eaLnBrk="0" hangingPunct="0">
              <a:spcBef>
                <a:spcPct val="20000"/>
              </a:spcBef>
              <a:buFont typeface="Arial" pitchFamily="34" charset="0"/>
              <a:buChar char="•"/>
            </a:pPr>
            <a:r>
              <a:rPr lang="en-US" sz="4800" dirty="0" smtClean="0">
                <a:latin typeface="+mn-lt"/>
              </a:rPr>
              <a:t>Rate and Comment section: readers and authors can interact.</a:t>
            </a:r>
          </a:p>
          <a:p>
            <a:pPr marL="243349" indent="-243349" eaLnBrk="0" hangingPunct="0">
              <a:spcBef>
                <a:spcPct val="20000"/>
              </a:spcBef>
              <a:buFont typeface="Arial" pitchFamily="34" charset="0"/>
              <a:buChar char="•"/>
            </a:pPr>
            <a:r>
              <a:rPr lang="en-US" sz="4800" dirty="0" smtClean="0">
                <a:latin typeface="+mn-lt"/>
              </a:rPr>
              <a:t>Articles are reviewed by subject experts. </a:t>
            </a:r>
          </a:p>
          <a:p>
            <a:pPr marL="243349" indent="-243349" eaLnBrk="0" hangingPunct="0">
              <a:spcBef>
                <a:spcPct val="20000"/>
              </a:spcBef>
              <a:buFont typeface="Arial" pitchFamily="34" charset="0"/>
              <a:buChar char="•"/>
            </a:pPr>
            <a:r>
              <a:rPr lang="en-US" sz="4800" dirty="0" smtClean="0">
                <a:latin typeface="+mn-lt"/>
              </a:rPr>
              <a:t>Help available to non-native English speaking contributors.</a:t>
            </a:r>
          </a:p>
          <a:p>
            <a:pPr marL="243349" indent="-243349" eaLnBrk="0" hangingPunct="0">
              <a:spcBef>
                <a:spcPct val="20000"/>
              </a:spcBef>
              <a:buFont typeface="Arial" pitchFamily="34" charset="0"/>
              <a:buChar char="•"/>
            </a:pPr>
            <a:r>
              <a:rPr lang="en-US" sz="4800" dirty="0" smtClean="0">
                <a:latin typeface="+mn-lt"/>
              </a:rPr>
              <a:t>Since Fall 2014, new navigation features added to the Cover Letter.</a:t>
            </a:r>
          </a:p>
          <a:p>
            <a:pPr marL="243349" indent="-243349" eaLnBrk="0" hangingPunct="0">
              <a:spcBef>
                <a:spcPct val="20000"/>
              </a:spcBef>
              <a:buFont typeface="Arial" pitchFamily="34" charset="0"/>
              <a:buChar char="•"/>
            </a:pPr>
            <a:r>
              <a:rPr lang="en-US" sz="4800" dirty="0" smtClean="0">
                <a:latin typeface="+mn-lt"/>
              </a:rPr>
              <a:t>Released directly via NOAA Email.</a:t>
            </a:r>
          </a:p>
          <a:p>
            <a:pPr marL="632710" lvl="1" indent="-243349" defTabSz="914296" eaLnBrk="0" hangingPunct="0">
              <a:spcBef>
                <a:spcPct val="20000"/>
              </a:spcBef>
            </a:pPr>
            <a:endParaRPr lang="en-US" sz="2500" dirty="0" smtClean="0">
              <a:latin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2" name="Freeform 4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2519370" y="4045749"/>
            <a:ext cx="33337" cy="4286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" y="5"/>
              </a:cxn>
              <a:cxn ang="0">
                <a:pos x="4" y="10"/>
              </a:cxn>
              <a:cxn ang="0">
                <a:pos x="8" y="14"/>
              </a:cxn>
              <a:cxn ang="0">
                <a:pos x="13" y="20"/>
              </a:cxn>
              <a:cxn ang="0">
                <a:pos x="16" y="17"/>
              </a:cxn>
              <a:cxn ang="0">
                <a:pos x="19" y="13"/>
              </a:cxn>
              <a:cxn ang="0">
                <a:pos x="23" y="11"/>
              </a:cxn>
              <a:cxn ang="0">
                <a:pos x="27" y="10"/>
              </a:cxn>
              <a:cxn ang="0">
                <a:pos x="36" y="8"/>
              </a:cxn>
              <a:cxn ang="0">
                <a:pos x="46" y="7"/>
              </a:cxn>
              <a:cxn ang="0">
                <a:pos x="54" y="7"/>
              </a:cxn>
              <a:cxn ang="0">
                <a:pos x="63" y="6"/>
              </a:cxn>
              <a:cxn ang="0">
                <a:pos x="66" y="5"/>
              </a:cxn>
              <a:cxn ang="0">
                <a:pos x="69" y="4"/>
              </a:cxn>
              <a:cxn ang="0">
                <a:pos x="71" y="2"/>
              </a:cxn>
              <a:cxn ang="0">
                <a:pos x="73" y="0"/>
              </a:cxn>
              <a:cxn ang="0">
                <a:pos x="0" y="0"/>
              </a:cxn>
            </a:cxnLst>
            <a:rect l="0" t="0" r="r" b="b"/>
            <a:pathLst>
              <a:path w="73" h="20">
                <a:moveTo>
                  <a:pt x="0" y="0"/>
                </a:moveTo>
                <a:lnTo>
                  <a:pt x="1" y="5"/>
                </a:lnTo>
                <a:lnTo>
                  <a:pt x="4" y="10"/>
                </a:lnTo>
                <a:lnTo>
                  <a:pt x="8" y="14"/>
                </a:lnTo>
                <a:lnTo>
                  <a:pt x="13" y="20"/>
                </a:lnTo>
                <a:lnTo>
                  <a:pt x="16" y="17"/>
                </a:lnTo>
                <a:lnTo>
                  <a:pt x="19" y="13"/>
                </a:lnTo>
                <a:lnTo>
                  <a:pt x="23" y="11"/>
                </a:lnTo>
                <a:lnTo>
                  <a:pt x="27" y="10"/>
                </a:lnTo>
                <a:lnTo>
                  <a:pt x="36" y="8"/>
                </a:lnTo>
                <a:lnTo>
                  <a:pt x="46" y="7"/>
                </a:lnTo>
                <a:lnTo>
                  <a:pt x="54" y="7"/>
                </a:lnTo>
                <a:lnTo>
                  <a:pt x="63" y="6"/>
                </a:lnTo>
                <a:lnTo>
                  <a:pt x="66" y="5"/>
                </a:lnTo>
                <a:lnTo>
                  <a:pt x="69" y="4"/>
                </a:lnTo>
                <a:lnTo>
                  <a:pt x="71" y="2"/>
                </a:lnTo>
                <a:lnTo>
                  <a:pt x="73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053" name="Freeform 5"/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677870" y="1121569"/>
            <a:ext cx="784225" cy="334566"/>
          </a:xfrm>
          <a:custGeom>
            <a:avLst/>
            <a:gdLst/>
            <a:ahLst/>
            <a:cxnLst>
              <a:cxn ang="0">
                <a:pos x="1395" y="807"/>
              </a:cxn>
              <a:cxn ang="0">
                <a:pos x="1394" y="753"/>
              </a:cxn>
              <a:cxn ang="0">
                <a:pos x="1373" y="648"/>
              </a:cxn>
              <a:cxn ang="0">
                <a:pos x="1323" y="641"/>
              </a:cxn>
              <a:cxn ang="0">
                <a:pos x="1264" y="639"/>
              </a:cxn>
              <a:cxn ang="0">
                <a:pos x="1134" y="582"/>
              </a:cxn>
              <a:cxn ang="0">
                <a:pos x="973" y="537"/>
              </a:cxn>
              <a:cxn ang="0">
                <a:pos x="943" y="504"/>
              </a:cxn>
              <a:cxn ang="0">
                <a:pos x="901" y="516"/>
              </a:cxn>
              <a:cxn ang="0">
                <a:pos x="849" y="570"/>
              </a:cxn>
              <a:cxn ang="0">
                <a:pos x="675" y="619"/>
              </a:cxn>
              <a:cxn ang="0">
                <a:pos x="678" y="578"/>
              </a:cxn>
              <a:cxn ang="0">
                <a:pos x="721" y="548"/>
              </a:cxn>
              <a:cxn ang="0">
                <a:pos x="786" y="545"/>
              </a:cxn>
              <a:cxn ang="0">
                <a:pos x="724" y="528"/>
              </a:cxn>
              <a:cxn ang="0">
                <a:pos x="578" y="589"/>
              </a:cxn>
              <a:cxn ang="0">
                <a:pos x="547" y="625"/>
              </a:cxn>
              <a:cxn ang="0">
                <a:pos x="526" y="650"/>
              </a:cxn>
              <a:cxn ang="0">
                <a:pos x="452" y="654"/>
              </a:cxn>
              <a:cxn ang="0">
                <a:pos x="383" y="702"/>
              </a:cxn>
              <a:cxn ang="0">
                <a:pos x="252" y="750"/>
              </a:cxn>
              <a:cxn ang="0">
                <a:pos x="105" y="807"/>
              </a:cxn>
              <a:cxn ang="0">
                <a:pos x="4" y="813"/>
              </a:cxn>
              <a:cxn ang="0">
                <a:pos x="14" y="789"/>
              </a:cxn>
              <a:cxn ang="0">
                <a:pos x="127" y="761"/>
              </a:cxn>
              <a:cxn ang="0">
                <a:pos x="265" y="696"/>
              </a:cxn>
              <a:cxn ang="0">
                <a:pos x="300" y="626"/>
              </a:cxn>
              <a:cxn ang="0">
                <a:pos x="253" y="657"/>
              </a:cxn>
              <a:cxn ang="0">
                <a:pos x="150" y="643"/>
              </a:cxn>
              <a:cxn ang="0">
                <a:pos x="172" y="610"/>
              </a:cxn>
              <a:cxn ang="0">
                <a:pos x="240" y="547"/>
              </a:cxn>
              <a:cxn ang="0">
                <a:pos x="152" y="575"/>
              </a:cxn>
              <a:cxn ang="0">
                <a:pos x="143" y="536"/>
              </a:cxn>
              <a:cxn ang="0">
                <a:pos x="346" y="380"/>
              </a:cxn>
              <a:cxn ang="0">
                <a:pos x="444" y="382"/>
              </a:cxn>
              <a:cxn ang="0">
                <a:pos x="569" y="349"/>
              </a:cxn>
              <a:cxn ang="0">
                <a:pos x="592" y="306"/>
              </a:cxn>
              <a:cxn ang="0">
                <a:pos x="506" y="331"/>
              </a:cxn>
              <a:cxn ang="0">
                <a:pos x="438" y="318"/>
              </a:cxn>
              <a:cxn ang="0">
                <a:pos x="472" y="287"/>
              </a:cxn>
              <a:cxn ang="0">
                <a:pos x="711" y="238"/>
              </a:cxn>
              <a:cxn ang="0">
                <a:pos x="749" y="210"/>
              </a:cxn>
              <a:cxn ang="0">
                <a:pos x="684" y="176"/>
              </a:cxn>
              <a:cxn ang="0">
                <a:pos x="739" y="109"/>
              </a:cxn>
              <a:cxn ang="0">
                <a:pos x="988" y="27"/>
              </a:cxn>
              <a:cxn ang="0">
                <a:pos x="1157" y="9"/>
              </a:cxn>
              <a:cxn ang="0">
                <a:pos x="1277" y="2"/>
              </a:cxn>
              <a:cxn ang="0">
                <a:pos x="1354" y="10"/>
              </a:cxn>
              <a:cxn ang="0">
                <a:pos x="1516" y="34"/>
              </a:cxn>
              <a:cxn ang="0">
                <a:pos x="1761" y="41"/>
              </a:cxn>
              <a:cxn ang="0">
                <a:pos x="1287" y="540"/>
              </a:cxn>
              <a:cxn ang="0">
                <a:pos x="1321" y="571"/>
              </a:cxn>
              <a:cxn ang="0">
                <a:pos x="1327" y="601"/>
              </a:cxn>
              <a:cxn ang="0">
                <a:pos x="1382" y="599"/>
              </a:cxn>
              <a:cxn ang="0">
                <a:pos x="1429" y="577"/>
              </a:cxn>
              <a:cxn ang="0">
                <a:pos x="1475" y="667"/>
              </a:cxn>
              <a:cxn ang="0">
                <a:pos x="1462" y="706"/>
              </a:cxn>
              <a:cxn ang="0">
                <a:pos x="1449" y="742"/>
              </a:cxn>
              <a:cxn ang="0">
                <a:pos x="1477" y="783"/>
              </a:cxn>
              <a:cxn ang="0">
                <a:pos x="1477" y="811"/>
              </a:cxn>
              <a:cxn ang="0">
                <a:pos x="1426" y="848"/>
              </a:cxn>
            </a:cxnLst>
            <a:rect l="0" t="0" r="r" b="b"/>
            <a:pathLst>
              <a:path w="1808" h="850">
                <a:moveTo>
                  <a:pt x="1410" y="842"/>
                </a:moveTo>
                <a:lnTo>
                  <a:pt x="1405" y="841"/>
                </a:lnTo>
                <a:lnTo>
                  <a:pt x="1403" y="838"/>
                </a:lnTo>
                <a:lnTo>
                  <a:pt x="1401" y="834"/>
                </a:lnTo>
                <a:lnTo>
                  <a:pt x="1399" y="830"/>
                </a:lnTo>
                <a:lnTo>
                  <a:pt x="1396" y="819"/>
                </a:lnTo>
                <a:lnTo>
                  <a:pt x="1395" y="807"/>
                </a:lnTo>
                <a:lnTo>
                  <a:pt x="1396" y="795"/>
                </a:lnTo>
                <a:lnTo>
                  <a:pt x="1398" y="784"/>
                </a:lnTo>
                <a:lnTo>
                  <a:pt x="1400" y="775"/>
                </a:lnTo>
                <a:lnTo>
                  <a:pt x="1402" y="769"/>
                </a:lnTo>
                <a:lnTo>
                  <a:pt x="1399" y="764"/>
                </a:lnTo>
                <a:lnTo>
                  <a:pt x="1396" y="760"/>
                </a:lnTo>
                <a:lnTo>
                  <a:pt x="1394" y="753"/>
                </a:lnTo>
                <a:lnTo>
                  <a:pt x="1392" y="746"/>
                </a:lnTo>
                <a:lnTo>
                  <a:pt x="1390" y="729"/>
                </a:lnTo>
                <a:lnTo>
                  <a:pt x="1389" y="708"/>
                </a:lnTo>
                <a:lnTo>
                  <a:pt x="1389" y="670"/>
                </a:lnTo>
                <a:lnTo>
                  <a:pt x="1389" y="645"/>
                </a:lnTo>
                <a:lnTo>
                  <a:pt x="1382" y="647"/>
                </a:lnTo>
                <a:lnTo>
                  <a:pt x="1373" y="648"/>
                </a:lnTo>
                <a:lnTo>
                  <a:pt x="1362" y="648"/>
                </a:lnTo>
                <a:lnTo>
                  <a:pt x="1351" y="648"/>
                </a:lnTo>
                <a:lnTo>
                  <a:pt x="1340" y="647"/>
                </a:lnTo>
                <a:lnTo>
                  <a:pt x="1332" y="645"/>
                </a:lnTo>
                <a:lnTo>
                  <a:pt x="1327" y="644"/>
                </a:lnTo>
                <a:lnTo>
                  <a:pt x="1325" y="642"/>
                </a:lnTo>
                <a:lnTo>
                  <a:pt x="1323" y="641"/>
                </a:lnTo>
                <a:lnTo>
                  <a:pt x="1323" y="638"/>
                </a:lnTo>
                <a:lnTo>
                  <a:pt x="1290" y="682"/>
                </a:lnTo>
                <a:lnTo>
                  <a:pt x="1284" y="668"/>
                </a:lnTo>
                <a:lnTo>
                  <a:pt x="1279" y="659"/>
                </a:lnTo>
                <a:lnTo>
                  <a:pt x="1273" y="650"/>
                </a:lnTo>
                <a:lnTo>
                  <a:pt x="1268" y="645"/>
                </a:lnTo>
                <a:lnTo>
                  <a:pt x="1264" y="639"/>
                </a:lnTo>
                <a:lnTo>
                  <a:pt x="1259" y="631"/>
                </a:lnTo>
                <a:lnTo>
                  <a:pt x="1257" y="622"/>
                </a:lnTo>
                <a:lnTo>
                  <a:pt x="1256" y="608"/>
                </a:lnTo>
                <a:lnTo>
                  <a:pt x="1226" y="602"/>
                </a:lnTo>
                <a:lnTo>
                  <a:pt x="1195" y="595"/>
                </a:lnTo>
                <a:lnTo>
                  <a:pt x="1165" y="588"/>
                </a:lnTo>
                <a:lnTo>
                  <a:pt x="1134" y="582"/>
                </a:lnTo>
                <a:lnTo>
                  <a:pt x="1104" y="576"/>
                </a:lnTo>
                <a:lnTo>
                  <a:pt x="1074" y="569"/>
                </a:lnTo>
                <a:lnTo>
                  <a:pt x="1045" y="561"/>
                </a:lnTo>
                <a:lnTo>
                  <a:pt x="1018" y="553"/>
                </a:lnTo>
                <a:lnTo>
                  <a:pt x="984" y="553"/>
                </a:lnTo>
                <a:lnTo>
                  <a:pt x="977" y="546"/>
                </a:lnTo>
                <a:lnTo>
                  <a:pt x="973" y="537"/>
                </a:lnTo>
                <a:lnTo>
                  <a:pt x="969" y="528"/>
                </a:lnTo>
                <a:lnTo>
                  <a:pt x="966" y="521"/>
                </a:lnTo>
                <a:lnTo>
                  <a:pt x="962" y="514"/>
                </a:lnTo>
                <a:lnTo>
                  <a:pt x="956" y="508"/>
                </a:lnTo>
                <a:lnTo>
                  <a:pt x="952" y="506"/>
                </a:lnTo>
                <a:lnTo>
                  <a:pt x="948" y="505"/>
                </a:lnTo>
                <a:lnTo>
                  <a:pt x="943" y="504"/>
                </a:lnTo>
                <a:lnTo>
                  <a:pt x="937" y="503"/>
                </a:lnTo>
                <a:lnTo>
                  <a:pt x="929" y="504"/>
                </a:lnTo>
                <a:lnTo>
                  <a:pt x="922" y="505"/>
                </a:lnTo>
                <a:lnTo>
                  <a:pt x="916" y="507"/>
                </a:lnTo>
                <a:lnTo>
                  <a:pt x="910" y="509"/>
                </a:lnTo>
                <a:lnTo>
                  <a:pt x="906" y="512"/>
                </a:lnTo>
                <a:lnTo>
                  <a:pt x="901" y="516"/>
                </a:lnTo>
                <a:lnTo>
                  <a:pt x="898" y="519"/>
                </a:lnTo>
                <a:lnTo>
                  <a:pt x="895" y="523"/>
                </a:lnTo>
                <a:lnTo>
                  <a:pt x="886" y="539"/>
                </a:lnTo>
                <a:lnTo>
                  <a:pt x="877" y="553"/>
                </a:lnTo>
                <a:lnTo>
                  <a:pt x="870" y="559"/>
                </a:lnTo>
                <a:lnTo>
                  <a:pt x="861" y="564"/>
                </a:lnTo>
                <a:lnTo>
                  <a:pt x="849" y="570"/>
                </a:lnTo>
                <a:lnTo>
                  <a:pt x="835" y="576"/>
                </a:lnTo>
                <a:lnTo>
                  <a:pt x="806" y="587"/>
                </a:lnTo>
                <a:lnTo>
                  <a:pt x="772" y="597"/>
                </a:lnTo>
                <a:lnTo>
                  <a:pt x="738" y="607"/>
                </a:lnTo>
                <a:lnTo>
                  <a:pt x="705" y="614"/>
                </a:lnTo>
                <a:lnTo>
                  <a:pt x="689" y="617"/>
                </a:lnTo>
                <a:lnTo>
                  <a:pt x="675" y="619"/>
                </a:lnTo>
                <a:lnTo>
                  <a:pt x="663" y="620"/>
                </a:lnTo>
                <a:lnTo>
                  <a:pt x="652" y="620"/>
                </a:lnTo>
                <a:lnTo>
                  <a:pt x="656" y="614"/>
                </a:lnTo>
                <a:lnTo>
                  <a:pt x="667" y="597"/>
                </a:lnTo>
                <a:lnTo>
                  <a:pt x="673" y="589"/>
                </a:lnTo>
                <a:lnTo>
                  <a:pt x="677" y="581"/>
                </a:lnTo>
                <a:lnTo>
                  <a:pt x="678" y="578"/>
                </a:lnTo>
                <a:lnTo>
                  <a:pt x="679" y="575"/>
                </a:lnTo>
                <a:lnTo>
                  <a:pt x="679" y="572"/>
                </a:lnTo>
                <a:lnTo>
                  <a:pt x="678" y="571"/>
                </a:lnTo>
                <a:lnTo>
                  <a:pt x="689" y="562"/>
                </a:lnTo>
                <a:lnTo>
                  <a:pt x="700" y="555"/>
                </a:lnTo>
                <a:lnTo>
                  <a:pt x="711" y="551"/>
                </a:lnTo>
                <a:lnTo>
                  <a:pt x="721" y="548"/>
                </a:lnTo>
                <a:lnTo>
                  <a:pt x="732" y="546"/>
                </a:lnTo>
                <a:lnTo>
                  <a:pt x="742" y="546"/>
                </a:lnTo>
                <a:lnTo>
                  <a:pt x="751" y="546"/>
                </a:lnTo>
                <a:lnTo>
                  <a:pt x="761" y="546"/>
                </a:lnTo>
                <a:lnTo>
                  <a:pt x="769" y="546"/>
                </a:lnTo>
                <a:lnTo>
                  <a:pt x="778" y="546"/>
                </a:lnTo>
                <a:lnTo>
                  <a:pt x="786" y="545"/>
                </a:lnTo>
                <a:lnTo>
                  <a:pt x="794" y="543"/>
                </a:lnTo>
                <a:lnTo>
                  <a:pt x="800" y="538"/>
                </a:lnTo>
                <a:lnTo>
                  <a:pt x="807" y="533"/>
                </a:lnTo>
                <a:lnTo>
                  <a:pt x="812" y="525"/>
                </a:lnTo>
                <a:lnTo>
                  <a:pt x="818" y="515"/>
                </a:lnTo>
                <a:lnTo>
                  <a:pt x="744" y="515"/>
                </a:lnTo>
                <a:lnTo>
                  <a:pt x="724" y="528"/>
                </a:lnTo>
                <a:lnTo>
                  <a:pt x="705" y="540"/>
                </a:lnTo>
                <a:lnTo>
                  <a:pt x="685" y="551"/>
                </a:lnTo>
                <a:lnTo>
                  <a:pt x="664" y="560"/>
                </a:lnTo>
                <a:lnTo>
                  <a:pt x="643" y="568"/>
                </a:lnTo>
                <a:lnTo>
                  <a:pt x="622" y="575"/>
                </a:lnTo>
                <a:lnTo>
                  <a:pt x="600" y="582"/>
                </a:lnTo>
                <a:lnTo>
                  <a:pt x="578" y="589"/>
                </a:lnTo>
                <a:lnTo>
                  <a:pt x="573" y="592"/>
                </a:lnTo>
                <a:lnTo>
                  <a:pt x="567" y="594"/>
                </a:lnTo>
                <a:lnTo>
                  <a:pt x="564" y="599"/>
                </a:lnTo>
                <a:lnTo>
                  <a:pt x="560" y="602"/>
                </a:lnTo>
                <a:lnTo>
                  <a:pt x="554" y="609"/>
                </a:lnTo>
                <a:lnTo>
                  <a:pt x="550" y="617"/>
                </a:lnTo>
                <a:lnTo>
                  <a:pt x="547" y="625"/>
                </a:lnTo>
                <a:lnTo>
                  <a:pt x="543" y="633"/>
                </a:lnTo>
                <a:lnTo>
                  <a:pt x="541" y="636"/>
                </a:lnTo>
                <a:lnTo>
                  <a:pt x="539" y="639"/>
                </a:lnTo>
                <a:lnTo>
                  <a:pt x="536" y="642"/>
                </a:lnTo>
                <a:lnTo>
                  <a:pt x="532" y="645"/>
                </a:lnTo>
                <a:lnTo>
                  <a:pt x="529" y="648"/>
                </a:lnTo>
                <a:lnTo>
                  <a:pt x="526" y="650"/>
                </a:lnTo>
                <a:lnTo>
                  <a:pt x="521" y="652"/>
                </a:lnTo>
                <a:lnTo>
                  <a:pt x="517" y="654"/>
                </a:lnTo>
                <a:lnTo>
                  <a:pt x="507" y="655"/>
                </a:lnTo>
                <a:lnTo>
                  <a:pt x="496" y="655"/>
                </a:lnTo>
                <a:lnTo>
                  <a:pt x="474" y="652"/>
                </a:lnTo>
                <a:lnTo>
                  <a:pt x="459" y="651"/>
                </a:lnTo>
                <a:lnTo>
                  <a:pt x="452" y="654"/>
                </a:lnTo>
                <a:lnTo>
                  <a:pt x="444" y="657"/>
                </a:lnTo>
                <a:lnTo>
                  <a:pt x="438" y="661"/>
                </a:lnTo>
                <a:lnTo>
                  <a:pt x="430" y="665"/>
                </a:lnTo>
                <a:lnTo>
                  <a:pt x="417" y="674"/>
                </a:lnTo>
                <a:lnTo>
                  <a:pt x="405" y="684"/>
                </a:lnTo>
                <a:lnTo>
                  <a:pt x="394" y="694"/>
                </a:lnTo>
                <a:lnTo>
                  <a:pt x="383" y="702"/>
                </a:lnTo>
                <a:lnTo>
                  <a:pt x="374" y="708"/>
                </a:lnTo>
                <a:lnTo>
                  <a:pt x="367" y="713"/>
                </a:lnTo>
                <a:lnTo>
                  <a:pt x="335" y="722"/>
                </a:lnTo>
                <a:lnTo>
                  <a:pt x="309" y="729"/>
                </a:lnTo>
                <a:lnTo>
                  <a:pt x="287" y="737"/>
                </a:lnTo>
                <a:lnTo>
                  <a:pt x="270" y="743"/>
                </a:lnTo>
                <a:lnTo>
                  <a:pt x="252" y="750"/>
                </a:lnTo>
                <a:lnTo>
                  <a:pt x="235" y="757"/>
                </a:lnTo>
                <a:lnTo>
                  <a:pt x="216" y="766"/>
                </a:lnTo>
                <a:lnTo>
                  <a:pt x="193" y="775"/>
                </a:lnTo>
                <a:lnTo>
                  <a:pt x="168" y="786"/>
                </a:lnTo>
                <a:lnTo>
                  <a:pt x="145" y="795"/>
                </a:lnTo>
                <a:lnTo>
                  <a:pt x="124" y="802"/>
                </a:lnTo>
                <a:lnTo>
                  <a:pt x="105" y="807"/>
                </a:lnTo>
                <a:lnTo>
                  <a:pt x="87" y="812"/>
                </a:lnTo>
                <a:lnTo>
                  <a:pt x="68" y="818"/>
                </a:lnTo>
                <a:lnTo>
                  <a:pt x="48" y="826"/>
                </a:lnTo>
                <a:lnTo>
                  <a:pt x="27" y="836"/>
                </a:lnTo>
                <a:lnTo>
                  <a:pt x="1" y="824"/>
                </a:lnTo>
                <a:lnTo>
                  <a:pt x="4" y="817"/>
                </a:lnTo>
                <a:lnTo>
                  <a:pt x="4" y="813"/>
                </a:lnTo>
                <a:lnTo>
                  <a:pt x="3" y="810"/>
                </a:lnTo>
                <a:lnTo>
                  <a:pt x="2" y="808"/>
                </a:lnTo>
                <a:lnTo>
                  <a:pt x="0" y="806"/>
                </a:lnTo>
                <a:lnTo>
                  <a:pt x="0" y="803"/>
                </a:lnTo>
                <a:lnTo>
                  <a:pt x="2" y="799"/>
                </a:lnTo>
                <a:lnTo>
                  <a:pt x="7" y="793"/>
                </a:lnTo>
                <a:lnTo>
                  <a:pt x="14" y="789"/>
                </a:lnTo>
                <a:lnTo>
                  <a:pt x="21" y="785"/>
                </a:lnTo>
                <a:lnTo>
                  <a:pt x="28" y="782"/>
                </a:lnTo>
                <a:lnTo>
                  <a:pt x="36" y="779"/>
                </a:lnTo>
                <a:lnTo>
                  <a:pt x="52" y="774"/>
                </a:lnTo>
                <a:lnTo>
                  <a:pt x="70" y="771"/>
                </a:lnTo>
                <a:lnTo>
                  <a:pt x="102" y="766"/>
                </a:lnTo>
                <a:lnTo>
                  <a:pt x="127" y="761"/>
                </a:lnTo>
                <a:lnTo>
                  <a:pt x="143" y="757"/>
                </a:lnTo>
                <a:lnTo>
                  <a:pt x="158" y="751"/>
                </a:lnTo>
                <a:lnTo>
                  <a:pt x="173" y="746"/>
                </a:lnTo>
                <a:lnTo>
                  <a:pt x="188" y="739"/>
                </a:lnTo>
                <a:lnTo>
                  <a:pt x="215" y="726"/>
                </a:lnTo>
                <a:lnTo>
                  <a:pt x="240" y="712"/>
                </a:lnTo>
                <a:lnTo>
                  <a:pt x="265" y="696"/>
                </a:lnTo>
                <a:lnTo>
                  <a:pt x="291" y="681"/>
                </a:lnTo>
                <a:lnTo>
                  <a:pt x="315" y="666"/>
                </a:lnTo>
                <a:lnTo>
                  <a:pt x="339" y="651"/>
                </a:lnTo>
                <a:lnTo>
                  <a:pt x="327" y="643"/>
                </a:lnTo>
                <a:lnTo>
                  <a:pt x="317" y="636"/>
                </a:lnTo>
                <a:lnTo>
                  <a:pt x="308" y="631"/>
                </a:lnTo>
                <a:lnTo>
                  <a:pt x="300" y="626"/>
                </a:lnTo>
                <a:lnTo>
                  <a:pt x="292" y="629"/>
                </a:lnTo>
                <a:lnTo>
                  <a:pt x="285" y="634"/>
                </a:lnTo>
                <a:lnTo>
                  <a:pt x="280" y="639"/>
                </a:lnTo>
                <a:lnTo>
                  <a:pt x="273" y="644"/>
                </a:lnTo>
                <a:lnTo>
                  <a:pt x="267" y="649"/>
                </a:lnTo>
                <a:lnTo>
                  <a:pt x="260" y="654"/>
                </a:lnTo>
                <a:lnTo>
                  <a:pt x="253" y="657"/>
                </a:lnTo>
                <a:lnTo>
                  <a:pt x="247" y="658"/>
                </a:lnTo>
                <a:lnTo>
                  <a:pt x="225" y="657"/>
                </a:lnTo>
                <a:lnTo>
                  <a:pt x="192" y="652"/>
                </a:lnTo>
                <a:lnTo>
                  <a:pt x="174" y="650"/>
                </a:lnTo>
                <a:lnTo>
                  <a:pt x="160" y="646"/>
                </a:lnTo>
                <a:lnTo>
                  <a:pt x="155" y="645"/>
                </a:lnTo>
                <a:lnTo>
                  <a:pt x="150" y="643"/>
                </a:lnTo>
                <a:lnTo>
                  <a:pt x="148" y="641"/>
                </a:lnTo>
                <a:lnTo>
                  <a:pt x="147" y="638"/>
                </a:lnTo>
                <a:lnTo>
                  <a:pt x="148" y="635"/>
                </a:lnTo>
                <a:lnTo>
                  <a:pt x="150" y="631"/>
                </a:lnTo>
                <a:lnTo>
                  <a:pt x="155" y="626"/>
                </a:lnTo>
                <a:lnTo>
                  <a:pt x="159" y="621"/>
                </a:lnTo>
                <a:lnTo>
                  <a:pt x="172" y="610"/>
                </a:lnTo>
                <a:lnTo>
                  <a:pt x="189" y="597"/>
                </a:lnTo>
                <a:lnTo>
                  <a:pt x="204" y="584"/>
                </a:lnTo>
                <a:lnTo>
                  <a:pt x="219" y="571"/>
                </a:lnTo>
                <a:lnTo>
                  <a:pt x="226" y="565"/>
                </a:lnTo>
                <a:lnTo>
                  <a:pt x="231" y="559"/>
                </a:lnTo>
                <a:lnTo>
                  <a:pt x="237" y="553"/>
                </a:lnTo>
                <a:lnTo>
                  <a:pt x="240" y="547"/>
                </a:lnTo>
                <a:lnTo>
                  <a:pt x="223" y="550"/>
                </a:lnTo>
                <a:lnTo>
                  <a:pt x="207" y="556"/>
                </a:lnTo>
                <a:lnTo>
                  <a:pt x="191" y="562"/>
                </a:lnTo>
                <a:lnTo>
                  <a:pt x="175" y="568"/>
                </a:lnTo>
                <a:lnTo>
                  <a:pt x="168" y="571"/>
                </a:lnTo>
                <a:lnTo>
                  <a:pt x="160" y="573"/>
                </a:lnTo>
                <a:lnTo>
                  <a:pt x="152" y="575"/>
                </a:lnTo>
                <a:lnTo>
                  <a:pt x="144" y="576"/>
                </a:lnTo>
                <a:lnTo>
                  <a:pt x="135" y="576"/>
                </a:lnTo>
                <a:lnTo>
                  <a:pt x="126" y="575"/>
                </a:lnTo>
                <a:lnTo>
                  <a:pt x="116" y="574"/>
                </a:lnTo>
                <a:lnTo>
                  <a:pt x="107" y="571"/>
                </a:lnTo>
                <a:lnTo>
                  <a:pt x="107" y="565"/>
                </a:lnTo>
                <a:lnTo>
                  <a:pt x="143" y="536"/>
                </a:lnTo>
                <a:lnTo>
                  <a:pt x="182" y="508"/>
                </a:lnTo>
                <a:lnTo>
                  <a:pt x="223" y="476"/>
                </a:lnTo>
                <a:lnTo>
                  <a:pt x="267" y="442"/>
                </a:lnTo>
                <a:lnTo>
                  <a:pt x="286" y="426"/>
                </a:lnTo>
                <a:lnTo>
                  <a:pt x="306" y="411"/>
                </a:lnTo>
                <a:lnTo>
                  <a:pt x="326" y="395"/>
                </a:lnTo>
                <a:lnTo>
                  <a:pt x="346" y="380"/>
                </a:lnTo>
                <a:lnTo>
                  <a:pt x="386" y="411"/>
                </a:lnTo>
                <a:lnTo>
                  <a:pt x="393" y="405"/>
                </a:lnTo>
                <a:lnTo>
                  <a:pt x="399" y="400"/>
                </a:lnTo>
                <a:lnTo>
                  <a:pt x="406" y="396"/>
                </a:lnTo>
                <a:lnTo>
                  <a:pt x="414" y="393"/>
                </a:lnTo>
                <a:lnTo>
                  <a:pt x="428" y="386"/>
                </a:lnTo>
                <a:lnTo>
                  <a:pt x="444" y="382"/>
                </a:lnTo>
                <a:lnTo>
                  <a:pt x="476" y="374"/>
                </a:lnTo>
                <a:lnTo>
                  <a:pt x="509" y="370"/>
                </a:lnTo>
                <a:lnTo>
                  <a:pt x="524" y="367"/>
                </a:lnTo>
                <a:lnTo>
                  <a:pt x="539" y="363"/>
                </a:lnTo>
                <a:lnTo>
                  <a:pt x="552" y="359"/>
                </a:lnTo>
                <a:lnTo>
                  <a:pt x="563" y="353"/>
                </a:lnTo>
                <a:lnTo>
                  <a:pt x="569" y="349"/>
                </a:lnTo>
                <a:lnTo>
                  <a:pt x="574" y="345"/>
                </a:lnTo>
                <a:lnTo>
                  <a:pt x="578" y="340"/>
                </a:lnTo>
                <a:lnTo>
                  <a:pt x="582" y="335"/>
                </a:lnTo>
                <a:lnTo>
                  <a:pt x="585" y="329"/>
                </a:lnTo>
                <a:lnTo>
                  <a:pt x="588" y="322"/>
                </a:lnTo>
                <a:lnTo>
                  <a:pt x="590" y="314"/>
                </a:lnTo>
                <a:lnTo>
                  <a:pt x="592" y="306"/>
                </a:lnTo>
                <a:lnTo>
                  <a:pt x="559" y="306"/>
                </a:lnTo>
                <a:lnTo>
                  <a:pt x="548" y="312"/>
                </a:lnTo>
                <a:lnTo>
                  <a:pt x="535" y="321"/>
                </a:lnTo>
                <a:lnTo>
                  <a:pt x="528" y="325"/>
                </a:lnTo>
                <a:lnTo>
                  <a:pt x="520" y="328"/>
                </a:lnTo>
                <a:lnTo>
                  <a:pt x="513" y="330"/>
                </a:lnTo>
                <a:lnTo>
                  <a:pt x="506" y="331"/>
                </a:lnTo>
                <a:lnTo>
                  <a:pt x="495" y="330"/>
                </a:lnTo>
                <a:lnTo>
                  <a:pt x="485" y="327"/>
                </a:lnTo>
                <a:lnTo>
                  <a:pt x="474" y="324"/>
                </a:lnTo>
                <a:lnTo>
                  <a:pt x="463" y="321"/>
                </a:lnTo>
                <a:lnTo>
                  <a:pt x="453" y="318"/>
                </a:lnTo>
                <a:lnTo>
                  <a:pt x="443" y="317"/>
                </a:lnTo>
                <a:lnTo>
                  <a:pt x="438" y="318"/>
                </a:lnTo>
                <a:lnTo>
                  <a:pt x="433" y="319"/>
                </a:lnTo>
                <a:lnTo>
                  <a:pt x="430" y="322"/>
                </a:lnTo>
                <a:lnTo>
                  <a:pt x="426" y="325"/>
                </a:lnTo>
                <a:lnTo>
                  <a:pt x="432" y="316"/>
                </a:lnTo>
                <a:lnTo>
                  <a:pt x="443" y="307"/>
                </a:lnTo>
                <a:lnTo>
                  <a:pt x="457" y="297"/>
                </a:lnTo>
                <a:lnTo>
                  <a:pt x="472" y="287"/>
                </a:lnTo>
                <a:lnTo>
                  <a:pt x="506" y="265"/>
                </a:lnTo>
                <a:lnTo>
                  <a:pt x="539" y="244"/>
                </a:lnTo>
                <a:lnTo>
                  <a:pt x="698" y="250"/>
                </a:lnTo>
                <a:lnTo>
                  <a:pt x="701" y="246"/>
                </a:lnTo>
                <a:lnTo>
                  <a:pt x="704" y="243"/>
                </a:lnTo>
                <a:lnTo>
                  <a:pt x="708" y="240"/>
                </a:lnTo>
                <a:lnTo>
                  <a:pt x="711" y="238"/>
                </a:lnTo>
                <a:lnTo>
                  <a:pt x="719" y="236"/>
                </a:lnTo>
                <a:lnTo>
                  <a:pt x="728" y="234"/>
                </a:lnTo>
                <a:lnTo>
                  <a:pt x="745" y="234"/>
                </a:lnTo>
                <a:lnTo>
                  <a:pt x="758" y="232"/>
                </a:lnTo>
                <a:lnTo>
                  <a:pt x="756" y="224"/>
                </a:lnTo>
                <a:lnTo>
                  <a:pt x="753" y="216"/>
                </a:lnTo>
                <a:lnTo>
                  <a:pt x="749" y="210"/>
                </a:lnTo>
                <a:lnTo>
                  <a:pt x="742" y="204"/>
                </a:lnTo>
                <a:lnTo>
                  <a:pt x="737" y="199"/>
                </a:lnTo>
                <a:lnTo>
                  <a:pt x="729" y="195"/>
                </a:lnTo>
                <a:lnTo>
                  <a:pt x="721" y="191"/>
                </a:lnTo>
                <a:lnTo>
                  <a:pt x="713" y="188"/>
                </a:lnTo>
                <a:lnTo>
                  <a:pt x="698" y="182"/>
                </a:lnTo>
                <a:lnTo>
                  <a:pt x="684" y="176"/>
                </a:lnTo>
                <a:lnTo>
                  <a:pt x="678" y="172"/>
                </a:lnTo>
                <a:lnTo>
                  <a:pt x="673" y="168"/>
                </a:lnTo>
                <a:lnTo>
                  <a:pt x="668" y="164"/>
                </a:lnTo>
                <a:lnTo>
                  <a:pt x="665" y="159"/>
                </a:lnTo>
                <a:lnTo>
                  <a:pt x="687" y="143"/>
                </a:lnTo>
                <a:lnTo>
                  <a:pt x="712" y="127"/>
                </a:lnTo>
                <a:lnTo>
                  <a:pt x="739" y="109"/>
                </a:lnTo>
                <a:lnTo>
                  <a:pt x="765" y="90"/>
                </a:lnTo>
                <a:lnTo>
                  <a:pt x="812" y="78"/>
                </a:lnTo>
                <a:lnTo>
                  <a:pt x="858" y="65"/>
                </a:lnTo>
                <a:lnTo>
                  <a:pt x="902" y="52"/>
                </a:lnTo>
                <a:lnTo>
                  <a:pt x="945" y="38"/>
                </a:lnTo>
                <a:lnTo>
                  <a:pt x="966" y="33"/>
                </a:lnTo>
                <a:lnTo>
                  <a:pt x="988" y="27"/>
                </a:lnTo>
                <a:lnTo>
                  <a:pt x="1010" y="22"/>
                </a:lnTo>
                <a:lnTo>
                  <a:pt x="1033" y="18"/>
                </a:lnTo>
                <a:lnTo>
                  <a:pt x="1056" y="15"/>
                </a:lnTo>
                <a:lnTo>
                  <a:pt x="1080" y="12"/>
                </a:lnTo>
                <a:lnTo>
                  <a:pt x="1104" y="11"/>
                </a:lnTo>
                <a:lnTo>
                  <a:pt x="1130" y="10"/>
                </a:lnTo>
                <a:lnTo>
                  <a:pt x="1157" y="9"/>
                </a:lnTo>
                <a:lnTo>
                  <a:pt x="1176" y="7"/>
                </a:lnTo>
                <a:lnTo>
                  <a:pt x="1192" y="5"/>
                </a:lnTo>
                <a:lnTo>
                  <a:pt x="1216" y="4"/>
                </a:lnTo>
                <a:lnTo>
                  <a:pt x="1241" y="3"/>
                </a:lnTo>
                <a:lnTo>
                  <a:pt x="1262" y="0"/>
                </a:lnTo>
                <a:lnTo>
                  <a:pt x="1270" y="0"/>
                </a:lnTo>
                <a:lnTo>
                  <a:pt x="1277" y="2"/>
                </a:lnTo>
                <a:lnTo>
                  <a:pt x="1280" y="3"/>
                </a:lnTo>
                <a:lnTo>
                  <a:pt x="1281" y="5"/>
                </a:lnTo>
                <a:lnTo>
                  <a:pt x="1282" y="7"/>
                </a:lnTo>
                <a:lnTo>
                  <a:pt x="1283" y="10"/>
                </a:lnTo>
                <a:lnTo>
                  <a:pt x="1306" y="10"/>
                </a:lnTo>
                <a:lnTo>
                  <a:pt x="1333" y="10"/>
                </a:lnTo>
                <a:lnTo>
                  <a:pt x="1354" y="10"/>
                </a:lnTo>
                <a:lnTo>
                  <a:pt x="1362" y="10"/>
                </a:lnTo>
                <a:lnTo>
                  <a:pt x="1380" y="11"/>
                </a:lnTo>
                <a:lnTo>
                  <a:pt x="1399" y="12"/>
                </a:lnTo>
                <a:lnTo>
                  <a:pt x="1417" y="15"/>
                </a:lnTo>
                <a:lnTo>
                  <a:pt x="1437" y="18"/>
                </a:lnTo>
                <a:lnTo>
                  <a:pt x="1475" y="26"/>
                </a:lnTo>
                <a:lnTo>
                  <a:pt x="1516" y="34"/>
                </a:lnTo>
                <a:lnTo>
                  <a:pt x="1557" y="44"/>
                </a:lnTo>
                <a:lnTo>
                  <a:pt x="1597" y="52"/>
                </a:lnTo>
                <a:lnTo>
                  <a:pt x="1617" y="55"/>
                </a:lnTo>
                <a:lnTo>
                  <a:pt x="1637" y="58"/>
                </a:lnTo>
                <a:lnTo>
                  <a:pt x="1656" y="59"/>
                </a:lnTo>
                <a:lnTo>
                  <a:pt x="1675" y="60"/>
                </a:lnTo>
                <a:lnTo>
                  <a:pt x="1761" y="41"/>
                </a:lnTo>
                <a:lnTo>
                  <a:pt x="1772" y="46"/>
                </a:lnTo>
                <a:lnTo>
                  <a:pt x="1784" y="51"/>
                </a:lnTo>
                <a:lnTo>
                  <a:pt x="1797" y="55"/>
                </a:lnTo>
                <a:lnTo>
                  <a:pt x="1808" y="60"/>
                </a:lnTo>
                <a:lnTo>
                  <a:pt x="1223" y="540"/>
                </a:lnTo>
                <a:lnTo>
                  <a:pt x="1258" y="540"/>
                </a:lnTo>
                <a:lnTo>
                  <a:pt x="1287" y="540"/>
                </a:lnTo>
                <a:lnTo>
                  <a:pt x="1309" y="540"/>
                </a:lnTo>
                <a:lnTo>
                  <a:pt x="1329" y="540"/>
                </a:lnTo>
                <a:lnTo>
                  <a:pt x="1328" y="547"/>
                </a:lnTo>
                <a:lnTo>
                  <a:pt x="1327" y="553"/>
                </a:lnTo>
                <a:lnTo>
                  <a:pt x="1325" y="559"/>
                </a:lnTo>
                <a:lnTo>
                  <a:pt x="1323" y="565"/>
                </a:lnTo>
                <a:lnTo>
                  <a:pt x="1321" y="571"/>
                </a:lnTo>
                <a:lnTo>
                  <a:pt x="1318" y="576"/>
                </a:lnTo>
                <a:lnTo>
                  <a:pt x="1316" y="583"/>
                </a:lnTo>
                <a:lnTo>
                  <a:pt x="1316" y="589"/>
                </a:lnTo>
                <a:lnTo>
                  <a:pt x="1317" y="592"/>
                </a:lnTo>
                <a:lnTo>
                  <a:pt x="1320" y="595"/>
                </a:lnTo>
                <a:lnTo>
                  <a:pt x="1323" y="599"/>
                </a:lnTo>
                <a:lnTo>
                  <a:pt x="1327" y="601"/>
                </a:lnTo>
                <a:lnTo>
                  <a:pt x="1336" y="606"/>
                </a:lnTo>
                <a:lnTo>
                  <a:pt x="1343" y="608"/>
                </a:lnTo>
                <a:lnTo>
                  <a:pt x="1351" y="608"/>
                </a:lnTo>
                <a:lnTo>
                  <a:pt x="1358" y="607"/>
                </a:lnTo>
                <a:lnTo>
                  <a:pt x="1365" y="605"/>
                </a:lnTo>
                <a:lnTo>
                  <a:pt x="1371" y="604"/>
                </a:lnTo>
                <a:lnTo>
                  <a:pt x="1382" y="599"/>
                </a:lnTo>
                <a:lnTo>
                  <a:pt x="1391" y="592"/>
                </a:lnTo>
                <a:lnTo>
                  <a:pt x="1400" y="587"/>
                </a:lnTo>
                <a:lnTo>
                  <a:pt x="1409" y="582"/>
                </a:lnTo>
                <a:lnTo>
                  <a:pt x="1413" y="580"/>
                </a:lnTo>
                <a:lnTo>
                  <a:pt x="1417" y="578"/>
                </a:lnTo>
                <a:lnTo>
                  <a:pt x="1423" y="577"/>
                </a:lnTo>
                <a:lnTo>
                  <a:pt x="1429" y="577"/>
                </a:lnTo>
                <a:lnTo>
                  <a:pt x="1441" y="596"/>
                </a:lnTo>
                <a:lnTo>
                  <a:pt x="1457" y="617"/>
                </a:lnTo>
                <a:lnTo>
                  <a:pt x="1465" y="629"/>
                </a:lnTo>
                <a:lnTo>
                  <a:pt x="1470" y="643"/>
                </a:lnTo>
                <a:lnTo>
                  <a:pt x="1472" y="650"/>
                </a:lnTo>
                <a:lnTo>
                  <a:pt x="1474" y="659"/>
                </a:lnTo>
                <a:lnTo>
                  <a:pt x="1475" y="667"/>
                </a:lnTo>
                <a:lnTo>
                  <a:pt x="1475" y="676"/>
                </a:lnTo>
                <a:lnTo>
                  <a:pt x="1475" y="681"/>
                </a:lnTo>
                <a:lnTo>
                  <a:pt x="1474" y="686"/>
                </a:lnTo>
                <a:lnTo>
                  <a:pt x="1473" y="690"/>
                </a:lnTo>
                <a:lnTo>
                  <a:pt x="1471" y="694"/>
                </a:lnTo>
                <a:lnTo>
                  <a:pt x="1467" y="700"/>
                </a:lnTo>
                <a:lnTo>
                  <a:pt x="1462" y="706"/>
                </a:lnTo>
                <a:lnTo>
                  <a:pt x="1457" y="713"/>
                </a:lnTo>
                <a:lnTo>
                  <a:pt x="1454" y="719"/>
                </a:lnTo>
                <a:lnTo>
                  <a:pt x="1451" y="723"/>
                </a:lnTo>
                <a:lnTo>
                  <a:pt x="1450" y="727"/>
                </a:lnTo>
                <a:lnTo>
                  <a:pt x="1449" y="732"/>
                </a:lnTo>
                <a:lnTo>
                  <a:pt x="1449" y="737"/>
                </a:lnTo>
                <a:lnTo>
                  <a:pt x="1449" y="742"/>
                </a:lnTo>
                <a:lnTo>
                  <a:pt x="1450" y="746"/>
                </a:lnTo>
                <a:lnTo>
                  <a:pt x="1452" y="750"/>
                </a:lnTo>
                <a:lnTo>
                  <a:pt x="1455" y="754"/>
                </a:lnTo>
                <a:lnTo>
                  <a:pt x="1459" y="761"/>
                </a:lnTo>
                <a:lnTo>
                  <a:pt x="1466" y="769"/>
                </a:lnTo>
                <a:lnTo>
                  <a:pt x="1471" y="775"/>
                </a:lnTo>
                <a:lnTo>
                  <a:pt x="1477" y="783"/>
                </a:lnTo>
                <a:lnTo>
                  <a:pt x="1479" y="786"/>
                </a:lnTo>
                <a:lnTo>
                  <a:pt x="1481" y="790"/>
                </a:lnTo>
                <a:lnTo>
                  <a:pt x="1482" y="794"/>
                </a:lnTo>
                <a:lnTo>
                  <a:pt x="1482" y="799"/>
                </a:lnTo>
                <a:lnTo>
                  <a:pt x="1482" y="802"/>
                </a:lnTo>
                <a:lnTo>
                  <a:pt x="1480" y="807"/>
                </a:lnTo>
                <a:lnTo>
                  <a:pt x="1477" y="811"/>
                </a:lnTo>
                <a:lnTo>
                  <a:pt x="1473" y="816"/>
                </a:lnTo>
                <a:lnTo>
                  <a:pt x="1463" y="826"/>
                </a:lnTo>
                <a:lnTo>
                  <a:pt x="1452" y="835"/>
                </a:lnTo>
                <a:lnTo>
                  <a:pt x="1446" y="839"/>
                </a:lnTo>
                <a:lnTo>
                  <a:pt x="1439" y="843"/>
                </a:lnTo>
                <a:lnTo>
                  <a:pt x="1433" y="846"/>
                </a:lnTo>
                <a:lnTo>
                  <a:pt x="1426" y="848"/>
                </a:lnTo>
                <a:lnTo>
                  <a:pt x="1419" y="850"/>
                </a:lnTo>
                <a:lnTo>
                  <a:pt x="1414" y="850"/>
                </a:lnTo>
                <a:lnTo>
                  <a:pt x="1407" y="850"/>
                </a:lnTo>
                <a:lnTo>
                  <a:pt x="1402" y="848"/>
                </a:lnTo>
                <a:lnTo>
                  <a:pt x="1410" y="842"/>
                </a:lnTo>
              </a:path>
            </a:pathLst>
          </a:custGeom>
          <a:solidFill>
            <a:srgbClr val="007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054" name="Freeform 6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38245" y="1583535"/>
            <a:ext cx="1381125" cy="577454"/>
          </a:xfrm>
          <a:custGeom>
            <a:avLst/>
            <a:gdLst/>
            <a:ahLst/>
            <a:cxnLst>
              <a:cxn ang="0">
                <a:pos x="2928" y="353"/>
              </a:cxn>
              <a:cxn ang="0">
                <a:pos x="2896" y="440"/>
              </a:cxn>
              <a:cxn ang="0">
                <a:pos x="2843" y="462"/>
              </a:cxn>
              <a:cxn ang="0">
                <a:pos x="2667" y="566"/>
              </a:cxn>
              <a:cxn ang="0">
                <a:pos x="2595" y="585"/>
              </a:cxn>
              <a:cxn ang="0">
                <a:pos x="2570" y="677"/>
              </a:cxn>
              <a:cxn ang="0">
                <a:pos x="2514" y="621"/>
              </a:cxn>
              <a:cxn ang="0">
                <a:pos x="2499" y="690"/>
              </a:cxn>
              <a:cxn ang="0">
                <a:pos x="2465" y="744"/>
              </a:cxn>
              <a:cxn ang="0">
                <a:pos x="2471" y="823"/>
              </a:cxn>
              <a:cxn ang="0">
                <a:pos x="2332" y="928"/>
              </a:cxn>
              <a:cxn ang="0">
                <a:pos x="2165" y="1045"/>
              </a:cxn>
              <a:cxn ang="0">
                <a:pos x="2112" y="1195"/>
              </a:cxn>
              <a:cxn ang="0">
                <a:pos x="2103" y="1457"/>
              </a:cxn>
              <a:cxn ang="0">
                <a:pos x="2026" y="1414"/>
              </a:cxn>
              <a:cxn ang="0">
                <a:pos x="1993" y="1326"/>
              </a:cxn>
              <a:cxn ang="0">
                <a:pos x="1959" y="1184"/>
              </a:cxn>
              <a:cxn ang="0">
                <a:pos x="1832" y="1168"/>
              </a:cxn>
              <a:cxn ang="0">
                <a:pos x="1653" y="1143"/>
              </a:cxn>
              <a:cxn ang="0">
                <a:pos x="1616" y="1186"/>
              </a:cxn>
              <a:cxn ang="0">
                <a:pos x="1548" y="1238"/>
              </a:cxn>
              <a:cxn ang="0">
                <a:pos x="1436" y="1192"/>
              </a:cxn>
              <a:cxn ang="0">
                <a:pos x="1231" y="1272"/>
              </a:cxn>
              <a:cxn ang="0">
                <a:pos x="1160" y="1392"/>
              </a:cxn>
              <a:cxn ang="0">
                <a:pos x="1080" y="1382"/>
              </a:cxn>
              <a:cxn ang="0">
                <a:pos x="1037" y="1227"/>
              </a:cxn>
              <a:cxn ang="0">
                <a:pos x="940" y="1190"/>
              </a:cxn>
              <a:cxn ang="0">
                <a:pos x="867" y="1219"/>
              </a:cxn>
              <a:cxn ang="0">
                <a:pos x="782" y="1087"/>
              </a:cxn>
              <a:cxn ang="0">
                <a:pos x="670" y="1065"/>
              </a:cxn>
              <a:cxn ang="0">
                <a:pos x="462" y="1065"/>
              </a:cxn>
              <a:cxn ang="0">
                <a:pos x="220" y="1016"/>
              </a:cxn>
              <a:cxn ang="0">
                <a:pos x="88" y="920"/>
              </a:cxn>
              <a:cxn ang="0">
                <a:pos x="39" y="848"/>
              </a:cxn>
              <a:cxn ang="0">
                <a:pos x="29" y="662"/>
              </a:cxn>
              <a:cxn ang="0">
                <a:pos x="0" y="604"/>
              </a:cxn>
              <a:cxn ang="0">
                <a:pos x="141" y="336"/>
              </a:cxn>
              <a:cxn ang="0">
                <a:pos x="247" y="176"/>
              </a:cxn>
              <a:cxn ang="0">
                <a:pos x="355" y="102"/>
              </a:cxn>
              <a:cxn ang="0">
                <a:pos x="376" y="120"/>
              </a:cxn>
              <a:cxn ang="0">
                <a:pos x="1827" y="0"/>
              </a:cxn>
              <a:cxn ang="0">
                <a:pos x="1926" y="55"/>
              </a:cxn>
              <a:cxn ang="0">
                <a:pos x="2015" y="69"/>
              </a:cxn>
              <a:cxn ang="0">
                <a:pos x="1929" y="128"/>
              </a:cxn>
              <a:cxn ang="0">
                <a:pos x="1977" y="166"/>
              </a:cxn>
              <a:cxn ang="0">
                <a:pos x="2094" y="155"/>
              </a:cxn>
              <a:cxn ang="0">
                <a:pos x="2284" y="193"/>
              </a:cxn>
              <a:cxn ang="0">
                <a:pos x="2217" y="204"/>
              </a:cxn>
              <a:cxn ang="0">
                <a:pos x="2087" y="264"/>
              </a:cxn>
              <a:cxn ang="0">
                <a:pos x="2021" y="355"/>
              </a:cxn>
              <a:cxn ang="0">
                <a:pos x="2012" y="451"/>
              </a:cxn>
              <a:cxn ang="0">
                <a:pos x="2076" y="417"/>
              </a:cxn>
              <a:cxn ang="0">
                <a:pos x="2205" y="252"/>
              </a:cxn>
              <a:cxn ang="0">
                <a:pos x="2267" y="303"/>
              </a:cxn>
              <a:cxn ang="0">
                <a:pos x="2299" y="394"/>
              </a:cxn>
              <a:cxn ang="0">
                <a:pos x="2206" y="454"/>
              </a:cxn>
              <a:cxn ang="0">
                <a:pos x="2317" y="457"/>
              </a:cxn>
              <a:cxn ang="0">
                <a:pos x="2570" y="373"/>
              </a:cxn>
              <a:cxn ang="0">
                <a:pos x="2730" y="252"/>
              </a:cxn>
              <a:cxn ang="0">
                <a:pos x="3016" y="203"/>
              </a:cxn>
              <a:cxn ang="0">
                <a:pos x="3136" y="118"/>
              </a:cxn>
              <a:cxn ang="0">
                <a:pos x="3149" y="184"/>
              </a:cxn>
            </a:cxnLst>
            <a:rect l="0" t="0" r="r" b="b"/>
            <a:pathLst>
              <a:path w="3175" h="1472">
                <a:moveTo>
                  <a:pt x="3155" y="258"/>
                </a:moveTo>
                <a:lnTo>
                  <a:pt x="3129" y="270"/>
                </a:lnTo>
                <a:lnTo>
                  <a:pt x="3104" y="281"/>
                </a:lnTo>
                <a:lnTo>
                  <a:pt x="3079" y="291"/>
                </a:lnTo>
                <a:lnTo>
                  <a:pt x="3055" y="300"/>
                </a:lnTo>
                <a:lnTo>
                  <a:pt x="3032" y="309"/>
                </a:lnTo>
                <a:lnTo>
                  <a:pt x="3008" y="317"/>
                </a:lnTo>
                <a:lnTo>
                  <a:pt x="2983" y="326"/>
                </a:lnTo>
                <a:lnTo>
                  <a:pt x="2956" y="333"/>
                </a:lnTo>
                <a:lnTo>
                  <a:pt x="2948" y="337"/>
                </a:lnTo>
                <a:lnTo>
                  <a:pt x="2940" y="341"/>
                </a:lnTo>
                <a:lnTo>
                  <a:pt x="2933" y="347"/>
                </a:lnTo>
                <a:lnTo>
                  <a:pt x="2928" y="353"/>
                </a:lnTo>
                <a:lnTo>
                  <a:pt x="2917" y="366"/>
                </a:lnTo>
                <a:lnTo>
                  <a:pt x="2909" y="382"/>
                </a:lnTo>
                <a:lnTo>
                  <a:pt x="2900" y="397"/>
                </a:lnTo>
                <a:lnTo>
                  <a:pt x="2894" y="410"/>
                </a:lnTo>
                <a:lnTo>
                  <a:pt x="2889" y="416"/>
                </a:lnTo>
                <a:lnTo>
                  <a:pt x="2885" y="422"/>
                </a:lnTo>
                <a:lnTo>
                  <a:pt x="2881" y="427"/>
                </a:lnTo>
                <a:lnTo>
                  <a:pt x="2876" y="431"/>
                </a:lnTo>
                <a:lnTo>
                  <a:pt x="2876" y="436"/>
                </a:lnTo>
                <a:lnTo>
                  <a:pt x="2877" y="440"/>
                </a:lnTo>
                <a:lnTo>
                  <a:pt x="2880" y="445"/>
                </a:lnTo>
                <a:lnTo>
                  <a:pt x="2883" y="450"/>
                </a:lnTo>
                <a:lnTo>
                  <a:pt x="2896" y="440"/>
                </a:lnTo>
                <a:lnTo>
                  <a:pt x="2909" y="431"/>
                </a:lnTo>
                <a:lnTo>
                  <a:pt x="2910" y="438"/>
                </a:lnTo>
                <a:lnTo>
                  <a:pt x="2910" y="443"/>
                </a:lnTo>
                <a:lnTo>
                  <a:pt x="2909" y="448"/>
                </a:lnTo>
                <a:lnTo>
                  <a:pt x="2907" y="451"/>
                </a:lnTo>
                <a:lnTo>
                  <a:pt x="2905" y="455"/>
                </a:lnTo>
                <a:lnTo>
                  <a:pt x="2902" y="457"/>
                </a:lnTo>
                <a:lnTo>
                  <a:pt x="2898" y="459"/>
                </a:lnTo>
                <a:lnTo>
                  <a:pt x="2894" y="460"/>
                </a:lnTo>
                <a:lnTo>
                  <a:pt x="2883" y="462"/>
                </a:lnTo>
                <a:lnTo>
                  <a:pt x="2871" y="462"/>
                </a:lnTo>
                <a:lnTo>
                  <a:pt x="2858" y="462"/>
                </a:lnTo>
                <a:lnTo>
                  <a:pt x="2843" y="462"/>
                </a:lnTo>
                <a:lnTo>
                  <a:pt x="2820" y="463"/>
                </a:lnTo>
                <a:lnTo>
                  <a:pt x="2796" y="466"/>
                </a:lnTo>
                <a:lnTo>
                  <a:pt x="2773" y="470"/>
                </a:lnTo>
                <a:lnTo>
                  <a:pt x="2750" y="476"/>
                </a:lnTo>
                <a:lnTo>
                  <a:pt x="2728" y="483"/>
                </a:lnTo>
                <a:lnTo>
                  <a:pt x="2708" y="491"/>
                </a:lnTo>
                <a:lnTo>
                  <a:pt x="2691" y="498"/>
                </a:lnTo>
                <a:lnTo>
                  <a:pt x="2678" y="505"/>
                </a:lnTo>
                <a:lnTo>
                  <a:pt x="2678" y="542"/>
                </a:lnTo>
                <a:lnTo>
                  <a:pt x="2675" y="549"/>
                </a:lnTo>
                <a:lnTo>
                  <a:pt x="2673" y="555"/>
                </a:lnTo>
                <a:lnTo>
                  <a:pt x="2670" y="561"/>
                </a:lnTo>
                <a:lnTo>
                  <a:pt x="2667" y="566"/>
                </a:lnTo>
                <a:lnTo>
                  <a:pt x="2658" y="575"/>
                </a:lnTo>
                <a:lnTo>
                  <a:pt x="2649" y="584"/>
                </a:lnTo>
                <a:lnTo>
                  <a:pt x="2639" y="592"/>
                </a:lnTo>
                <a:lnTo>
                  <a:pt x="2628" y="602"/>
                </a:lnTo>
                <a:lnTo>
                  <a:pt x="2619" y="611"/>
                </a:lnTo>
                <a:lnTo>
                  <a:pt x="2611" y="622"/>
                </a:lnTo>
                <a:lnTo>
                  <a:pt x="2611" y="613"/>
                </a:lnTo>
                <a:lnTo>
                  <a:pt x="2611" y="604"/>
                </a:lnTo>
                <a:lnTo>
                  <a:pt x="2606" y="603"/>
                </a:lnTo>
                <a:lnTo>
                  <a:pt x="2602" y="600"/>
                </a:lnTo>
                <a:lnTo>
                  <a:pt x="2598" y="595"/>
                </a:lnTo>
                <a:lnTo>
                  <a:pt x="2596" y="590"/>
                </a:lnTo>
                <a:lnTo>
                  <a:pt x="2595" y="585"/>
                </a:lnTo>
                <a:lnTo>
                  <a:pt x="2595" y="580"/>
                </a:lnTo>
                <a:lnTo>
                  <a:pt x="2595" y="576"/>
                </a:lnTo>
                <a:lnTo>
                  <a:pt x="2597" y="573"/>
                </a:lnTo>
                <a:lnTo>
                  <a:pt x="2578" y="573"/>
                </a:lnTo>
                <a:lnTo>
                  <a:pt x="2575" y="587"/>
                </a:lnTo>
                <a:lnTo>
                  <a:pt x="2574" y="600"/>
                </a:lnTo>
                <a:lnTo>
                  <a:pt x="2574" y="610"/>
                </a:lnTo>
                <a:lnTo>
                  <a:pt x="2574" y="619"/>
                </a:lnTo>
                <a:lnTo>
                  <a:pt x="2577" y="633"/>
                </a:lnTo>
                <a:lnTo>
                  <a:pt x="2578" y="646"/>
                </a:lnTo>
                <a:lnTo>
                  <a:pt x="2577" y="658"/>
                </a:lnTo>
                <a:lnTo>
                  <a:pt x="2574" y="668"/>
                </a:lnTo>
                <a:lnTo>
                  <a:pt x="2570" y="677"/>
                </a:lnTo>
                <a:lnTo>
                  <a:pt x="2564" y="685"/>
                </a:lnTo>
                <a:lnTo>
                  <a:pt x="2559" y="693"/>
                </a:lnTo>
                <a:lnTo>
                  <a:pt x="2552" y="700"/>
                </a:lnTo>
                <a:lnTo>
                  <a:pt x="2545" y="707"/>
                </a:lnTo>
                <a:lnTo>
                  <a:pt x="2537" y="715"/>
                </a:lnTo>
                <a:lnTo>
                  <a:pt x="2538" y="684"/>
                </a:lnTo>
                <a:lnTo>
                  <a:pt x="2538" y="657"/>
                </a:lnTo>
                <a:lnTo>
                  <a:pt x="2540" y="630"/>
                </a:lnTo>
                <a:lnTo>
                  <a:pt x="2544" y="604"/>
                </a:lnTo>
                <a:lnTo>
                  <a:pt x="2535" y="607"/>
                </a:lnTo>
                <a:lnTo>
                  <a:pt x="2527" y="611"/>
                </a:lnTo>
                <a:lnTo>
                  <a:pt x="2519" y="615"/>
                </a:lnTo>
                <a:lnTo>
                  <a:pt x="2514" y="621"/>
                </a:lnTo>
                <a:lnTo>
                  <a:pt x="2510" y="628"/>
                </a:lnTo>
                <a:lnTo>
                  <a:pt x="2506" y="635"/>
                </a:lnTo>
                <a:lnTo>
                  <a:pt x="2505" y="643"/>
                </a:lnTo>
                <a:lnTo>
                  <a:pt x="2504" y="653"/>
                </a:lnTo>
                <a:lnTo>
                  <a:pt x="2491" y="653"/>
                </a:lnTo>
                <a:lnTo>
                  <a:pt x="2478" y="653"/>
                </a:lnTo>
                <a:lnTo>
                  <a:pt x="2478" y="658"/>
                </a:lnTo>
                <a:lnTo>
                  <a:pt x="2479" y="662"/>
                </a:lnTo>
                <a:lnTo>
                  <a:pt x="2480" y="666"/>
                </a:lnTo>
                <a:lnTo>
                  <a:pt x="2482" y="670"/>
                </a:lnTo>
                <a:lnTo>
                  <a:pt x="2486" y="678"/>
                </a:lnTo>
                <a:lnTo>
                  <a:pt x="2493" y="684"/>
                </a:lnTo>
                <a:lnTo>
                  <a:pt x="2499" y="690"/>
                </a:lnTo>
                <a:lnTo>
                  <a:pt x="2505" y="695"/>
                </a:lnTo>
                <a:lnTo>
                  <a:pt x="2512" y="699"/>
                </a:lnTo>
                <a:lnTo>
                  <a:pt x="2517" y="702"/>
                </a:lnTo>
                <a:lnTo>
                  <a:pt x="2517" y="727"/>
                </a:lnTo>
                <a:lnTo>
                  <a:pt x="2496" y="730"/>
                </a:lnTo>
                <a:lnTo>
                  <a:pt x="2479" y="730"/>
                </a:lnTo>
                <a:lnTo>
                  <a:pt x="2472" y="730"/>
                </a:lnTo>
                <a:lnTo>
                  <a:pt x="2466" y="730"/>
                </a:lnTo>
                <a:lnTo>
                  <a:pt x="2458" y="731"/>
                </a:lnTo>
                <a:lnTo>
                  <a:pt x="2451" y="733"/>
                </a:lnTo>
                <a:lnTo>
                  <a:pt x="2455" y="737"/>
                </a:lnTo>
                <a:lnTo>
                  <a:pt x="2459" y="741"/>
                </a:lnTo>
                <a:lnTo>
                  <a:pt x="2465" y="744"/>
                </a:lnTo>
                <a:lnTo>
                  <a:pt x="2471" y="747"/>
                </a:lnTo>
                <a:lnTo>
                  <a:pt x="2483" y="750"/>
                </a:lnTo>
                <a:lnTo>
                  <a:pt x="2491" y="751"/>
                </a:lnTo>
                <a:lnTo>
                  <a:pt x="2492" y="756"/>
                </a:lnTo>
                <a:lnTo>
                  <a:pt x="2493" y="760"/>
                </a:lnTo>
                <a:lnTo>
                  <a:pt x="2495" y="765"/>
                </a:lnTo>
                <a:lnTo>
                  <a:pt x="2499" y="769"/>
                </a:lnTo>
                <a:lnTo>
                  <a:pt x="2505" y="777"/>
                </a:lnTo>
                <a:lnTo>
                  <a:pt x="2511" y="782"/>
                </a:lnTo>
                <a:lnTo>
                  <a:pt x="2500" y="792"/>
                </a:lnTo>
                <a:lnTo>
                  <a:pt x="2489" y="802"/>
                </a:lnTo>
                <a:lnTo>
                  <a:pt x="2480" y="812"/>
                </a:lnTo>
                <a:lnTo>
                  <a:pt x="2471" y="823"/>
                </a:lnTo>
                <a:lnTo>
                  <a:pt x="2456" y="841"/>
                </a:lnTo>
                <a:lnTo>
                  <a:pt x="2441" y="859"/>
                </a:lnTo>
                <a:lnTo>
                  <a:pt x="2434" y="867"/>
                </a:lnTo>
                <a:lnTo>
                  <a:pt x="2425" y="876"/>
                </a:lnTo>
                <a:lnTo>
                  <a:pt x="2416" y="884"/>
                </a:lnTo>
                <a:lnTo>
                  <a:pt x="2406" y="892"/>
                </a:lnTo>
                <a:lnTo>
                  <a:pt x="2395" y="899"/>
                </a:lnTo>
                <a:lnTo>
                  <a:pt x="2382" y="905"/>
                </a:lnTo>
                <a:lnTo>
                  <a:pt x="2368" y="912"/>
                </a:lnTo>
                <a:lnTo>
                  <a:pt x="2351" y="917"/>
                </a:lnTo>
                <a:lnTo>
                  <a:pt x="2346" y="919"/>
                </a:lnTo>
                <a:lnTo>
                  <a:pt x="2339" y="923"/>
                </a:lnTo>
                <a:lnTo>
                  <a:pt x="2332" y="928"/>
                </a:lnTo>
                <a:lnTo>
                  <a:pt x="2324" y="935"/>
                </a:lnTo>
                <a:lnTo>
                  <a:pt x="2307" y="950"/>
                </a:lnTo>
                <a:lnTo>
                  <a:pt x="2289" y="967"/>
                </a:lnTo>
                <a:lnTo>
                  <a:pt x="2271" y="984"/>
                </a:lnTo>
                <a:lnTo>
                  <a:pt x="2255" y="999"/>
                </a:lnTo>
                <a:lnTo>
                  <a:pt x="2248" y="1006"/>
                </a:lnTo>
                <a:lnTo>
                  <a:pt x="2242" y="1011"/>
                </a:lnTo>
                <a:lnTo>
                  <a:pt x="2236" y="1014"/>
                </a:lnTo>
                <a:lnTo>
                  <a:pt x="2232" y="1016"/>
                </a:lnTo>
                <a:lnTo>
                  <a:pt x="2208" y="1025"/>
                </a:lnTo>
                <a:lnTo>
                  <a:pt x="2186" y="1034"/>
                </a:lnTo>
                <a:lnTo>
                  <a:pt x="2175" y="1039"/>
                </a:lnTo>
                <a:lnTo>
                  <a:pt x="2165" y="1045"/>
                </a:lnTo>
                <a:lnTo>
                  <a:pt x="2156" y="1051"/>
                </a:lnTo>
                <a:lnTo>
                  <a:pt x="2147" y="1057"/>
                </a:lnTo>
                <a:lnTo>
                  <a:pt x="2140" y="1064"/>
                </a:lnTo>
                <a:lnTo>
                  <a:pt x="2133" y="1072"/>
                </a:lnTo>
                <a:lnTo>
                  <a:pt x="2126" y="1080"/>
                </a:lnTo>
                <a:lnTo>
                  <a:pt x="2122" y="1090"/>
                </a:lnTo>
                <a:lnTo>
                  <a:pt x="2118" y="1101"/>
                </a:lnTo>
                <a:lnTo>
                  <a:pt x="2114" y="1113"/>
                </a:lnTo>
                <a:lnTo>
                  <a:pt x="2113" y="1125"/>
                </a:lnTo>
                <a:lnTo>
                  <a:pt x="2112" y="1139"/>
                </a:lnTo>
                <a:lnTo>
                  <a:pt x="2112" y="1151"/>
                </a:lnTo>
                <a:lnTo>
                  <a:pt x="2112" y="1174"/>
                </a:lnTo>
                <a:lnTo>
                  <a:pt x="2112" y="1195"/>
                </a:lnTo>
                <a:lnTo>
                  <a:pt x="2112" y="1207"/>
                </a:lnTo>
                <a:lnTo>
                  <a:pt x="2114" y="1223"/>
                </a:lnTo>
                <a:lnTo>
                  <a:pt x="2118" y="1240"/>
                </a:lnTo>
                <a:lnTo>
                  <a:pt x="2120" y="1249"/>
                </a:lnTo>
                <a:lnTo>
                  <a:pt x="2121" y="1259"/>
                </a:lnTo>
                <a:lnTo>
                  <a:pt x="2121" y="1270"/>
                </a:lnTo>
                <a:lnTo>
                  <a:pt x="2119" y="1281"/>
                </a:lnTo>
                <a:lnTo>
                  <a:pt x="2132" y="1343"/>
                </a:lnTo>
                <a:lnTo>
                  <a:pt x="2126" y="1379"/>
                </a:lnTo>
                <a:lnTo>
                  <a:pt x="2118" y="1417"/>
                </a:lnTo>
                <a:lnTo>
                  <a:pt x="2112" y="1435"/>
                </a:lnTo>
                <a:lnTo>
                  <a:pt x="2105" y="1450"/>
                </a:lnTo>
                <a:lnTo>
                  <a:pt x="2103" y="1457"/>
                </a:lnTo>
                <a:lnTo>
                  <a:pt x="2100" y="1463"/>
                </a:lnTo>
                <a:lnTo>
                  <a:pt x="2096" y="1468"/>
                </a:lnTo>
                <a:lnTo>
                  <a:pt x="2092" y="1472"/>
                </a:lnTo>
                <a:lnTo>
                  <a:pt x="2059" y="1472"/>
                </a:lnTo>
                <a:lnTo>
                  <a:pt x="2058" y="1464"/>
                </a:lnTo>
                <a:lnTo>
                  <a:pt x="2057" y="1456"/>
                </a:lnTo>
                <a:lnTo>
                  <a:pt x="2055" y="1450"/>
                </a:lnTo>
                <a:lnTo>
                  <a:pt x="2053" y="1445"/>
                </a:lnTo>
                <a:lnTo>
                  <a:pt x="2047" y="1437"/>
                </a:lnTo>
                <a:lnTo>
                  <a:pt x="2040" y="1430"/>
                </a:lnTo>
                <a:lnTo>
                  <a:pt x="2033" y="1425"/>
                </a:lnTo>
                <a:lnTo>
                  <a:pt x="2029" y="1418"/>
                </a:lnTo>
                <a:lnTo>
                  <a:pt x="2026" y="1414"/>
                </a:lnTo>
                <a:lnTo>
                  <a:pt x="2025" y="1410"/>
                </a:lnTo>
                <a:lnTo>
                  <a:pt x="2025" y="1405"/>
                </a:lnTo>
                <a:lnTo>
                  <a:pt x="2026" y="1398"/>
                </a:lnTo>
                <a:lnTo>
                  <a:pt x="2026" y="1373"/>
                </a:lnTo>
                <a:lnTo>
                  <a:pt x="2022" y="1373"/>
                </a:lnTo>
                <a:lnTo>
                  <a:pt x="2019" y="1372"/>
                </a:lnTo>
                <a:lnTo>
                  <a:pt x="2015" y="1370"/>
                </a:lnTo>
                <a:lnTo>
                  <a:pt x="2012" y="1367"/>
                </a:lnTo>
                <a:lnTo>
                  <a:pt x="2007" y="1361"/>
                </a:lnTo>
                <a:lnTo>
                  <a:pt x="2002" y="1353"/>
                </a:lnTo>
                <a:lnTo>
                  <a:pt x="1998" y="1344"/>
                </a:lnTo>
                <a:lnTo>
                  <a:pt x="1995" y="1335"/>
                </a:lnTo>
                <a:lnTo>
                  <a:pt x="1993" y="1326"/>
                </a:lnTo>
                <a:lnTo>
                  <a:pt x="1992" y="1318"/>
                </a:lnTo>
                <a:lnTo>
                  <a:pt x="1992" y="1298"/>
                </a:lnTo>
                <a:lnTo>
                  <a:pt x="1992" y="1281"/>
                </a:lnTo>
                <a:lnTo>
                  <a:pt x="1992" y="1265"/>
                </a:lnTo>
                <a:lnTo>
                  <a:pt x="1992" y="1244"/>
                </a:lnTo>
                <a:lnTo>
                  <a:pt x="1991" y="1234"/>
                </a:lnTo>
                <a:lnTo>
                  <a:pt x="1989" y="1224"/>
                </a:lnTo>
                <a:lnTo>
                  <a:pt x="1985" y="1212"/>
                </a:lnTo>
                <a:lnTo>
                  <a:pt x="1978" y="1201"/>
                </a:lnTo>
                <a:lnTo>
                  <a:pt x="1974" y="1196"/>
                </a:lnTo>
                <a:lnTo>
                  <a:pt x="1969" y="1191"/>
                </a:lnTo>
                <a:lnTo>
                  <a:pt x="1964" y="1187"/>
                </a:lnTo>
                <a:lnTo>
                  <a:pt x="1959" y="1184"/>
                </a:lnTo>
                <a:lnTo>
                  <a:pt x="1953" y="1181"/>
                </a:lnTo>
                <a:lnTo>
                  <a:pt x="1947" y="1178"/>
                </a:lnTo>
                <a:lnTo>
                  <a:pt x="1940" y="1177"/>
                </a:lnTo>
                <a:lnTo>
                  <a:pt x="1933" y="1177"/>
                </a:lnTo>
                <a:lnTo>
                  <a:pt x="1918" y="1177"/>
                </a:lnTo>
                <a:lnTo>
                  <a:pt x="1906" y="1177"/>
                </a:lnTo>
                <a:lnTo>
                  <a:pt x="1897" y="1177"/>
                </a:lnTo>
                <a:lnTo>
                  <a:pt x="1894" y="1177"/>
                </a:lnTo>
                <a:lnTo>
                  <a:pt x="1880" y="1176"/>
                </a:lnTo>
                <a:lnTo>
                  <a:pt x="1869" y="1175"/>
                </a:lnTo>
                <a:lnTo>
                  <a:pt x="1857" y="1173"/>
                </a:lnTo>
                <a:lnTo>
                  <a:pt x="1845" y="1171"/>
                </a:lnTo>
                <a:lnTo>
                  <a:pt x="1832" y="1168"/>
                </a:lnTo>
                <a:lnTo>
                  <a:pt x="1818" y="1166"/>
                </a:lnTo>
                <a:lnTo>
                  <a:pt x="1804" y="1165"/>
                </a:lnTo>
                <a:lnTo>
                  <a:pt x="1787" y="1164"/>
                </a:lnTo>
                <a:lnTo>
                  <a:pt x="1773" y="1164"/>
                </a:lnTo>
                <a:lnTo>
                  <a:pt x="1762" y="1162"/>
                </a:lnTo>
                <a:lnTo>
                  <a:pt x="1753" y="1159"/>
                </a:lnTo>
                <a:lnTo>
                  <a:pt x="1745" y="1155"/>
                </a:lnTo>
                <a:lnTo>
                  <a:pt x="1738" y="1151"/>
                </a:lnTo>
                <a:lnTo>
                  <a:pt x="1731" y="1148"/>
                </a:lnTo>
                <a:lnTo>
                  <a:pt x="1722" y="1146"/>
                </a:lnTo>
                <a:lnTo>
                  <a:pt x="1713" y="1145"/>
                </a:lnTo>
                <a:lnTo>
                  <a:pt x="1688" y="1144"/>
                </a:lnTo>
                <a:lnTo>
                  <a:pt x="1653" y="1143"/>
                </a:lnTo>
                <a:lnTo>
                  <a:pt x="1644" y="1144"/>
                </a:lnTo>
                <a:lnTo>
                  <a:pt x="1636" y="1144"/>
                </a:lnTo>
                <a:lnTo>
                  <a:pt x="1628" y="1146"/>
                </a:lnTo>
                <a:lnTo>
                  <a:pt x="1621" y="1148"/>
                </a:lnTo>
                <a:lnTo>
                  <a:pt x="1616" y="1151"/>
                </a:lnTo>
                <a:lnTo>
                  <a:pt x="1611" y="1155"/>
                </a:lnTo>
                <a:lnTo>
                  <a:pt x="1608" y="1159"/>
                </a:lnTo>
                <a:lnTo>
                  <a:pt x="1607" y="1164"/>
                </a:lnTo>
                <a:lnTo>
                  <a:pt x="1608" y="1169"/>
                </a:lnTo>
                <a:lnTo>
                  <a:pt x="1608" y="1173"/>
                </a:lnTo>
                <a:lnTo>
                  <a:pt x="1610" y="1176"/>
                </a:lnTo>
                <a:lnTo>
                  <a:pt x="1611" y="1180"/>
                </a:lnTo>
                <a:lnTo>
                  <a:pt x="1616" y="1186"/>
                </a:lnTo>
                <a:lnTo>
                  <a:pt x="1621" y="1192"/>
                </a:lnTo>
                <a:lnTo>
                  <a:pt x="1627" y="1197"/>
                </a:lnTo>
                <a:lnTo>
                  <a:pt x="1632" y="1204"/>
                </a:lnTo>
                <a:lnTo>
                  <a:pt x="1638" y="1212"/>
                </a:lnTo>
                <a:lnTo>
                  <a:pt x="1641" y="1220"/>
                </a:lnTo>
                <a:lnTo>
                  <a:pt x="1628" y="1221"/>
                </a:lnTo>
                <a:lnTo>
                  <a:pt x="1615" y="1223"/>
                </a:lnTo>
                <a:lnTo>
                  <a:pt x="1601" y="1226"/>
                </a:lnTo>
                <a:lnTo>
                  <a:pt x="1589" y="1229"/>
                </a:lnTo>
                <a:lnTo>
                  <a:pt x="1577" y="1232"/>
                </a:lnTo>
                <a:lnTo>
                  <a:pt x="1565" y="1235"/>
                </a:lnTo>
                <a:lnTo>
                  <a:pt x="1555" y="1237"/>
                </a:lnTo>
                <a:lnTo>
                  <a:pt x="1548" y="1238"/>
                </a:lnTo>
                <a:lnTo>
                  <a:pt x="1544" y="1237"/>
                </a:lnTo>
                <a:lnTo>
                  <a:pt x="1539" y="1233"/>
                </a:lnTo>
                <a:lnTo>
                  <a:pt x="1533" y="1228"/>
                </a:lnTo>
                <a:lnTo>
                  <a:pt x="1528" y="1222"/>
                </a:lnTo>
                <a:lnTo>
                  <a:pt x="1516" y="1210"/>
                </a:lnTo>
                <a:lnTo>
                  <a:pt x="1508" y="1201"/>
                </a:lnTo>
                <a:lnTo>
                  <a:pt x="1474" y="1214"/>
                </a:lnTo>
                <a:lnTo>
                  <a:pt x="1468" y="1213"/>
                </a:lnTo>
                <a:lnTo>
                  <a:pt x="1461" y="1210"/>
                </a:lnTo>
                <a:lnTo>
                  <a:pt x="1454" y="1205"/>
                </a:lnTo>
                <a:lnTo>
                  <a:pt x="1448" y="1201"/>
                </a:lnTo>
                <a:lnTo>
                  <a:pt x="1441" y="1196"/>
                </a:lnTo>
                <a:lnTo>
                  <a:pt x="1436" y="1192"/>
                </a:lnTo>
                <a:lnTo>
                  <a:pt x="1428" y="1190"/>
                </a:lnTo>
                <a:lnTo>
                  <a:pt x="1421" y="1189"/>
                </a:lnTo>
                <a:lnTo>
                  <a:pt x="1406" y="1190"/>
                </a:lnTo>
                <a:lnTo>
                  <a:pt x="1390" y="1192"/>
                </a:lnTo>
                <a:lnTo>
                  <a:pt x="1372" y="1197"/>
                </a:lnTo>
                <a:lnTo>
                  <a:pt x="1354" y="1203"/>
                </a:lnTo>
                <a:lnTo>
                  <a:pt x="1337" y="1211"/>
                </a:lnTo>
                <a:lnTo>
                  <a:pt x="1318" y="1219"/>
                </a:lnTo>
                <a:lnTo>
                  <a:pt x="1301" y="1228"/>
                </a:lnTo>
                <a:lnTo>
                  <a:pt x="1283" y="1238"/>
                </a:lnTo>
                <a:lnTo>
                  <a:pt x="1265" y="1249"/>
                </a:lnTo>
                <a:lnTo>
                  <a:pt x="1248" y="1259"/>
                </a:lnTo>
                <a:lnTo>
                  <a:pt x="1231" y="1272"/>
                </a:lnTo>
                <a:lnTo>
                  <a:pt x="1217" y="1283"/>
                </a:lnTo>
                <a:lnTo>
                  <a:pt x="1203" y="1294"/>
                </a:lnTo>
                <a:lnTo>
                  <a:pt x="1190" y="1304"/>
                </a:lnTo>
                <a:lnTo>
                  <a:pt x="1179" y="1314"/>
                </a:lnTo>
                <a:lnTo>
                  <a:pt x="1169" y="1325"/>
                </a:lnTo>
                <a:lnTo>
                  <a:pt x="1166" y="1328"/>
                </a:lnTo>
                <a:lnTo>
                  <a:pt x="1163" y="1333"/>
                </a:lnTo>
                <a:lnTo>
                  <a:pt x="1162" y="1337"/>
                </a:lnTo>
                <a:lnTo>
                  <a:pt x="1161" y="1342"/>
                </a:lnTo>
                <a:lnTo>
                  <a:pt x="1161" y="1354"/>
                </a:lnTo>
                <a:lnTo>
                  <a:pt x="1161" y="1366"/>
                </a:lnTo>
                <a:lnTo>
                  <a:pt x="1161" y="1379"/>
                </a:lnTo>
                <a:lnTo>
                  <a:pt x="1160" y="1392"/>
                </a:lnTo>
                <a:lnTo>
                  <a:pt x="1159" y="1399"/>
                </a:lnTo>
                <a:lnTo>
                  <a:pt x="1157" y="1405"/>
                </a:lnTo>
                <a:lnTo>
                  <a:pt x="1153" y="1411"/>
                </a:lnTo>
                <a:lnTo>
                  <a:pt x="1149" y="1417"/>
                </a:lnTo>
                <a:lnTo>
                  <a:pt x="1143" y="1416"/>
                </a:lnTo>
                <a:lnTo>
                  <a:pt x="1136" y="1415"/>
                </a:lnTo>
                <a:lnTo>
                  <a:pt x="1129" y="1414"/>
                </a:lnTo>
                <a:lnTo>
                  <a:pt x="1124" y="1412"/>
                </a:lnTo>
                <a:lnTo>
                  <a:pt x="1111" y="1408"/>
                </a:lnTo>
                <a:lnTo>
                  <a:pt x="1100" y="1401"/>
                </a:lnTo>
                <a:lnTo>
                  <a:pt x="1090" y="1394"/>
                </a:lnTo>
                <a:lnTo>
                  <a:pt x="1082" y="1386"/>
                </a:lnTo>
                <a:lnTo>
                  <a:pt x="1080" y="1382"/>
                </a:lnTo>
                <a:lnTo>
                  <a:pt x="1078" y="1377"/>
                </a:lnTo>
                <a:lnTo>
                  <a:pt x="1077" y="1372"/>
                </a:lnTo>
                <a:lnTo>
                  <a:pt x="1076" y="1367"/>
                </a:lnTo>
                <a:lnTo>
                  <a:pt x="1076" y="1356"/>
                </a:lnTo>
                <a:lnTo>
                  <a:pt x="1074" y="1344"/>
                </a:lnTo>
                <a:lnTo>
                  <a:pt x="1072" y="1330"/>
                </a:lnTo>
                <a:lnTo>
                  <a:pt x="1070" y="1315"/>
                </a:lnTo>
                <a:lnTo>
                  <a:pt x="1066" y="1300"/>
                </a:lnTo>
                <a:lnTo>
                  <a:pt x="1061" y="1285"/>
                </a:lnTo>
                <a:lnTo>
                  <a:pt x="1057" y="1270"/>
                </a:lnTo>
                <a:lnTo>
                  <a:pt x="1051" y="1254"/>
                </a:lnTo>
                <a:lnTo>
                  <a:pt x="1044" y="1240"/>
                </a:lnTo>
                <a:lnTo>
                  <a:pt x="1037" y="1227"/>
                </a:lnTo>
                <a:lnTo>
                  <a:pt x="1028" y="1215"/>
                </a:lnTo>
                <a:lnTo>
                  <a:pt x="1020" y="1203"/>
                </a:lnTo>
                <a:lnTo>
                  <a:pt x="1015" y="1199"/>
                </a:lnTo>
                <a:lnTo>
                  <a:pt x="1010" y="1195"/>
                </a:lnTo>
                <a:lnTo>
                  <a:pt x="1005" y="1191"/>
                </a:lnTo>
                <a:lnTo>
                  <a:pt x="1000" y="1188"/>
                </a:lnTo>
                <a:lnTo>
                  <a:pt x="994" y="1186"/>
                </a:lnTo>
                <a:lnTo>
                  <a:pt x="988" y="1184"/>
                </a:lnTo>
                <a:lnTo>
                  <a:pt x="982" y="1183"/>
                </a:lnTo>
                <a:lnTo>
                  <a:pt x="977" y="1183"/>
                </a:lnTo>
                <a:lnTo>
                  <a:pt x="964" y="1183"/>
                </a:lnTo>
                <a:lnTo>
                  <a:pt x="951" y="1186"/>
                </a:lnTo>
                <a:lnTo>
                  <a:pt x="940" y="1190"/>
                </a:lnTo>
                <a:lnTo>
                  <a:pt x="931" y="1195"/>
                </a:lnTo>
                <a:lnTo>
                  <a:pt x="926" y="1199"/>
                </a:lnTo>
                <a:lnTo>
                  <a:pt x="922" y="1202"/>
                </a:lnTo>
                <a:lnTo>
                  <a:pt x="919" y="1206"/>
                </a:lnTo>
                <a:lnTo>
                  <a:pt x="915" y="1212"/>
                </a:lnTo>
                <a:lnTo>
                  <a:pt x="913" y="1216"/>
                </a:lnTo>
                <a:lnTo>
                  <a:pt x="911" y="1221"/>
                </a:lnTo>
                <a:lnTo>
                  <a:pt x="910" y="1227"/>
                </a:lnTo>
                <a:lnTo>
                  <a:pt x="910" y="1232"/>
                </a:lnTo>
                <a:lnTo>
                  <a:pt x="883" y="1232"/>
                </a:lnTo>
                <a:lnTo>
                  <a:pt x="878" y="1229"/>
                </a:lnTo>
                <a:lnTo>
                  <a:pt x="872" y="1225"/>
                </a:lnTo>
                <a:lnTo>
                  <a:pt x="867" y="1219"/>
                </a:lnTo>
                <a:lnTo>
                  <a:pt x="861" y="1212"/>
                </a:lnTo>
                <a:lnTo>
                  <a:pt x="850" y="1196"/>
                </a:lnTo>
                <a:lnTo>
                  <a:pt x="839" y="1179"/>
                </a:lnTo>
                <a:lnTo>
                  <a:pt x="830" y="1161"/>
                </a:lnTo>
                <a:lnTo>
                  <a:pt x="821" y="1144"/>
                </a:lnTo>
                <a:lnTo>
                  <a:pt x="814" y="1131"/>
                </a:lnTo>
                <a:lnTo>
                  <a:pt x="810" y="1121"/>
                </a:lnTo>
                <a:lnTo>
                  <a:pt x="805" y="1120"/>
                </a:lnTo>
                <a:lnTo>
                  <a:pt x="801" y="1118"/>
                </a:lnTo>
                <a:lnTo>
                  <a:pt x="798" y="1115"/>
                </a:lnTo>
                <a:lnTo>
                  <a:pt x="794" y="1111"/>
                </a:lnTo>
                <a:lnTo>
                  <a:pt x="789" y="1100"/>
                </a:lnTo>
                <a:lnTo>
                  <a:pt x="782" y="1087"/>
                </a:lnTo>
                <a:lnTo>
                  <a:pt x="779" y="1081"/>
                </a:lnTo>
                <a:lnTo>
                  <a:pt x="775" y="1075"/>
                </a:lnTo>
                <a:lnTo>
                  <a:pt x="770" y="1069"/>
                </a:lnTo>
                <a:lnTo>
                  <a:pt x="765" y="1064"/>
                </a:lnTo>
                <a:lnTo>
                  <a:pt x="757" y="1060"/>
                </a:lnTo>
                <a:lnTo>
                  <a:pt x="749" y="1056"/>
                </a:lnTo>
                <a:lnTo>
                  <a:pt x="741" y="1054"/>
                </a:lnTo>
                <a:lnTo>
                  <a:pt x="731" y="1054"/>
                </a:lnTo>
                <a:lnTo>
                  <a:pt x="718" y="1054"/>
                </a:lnTo>
                <a:lnTo>
                  <a:pt x="706" y="1055"/>
                </a:lnTo>
                <a:lnTo>
                  <a:pt x="696" y="1057"/>
                </a:lnTo>
                <a:lnTo>
                  <a:pt x="687" y="1059"/>
                </a:lnTo>
                <a:lnTo>
                  <a:pt x="670" y="1065"/>
                </a:lnTo>
                <a:lnTo>
                  <a:pt x="656" y="1072"/>
                </a:lnTo>
                <a:lnTo>
                  <a:pt x="642" y="1078"/>
                </a:lnTo>
                <a:lnTo>
                  <a:pt x="624" y="1084"/>
                </a:lnTo>
                <a:lnTo>
                  <a:pt x="615" y="1087"/>
                </a:lnTo>
                <a:lnTo>
                  <a:pt x="604" y="1088"/>
                </a:lnTo>
                <a:lnTo>
                  <a:pt x="591" y="1089"/>
                </a:lnTo>
                <a:lnTo>
                  <a:pt x="577" y="1090"/>
                </a:lnTo>
                <a:lnTo>
                  <a:pt x="555" y="1089"/>
                </a:lnTo>
                <a:lnTo>
                  <a:pt x="533" y="1086"/>
                </a:lnTo>
                <a:lnTo>
                  <a:pt x="514" y="1083"/>
                </a:lnTo>
                <a:lnTo>
                  <a:pt x="496" y="1078"/>
                </a:lnTo>
                <a:lnTo>
                  <a:pt x="478" y="1072"/>
                </a:lnTo>
                <a:lnTo>
                  <a:pt x="462" y="1065"/>
                </a:lnTo>
                <a:lnTo>
                  <a:pt x="445" y="1058"/>
                </a:lnTo>
                <a:lnTo>
                  <a:pt x="430" y="1051"/>
                </a:lnTo>
                <a:lnTo>
                  <a:pt x="415" y="1043"/>
                </a:lnTo>
                <a:lnTo>
                  <a:pt x="398" y="1035"/>
                </a:lnTo>
                <a:lnTo>
                  <a:pt x="383" y="1028"/>
                </a:lnTo>
                <a:lnTo>
                  <a:pt x="366" y="1023"/>
                </a:lnTo>
                <a:lnTo>
                  <a:pt x="350" y="1017"/>
                </a:lnTo>
                <a:lnTo>
                  <a:pt x="331" y="1014"/>
                </a:lnTo>
                <a:lnTo>
                  <a:pt x="312" y="1011"/>
                </a:lnTo>
                <a:lnTo>
                  <a:pt x="292" y="1010"/>
                </a:lnTo>
                <a:lnTo>
                  <a:pt x="263" y="1012"/>
                </a:lnTo>
                <a:lnTo>
                  <a:pt x="234" y="1015"/>
                </a:lnTo>
                <a:lnTo>
                  <a:pt x="220" y="1016"/>
                </a:lnTo>
                <a:lnTo>
                  <a:pt x="205" y="1015"/>
                </a:lnTo>
                <a:lnTo>
                  <a:pt x="189" y="1014"/>
                </a:lnTo>
                <a:lnTo>
                  <a:pt x="172" y="1010"/>
                </a:lnTo>
                <a:lnTo>
                  <a:pt x="173" y="998"/>
                </a:lnTo>
                <a:lnTo>
                  <a:pt x="175" y="988"/>
                </a:lnTo>
                <a:lnTo>
                  <a:pt x="175" y="982"/>
                </a:lnTo>
                <a:lnTo>
                  <a:pt x="175" y="979"/>
                </a:lnTo>
                <a:lnTo>
                  <a:pt x="174" y="975"/>
                </a:lnTo>
                <a:lnTo>
                  <a:pt x="172" y="973"/>
                </a:lnTo>
                <a:lnTo>
                  <a:pt x="141" y="952"/>
                </a:lnTo>
                <a:lnTo>
                  <a:pt x="107" y="931"/>
                </a:lnTo>
                <a:lnTo>
                  <a:pt x="97" y="925"/>
                </a:lnTo>
                <a:lnTo>
                  <a:pt x="88" y="920"/>
                </a:lnTo>
                <a:lnTo>
                  <a:pt x="79" y="916"/>
                </a:lnTo>
                <a:lnTo>
                  <a:pt x="69" y="912"/>
                </a:lnTo>
                <a:lnTo>
                  <a:pt x="59" y="909"/>
                </a:lnTo>
                <a:lnTo>
                  <a:pt x="48" y="907"/>
                </a:lnTo>
                <a:lnTo>
                  <a:pt x="37" y="906"/>
                </a:lnTo>
                <a:lnTo>
                  <a:pt x="26" y="905"/>
                </a:lnTo>
                <a:lnTo>
                  <a:pt x="27" y="899"/>
                </a:lnTo>
                <a:lnTo>
                  <a:pt x="28" y="893"/>
                </a:lnTo>
                <a:lnTo>
                  <a:pt x="30" y="888"/>
                </a:lnTo>
                <a:lnTo>
                  <a:pt x="32" y="883"/>
                </a:lnTo>
                <a:lnTo>
                  <a:pt x="37" y="874"/>
                </a:lnTo>
                <a:lnTo>
                  <a:pt x="39" y="868"/>
                </a:lnTo>
                <a:lnTo>
                  <a:pt x="39" y="848"/>
                </a:lnTo>
                <a:lnTo>
                  <a:pt x="36" y="826"/>
                </a:lnTo>
                <a:lnTo>
                  <a:pt x="32" y="801"/>
                </a:lnTo>
                <a:lnTo>
                  <a:pt x="29" y="777"/>
                </a:lnTo>
                <a:lnTo>
                  <a:pt x="24" y="752"/>
                </a:lnTo>
                <a:lnTo>
                  <a:pt x="19" y="729"/>
                </a:lnTo>
                <a:lnTo>
                  <a:pt x="16" y="707"/>
                </a:lnTo>
                <a:lnTo>
                  <a:pt x="13" y="690"/>
                </a:lnTo>
                <a:lnTo>
                  <a:pt x="17" y="687"/>
                </a:lnTo>
                <a:lnTo>
                  <a:pt x="25" y="680"/>
                </a:lnTo>
                <a:lnTo>
                  <a:pt x="28" y="675"/>
                </a:lnTo>
                <a:lnTo>
                  <a:pt x="29" y="669"/>
                </a:lnTo>
                <a:lnTo>
                  <a:pt x="30" y="666"/>
                </a:lnTo>
                <a:lnTo>
                  <a:pt x="29" y="662"/>
                </a:lnTo>
                <a:lnTo>
                  <a:pt x="28" y="658"/>
                </a:lnTo>
                <a:lnTo>
                  <a:pt x="26" y="653"/>
                </a:lnTo>
                <a:lnTo>
                  <a:pt x="21" y="658"/>
                </a:lnTo>
                <a:lnTo>
                  <a:pt x="16" y="663"/>
                </a:lnTo>
                <a:lnTo>
                  <a:pt x="12" y="669"/>
                </a:lnTo>
                <a:lnTo>
                  <a:pt x="6" y="677"/>
                </a:lnTo>
                <a:lnTo>
                  <a:pt x="4" y="672"/>
                </a:lnTo>
                <a:lnTo>
                  <a:pt x="3" y="667"/>
                </a:lnTo>
                <a:lnTo>
                  <a:pt x="2" y="660"/>
                </a:lnTo>
                <a:lnTo>
                  <a:pt x="1" y="653"/>
                </a:lnTo>
                <a:lnTo>
                  <a:pt x="0" y="639"/>
                </a:lnTo>
                <a:lnTo>
                  <a:pt x="0" y="628"/>
                </a:lnTo>
                <a:lnTo>
                  <a:pt x="0" y="604"/>
                </a:lnTo>
                <a:lnTo>
                  <a:pt x="2" y="581"/>
                </a:lnTo>
                <a:lnTo>
                  <a:pt x="3" y="570"/>
                </a:lnTo>
                <a:lnTo>
                  <a:pt x="5" y="558"/>
                </a:lnTo>
                <a:lnTo>
                  <a:pt x="8" y="545"/>
                </a:lnTo>
                <a:lnTo>
                  <a:pt x="13" y="529"/>
                </a:lnTo>
                <a:lnTo>
                  <a:pt x="26" y="514"/>
                </a:lnTo>
                <a:lnTo>
                  <a:pt x="38" y="499"/>
                </a:lnTo>
                <a:lnTo>
                  <a:pt x="50" y="482"/>
                </a:lnTo>
                <a:lnTo>
                  <a:pt x="61" y="467"/>
                </a:lnTo>
                <a:lnTo>
                  <a:pt x="81" y="434"/>
                </a:lnTo>
                <a:lnTo>
                  <a:pt x="101" y="401"/>
                </a:lnTo>
                <a:lnTo>
                  <a:pt x="119" y="368"/>
                </a:lnTo>
                <a:lnTo>
                  <a:pt x="141" y="336"/>
                </a:lnTo>
                <a:lnTo>
                  <a:pt x="152" y="321"/>
                </a:lnTo>
                <a:lnTo>
                  <a:pt x="164" y="305"/>
                </a:lnTo>
                <a:lnTo>
                  <a:pt x="177" y="291"/>
                </a:lnTo>
                <a:lnTo>
                  <a:pt x="193" y="277"/>
                </a:lnTo>
                <a:lnTo>
                  <a:pt x="198" y="271"/>
                </a:lnTo>
                <a:lnTo>
                  <a:pt x="204" y="265"/>
                </a:lnTo>
                <a:lnTo>
                  <a:pt x="208" y="257"/>
                </a:lnTo>
                <a:lnTo>
                  <a:pt x="213" y="250"/>
                </a:lnTo>
                <a:lnTo>
                  <a:pt x="219" y="234"/>
                </a:lnTo>
                <a:lnTo>
                  <a:pt x="227" y="218"/>
                </a:lnTo>
                <a:lnTo>
                  <a:pt x="233" y="200"/>
                </a:lnTo>
                <a:lnTo>
                  <a:pt x="242" y="184"/>
                </a:lnTo>
                <a:lnTo>
                  <a:pt x="247" y="176"/>
                </a:lnTo>
                <a:lnTo>
                  <a:pt x="252" y="169"/>
                </a:lnTo>
                <a:lnTo>
                  <a:pt x="259" y="161"/>
                </a:lnTo>
                <a:lnTo>
                  <a:pt x="265" y="154"/>
                </a:lnTo>
                <a:lnTo>
                  <a:pt x="266" y="131"/>
                </a:lnTo>
                <a:lnTo>
                  <a:pt x="270" y="109"/>
                </a:lnTo>
                <a:lnTo>
                  <a:pt x="274" y="89"/>
                </a:lnTo>
                <a:lnTo>
                  <a:pt x="278" y="73"/>
                </a:lnTo>
                <a:lnTo>
                  <a:pt x="299" y="74"/>
                </a:lnTo>
                <a:lnTo>
                  <a:pt x="326" y="77"/>
                </a:lnTo>
                <a:lnTo>
                  <a:pt x="349" y="79"/>
                </a:lnTo>
                <a:lnTo>
                  <a:pt x="359" y="80"/>
                </a:lnTo>
                <a:lnTo>
                  <a:pt x="357" y="91"/>
                </a:lnTo>
                <a:lnTo>
                  <a:pt x="355" y="102"/>
                </a:lnTo>
                <a:lnTo>
                  <a:pt x="352" y="112"/>
                </a:lnTo>
                <a:lnTo>
                  <a:pt x="349" y="121"/>
                </a:lnTo>
                <a:lnTo>
                  <a:pt x="344" y="130"/>
                </a:lnTo>
                <a:lnTo>
                  <a:pt x="341" y="138"/>
                </a:lnTo>
                <a:lnTo>
                  <a:pt x="339" y="146"/>
                </a:lnTo>
                <a:lnTo>
                  <a:pt x="339" y="154"/>
                </a:lnTo>
                <a:lnTo>
                  <a:pt x="343" y="153"/>
                </a:lnTo>
                <a:lnTo>
                  <a:pt x="348" y="150"/>
                </a:lnTo>
                <a:lnTo>
                  <a:pt x="352" y="147"/>
                </a:lnTo>
                <a:lnTo>
                  <a:pt x="356" y="144"/>
                </a:lnTo>
                <a:lnTo>
                  <a:pt x="364" y="137"/>
                </a:lnTo>
                <a:lnTo>
                  <a:pt x="371" y="129"/>
                </a:lnTo>
                <a:lnTo>
                  <a:pt x="376" y="120"/>
                </a:lnTo>
                <a:lnTo>
                  <a:pt x="381" y="110"/>
                </a:lnTo>
                <a:lnTo>
                  <a:pt x="385" y="99"/>
                </a:lnTo>
                <a:lnTo>
                  <a:pt x="388" y="87"/>
                </a:lnTo>
                <a:lnTo>
                  <a:pt x="394" y="66"/>
                </a:lnTo>
                <a:lnTo>
                  <a:pt x="396" y="48"/>
                </a:lnTo>
                <a:lnTo>
                  <a:pt x="398" y="35"/>
                </a:lnTo>
                <a:lnTo>
                  <a:pt x="398" y="30"/>
                </a:lnTo>
                <a:lnTo>
                  <a:pt x="1827" y="30"/>
                </a:lnTo>
                <a:lnTo>
                  <a:pt x="1825" y="21"/>
                </a:lnTo>
                <a:lnTo>
                  <a:pt x="1823" y="13"/>
                </a:lnTo>
                <a:lnTo>
                  <a:pt x="1821" y="5"/>
                </a:lnTo>
                <a:lnTo>
                  <a:pt x="1820" y="0"/>
                </a:lnTo>
                <a:lnTo>
                  <a:pt x="1827" y="0"/>
                </a:lnTo>
                <a:lnTo>
                  <a:pt x="1853" y="0"/>
                </a:lnTo>
                <a:lnTo>
                  <a:pt x="1854" y="11"/>
                </a:lnTo>
                <a:lnTo>
                  <a:pt x="1856" y="21"/>
                </a:lnTo>
                <a:lnTo>
                  <a:pt x="1861" y="30"/>
                </a:lnTo>
                <a:lnTo>
                  <a:pt x="1866" y="38"/>
                </a:lnTo>
                <a:lnTo>
                  <a:pt x="1873" y="46"/>
                </a:lnTo>
                <a:lnTo>
                  <a:pt x="1881" y="51"/>
                </a:lnTo>
                <a:lnTo>
                  <a:pt x="1886" y="53"/>
                </a:lnTo>
                <a:lnTo>
                  <a:pt x="1890" y="54"/>
                </a:lnTo>
                <a:lnTo>
                  <a:pt x="1895" y="55"/>
                </a:lnTo>
                <a:lnTo>
                  <a:pt x="1900" y="55"/>
                </a:lnTo>
                <a:lnTo>
                  <a:pt x="1910" y="55"/>
                </a:lnTo>
                <a:lnTo>
                  <a:pt x="1926" y="55"/>
                </a:lnTo>
                <a:lnTo>
                  <a:pt x="1935" y="56"/>
                </a:lnTo>
                <a:lnTo>
                  <a:pt x="1944" y="58"/>
                </a:lnTo>
                <a:lnTo>
                  <a:pt x="1952" y="61"/>
                </a:lnTo>
                <a:lnTo>
                  <a:pt x="1958" y="64"/>
                </a:lnTo>
                <a:lnTo>
                  <a:pt x="1965" y="68"/>
                </a:lnTo>
                <a:lnTo>
                  <a:pt x="1972" y="71"/>
                </a:lnTo>
                <a:lnTo>
                  <a:pt x="1979" y="73"/>
                </a:lnTo>
                <a:lnTo>
                  <a:pt x="1986" y="73"/>
                </a:lnTo>
                <a:lnTo>
                  <a:pt x="1992" y="72"/>
                </a:lnTo>
                <a:lnTo>
                  <a:pt x="1999" y="67"/>
                </a:lnTo>
                <a:lnTo>
                  <a:pt x="2003" y="63"/>
                </a:lnTo>
                <a:lnTo>
                  <a:pt x="2006" y="61"/>
                </a:lnTo>
                <a:lnTo>
                  <a:pt x="2015" y="69"/>
                </a:lnTo>
                <a:lnTo>
                  <a:pt x="2024" y="75"/>
                </a:lnTo>
                <a:lnTo>
                  <a:pt x="2035" y="81"/>
                </a:lnTo>
                <a:lnTo>
                  <a:pt x="2046" y="86"/>
                </a:lnTo>
                <a:lnTo>
                  <a:pt x="2038" y="93"/>
                </a:lnTo>
                <a:lnTo>
                  <a:pt x="2031" y="100"/>
                </a:lnTo>
                <a:lnTo>
                  <a:pt x="2021" y="104"/>
                </a:lnTo>
                <a:lnTo>
                  <a:pt x="2011" y="108"/>
                </a:lnTo>
                <a:lnTo>
                  <a:pt x="1989" y="114"/>
                </a:lnTo>
                <a:lnTo>
                  <a:pt x="1967" y="118"/>
                </a:lnTo>
                <a:lnTo>
                  <a:pt x="1956" y="120"/>
                </a:lnTo>
                <a:lnTo>
                  <a:pt x="1946" y="122"/>
                </a:lnTo>
                <a:lnTo>
                  <a:pt x="1937" y="125"/>
                </a:lnTo>
                <a:lnTo>
                  <a:pt x="1929" y="128"/>
                </a:lnTo>
                <a:lnTo>
                  <a:pt x="1922" y="133"/>
                </a:lnTo>
                <a:lnTo>
                  <a:pt x="1918" y="138"/>
                </a:lnTo>
                <a:lnTo>
                  <a:pt x="1916" y="141"/>
                </a:lnTo>
                <a:lnTo>
                  <a:pt x="1914" y="145"/>
                </a:lnTo>
                <a:lnTo>
                  <a:pt x="1913" y="149"/>
                </a:lnTo>
                <a:lnTo>
                  <a:pt x="1913" y="154"/>
                </a:lnTo>
                <a:lnTo>
                  <a:pt x="1926" y="155"/>
                </a:lnTo>
                <a:lnTo>
                  <a:pt x="1937" y="156"/>
                </a:lnTo>
                <a:lnTo>
                  <a:pt x="1946" y="158"/>
                </a:lnTo>
                <a:lnTo>
                  <a:pt x="1954" y="160"/>
                </a:lnTo>
                <a:lnTo>
                  <a:pt x="1962" y="162"/>
                </a:lnTo>
                <a:lnTo>
                  <a:pt x="1969" y="164"/>
                </a:lnTo>
                <a:lnTo>
                  <a:pt x="1977" y="166"/>
                </a:lnTo>
                <a:lnTo>
                  <a:pt x="1986" y="166"/>
                </a:lnTo>
                <a:lnTo>
                  <a:pt x="1996" y="165"/>
                </a:lnTo>
                <a:lnTo>
                  <a:pt x="2011" y="161"/>
                </a:lnTo>
                <a:lnTo>
                  <a:pt x="2028" y="155"/>
                </a:lnTo>
                <a:lnTo>
                  <a:pt x="2047" y="147"/>
                </a:lnTo>
                <a:lnTo>
                  <a:pt x="2067" y="140"/>
                </a:lnTo>
                <a:lnTo>
                  <a:pt x="2087" y="135"/>
                </a:lnTo>
                <a:lnTo>
                  <a:pt x="2104" y="130"/>
                </a:lnTo>
                <a:lnTo>
                  <a:pt x="2119" y="129"/>
                </a:lnTo>
                <a:lnTo>
                  <a:pt x="2109" y="140"/>
                </a:lnTo>
                <a:lnTo>
                  <a:pt x="2101" y="147"/>
                </a:lnTo>
                <a:lnTo>
                  <a:pt x="2097" y="151"/>
                </a:lnTo>
                <a:lnTo>
                  <a:pt x="2094" y="155"/>
                </a:lnTo>
                <a:lnTo>
                  <a:pt x="2093" y="160"/>
                </a:lnTo>
                <a:lnTo>
                  <a:pt x="2092" y="166"/>
                </a:lnTo>
                <a:lnTo>
                  <a:pt x="2102" y="166"/>
                </a:lnTo>
                <a:lnTo>
                  <a:pt x="2112" y="166"/>
                </a:lnTo>
                <a:lnTo>
                  <a:pt x="2121" y="167"/>
                </a:lnTo>
                <a:lnTo>
                  <a:pt x="2138" y="169"/>
                </a:lnTo>
                <a:lnTo>
                  <a:pt x="2163" y="172"/>
                </a:lnTo>
                <a:lnTo>
                  <a:pt x="2191" y="175"/>
                </a:lnTo>
                <a:lnTo>
                  <a:pt x="2221" y="179"/>
                </a:lnTo>
                <a:lnTo>
                  <a:pt x="2248" y="182"/>
                </a:lnTo>
                <a:lnTo>
                  <a:pt x="2270" y="184"/>
                </a:lnTo>
                <a:lnTo>
                  <a:pt x="2286" y="184"/>
                </a:lnTo>
                <a:lnTo>
                  <a:pt x="2284" y="193"/>
                </a:lnTo>
                <a:lnTo>
                  <a:pt x="2282" y="199"/>
                </a:lnTo>
                <a:lnTo>
                  <a:pt x="2279" y="205"/>
                </a:lnTo>
                <a:lnTo>
                  <a:pt x="2275" y="210"/>
                </a:lnTo>
                <a:lnTo>
                  <a:pt x="2269" y="212"/>
                </a:lnTo>
                <a:lnTo>
                  <a:pt x="2262" y="214"/>
                </a:lnTo>
                <a:lnTo>
                  <a:pt x="2255" y="215"/>
                </a:lnTo>
                <a:lnTo>
                  <a:pt x="2245" y="216"/>
                </a:lnTo>
                <a:lnTo>
                  <a:pt x="2238" y="215"/>
                </a:lnTo>
                <a:lnTo>
                  <a:pt x="2233" y="214"/>
                </a:lnTo>
                <a:lnTo>
                  <a:pt x="2228" y="212"/>
                </a:lnTo>
                <a:lnTo>
                  <a:pt x="2225" y="210"/>
                </a:lnTo>
                <a:lnTo>
                  <a:pt x="2222" y="206"/>
                </a:lnTo>
                <a:lnTo>
                  <a:pt x="2217" y="204"/>
                </a:lnTo>
                <a:lnTo>
                  <a:pt x="2212" y="203"/>
                </a:lnTo>
                <a:lnTo>
                  <a:pt x="2205" y="203"/>
                </a:lnTo>
                <a:lnTo>
                  <a:pt x="2194" y="203"/>
                </a:lnTo>
                <a:lnTo>
                  <a:pt x="2185" y="205"/>
                </a:lnTo>
                <a:lnTo>
                  <a:pt x="2175" y="209"/>
                </a:lnTo>
                <a:lnTo>
                  <a:pt x="2166" y="213"/>
                </a:lnTo>
                <a:lnTo>
                  <a:pt x="2149" y="223"/>
                </a:lnTo>
                <a:lnTo>
                  <a:pt x="2135" y="234"/>
                </a:lnTo>
                <a:lnTo>
                  <a:pt x="2121" y="245"/>
                </a:lnTo>
                <a:lnTo>
                  <a:pt x="2108" y="255"/>
                </a:lnTo>
                <a:lnTo>
                  <a:pt x="2100" y="258"/>
                </a:lnTo>
                <a:lnTo>
                  <a:pt x="2093" y="261"/>
                </a:lnTo>
                <a:lnTo>
                  <a:pt x="2087" y="264"/>
                </a:lnTo>
                <a:lnTo>
                  <a:pt x="2079" y="265"/>
                </a:lnTo>
                <a:lnTo>
                  <a:pt x="2073" y="266"/>
                </a:lnTo>
                <a:lnTo>
                  <a:pt x="2068" y="268"/>
                </a:lnTo>
                <a:lnTo>
                  <a:pt x="2066" y="271"/>
                </a:lnTo>
                <a:lnTo>
                  <a:pt x="2064" y="276"/>
                </a:lnTo>
                <a:lnTo>
                  <a:pt x="2063" y="285"/>
                </a:lnTo>
                <a:lnTo>
                  <a:pt x="2059" y="295"/>
                </a:lnTo>
                <a:lnTo>
                  <a:pt x="2056" y="304"/>
                </a:lnTo>
                <a:lnTo>
                  <a:pt x="2053" y="312"/>
                </a:lnTo>
                <a:lnTo>
                  <a:pt x="2048" y="321"/>
                </a:lnTo>
                <a:lnTo>
                  <a:pt x="2043" y="328"/>
                </a:lnTo>
                <a:lnTo>
                  <a:pt x="2032" y="342"/>
                </a:lnTo>
                <a:lnTo>
                  <a:pt x="2021" y="355"/>
                </a:lnTo>
                <a:lnTo>
                  <a:pt x="2015" y="362"/>
                </a:lnTo>
                <a:lnTo>
                  <a:pt x="2010" y="369"/>
                </a:lnTo>
                <a:lnTo>
                  <a:pt x="2006" y="378"/>
                </a:lnTo>
                <a:lnTo>
                  <a:pt x="2001" y="386"/>
                </a:lnTo>
                <a:lnTo>
                  <a:pt x="1998" y="394"/>
                </a:lnTo>
                <a:lnTo>
                  <a:pt x="1995" y="404"/>
                </a:lnTo>
                <a:lnTo>
                  <a:pt x="1993" y="414"/>
                </a:lnTo>
                <a:lnTo>
                  <a:pt x="1992" y="424"/>
                </a:lnTo>
                <a:lnTo>
                  <a:pt x="1993" y="432"/>
                </a:lnTo>
                <a:lnTo>
                  <a:pt x="1997" y="438"/>
                </a:lnTo>
                <a:lnTo>
                  <a:pt x="2001" y="443"/>
                </a:lnTo>
                <a:lnTo>
                  <a:pt x="2007" y="447"/>
                </a:lnTo>
                <a:lnTo>
                  <a:pt x="2012" y="451"/>
                </a:lnTo>
                <a:lnTo>
                  <a:pt x="2018" y="453"/>
                </a:lnTo>
                <a:lnTo>
                  <a:pt x="2022" y="455"/>
                </a:lnTo>
                <a:lnTo>
                  <a:pt x="2026" y="456"/>
                </a:lnTo>
                <a:lnTo>
                  <a:pt x="2032" y="455"/>
                </a:lnTo>
                <a:lnTo>
                  <a:pt x="2037" y="454"/>
                </a:lnTo>
                <a:lnTo>
                  <a:pt x="2043" y="453"/>
                </a:lnTo>
                <a:lnTo>
                  <a:pt x="2047" y="451"/>
                </a:lnTo>
                <a:lnTo>
                  <a:pt x="2052" y="448"/>
                </a:lnTo>
                <a:lnTo>
                  <a:pt x="2056" y="445"/>
                </a:lnTo>
                <a:lnTo>
                  <a:pt x="2060" y="441"/>
                </a:lnTo>
                <a:lnTo>
                  <a:pt x="2064" y="437"/>
                </a:lnTo>
                <a:lnTo>
                  <a:pt x="2070" y="427"/>
                </a:lnTo>
                <a:lnTo>
                  <a:pt x="2076" y="417"/>
                </a:lnTo>
                <a:lnTo>
                  <a:pt x="2080" y="405"/>
                </a:lnTo>
                <a:lnTo>
                  <a:pt x="2085" y="393"/>
                </a:lnTo>
                <a:lnTo>
                  <a:pt x="2092" y="368"/>
                </a:lnTo>
                <a:lnTo>
                  <a:pt x="2100" y="344"/>
                </a:lnTo>
                <a:lnTo>
                  <a:pt x="2103" y="333"/>
                </a:lnTo>
                <a:lnTo>
                  <a:pt x="2108" y="323"/>
                </a:lnTo>
                <a:lnTo>
                  <a:pt x="2113" y="314"/>
                </a:lnTo>
                <a:lnTo>
                  <a:pt x="2119" y="307"/>
                </a:lnTo>
                <a:lnTo>
                  <a:pt x="2135" y="295"/>
                </a:lnTo>
                <a:lnTo>
                  <a:pt x="2152" y="283"/>
                </a:lnTo>
                <a:lnTo>
                  <a:pt x="2169" y="273"/>
                </a:lnTo>
                <a:lnTo>
                  <a:pt x="2188" y="262"/>
                </a:lnTo>
                <a:lnTo>
                  <a:pt x="2205" y="252"/>
                </a:lnTo>
                <a:lnTo>
                  <a:pt x="2223" y="243"/>
                </a:lnTo>
                <a:lnTo>
                  <a:pt x="2238" y="233"/>
                </a:lnTo>
                <a:lnTo>
                  <a:pt x="2251" y="222"/>
                </a:lnTo>
                <a:lnTo>
                  <a:pt x="2266" y="237"/>
                </a:lnTo>
                <a:lnTo>
                  <a:pt x="2278" y="249"/>
                </a:lnTo>
                <a:lnTo>
                  <a:pt x="2283" y="255"/>
                </a:lnTo>
                <a:lnTo>
                  <a:pt x="2288" y="261"/>
                </a:lnTo>
                <a:lnTo>
                  <a:pt x="2293" y="269"/>
                </a:lnTo>
                <a:lnTo>
                  <a:pt x="2299" y="277"/>
                </a:lnTo>
                <a:lnTo>
                  <a:pt x="2289" y="284"/>
                </a:lnTo>
                <a:lnTo>
                  <a:pt x="2281" y="290"/>
                </a:lnTo>
                <a:lnTo>
                  <a:pt x="2273" y="296"/>
                </a:lnTo>
                <a:lnTo>
                  <a:pt x="2267" y="303"/>
                </a:lnTo>
                <a:lnTo>
                  <a:pt x="2260" y="310"/>
                </a:lnTo>
                <a:lnTo>
                  <a:pt x="2255" y="318"/>
                </a:lnTo>
                <a:lnTo>
                  <a:pt x="2250" y="328"/>
                </a:lnTo>
                <a:lnTo>
                  <a:pt x="2245" y="339"/>
                </a:lnTo>
                <a:lnTo>
                  <a:pt x="2259" y="338"/>
                </a:lnTo>
                <a:lnTo>
                  <a:pt x="2271" y="336"/>
                </a:lnTo>
                <a:lnTo>
                  <a:pt x="2284" y="334"/>
                </a:lnTo>
                <a:lnTo>
                  <a:pt x="2299" y="333"/>
                </a:lnTo>
                <a:lnTo>
                  <a:pt x="2299" y="347"/>
                </a:lnTo>
                <a:lnTo>
                  <a:pt x="2299" y="363"/>
                </a:lnTo>
                <a:lnTo>
                  <a:pt x="2299" y="380"/>
                </a:lnTo>
                <a:lnTo>
                  <a:pt x="2299" y="394"/>
                </a:lnTo>
                <a:lnTo>
                  <a:pt x="2299" y="394"/>
                </a:lnTo>
                <a:lnTo>
                  <a:pt x="2299" y="394"/>
                </a:lnTo>
                <a:lnTo>
                  <a:pt x="2293" y="399"/>
                </a:lnTo>
                <a:lnTo>
                  <a:pt x="2288" y="404"/>
                </a:lnTo>
                <a:lnTo>
                  <a:pt x="2281" y="411"/>
                </a:lnTo>
                <a:lnTo>
                  <a:pt x="2276" y="418"/>
                </a:lnTo>
                <a:lnTo>
                  <a:pt x="2250" y="426"/>
                </a:lnTo>
                <a:lnTo>
                  <a:pt x="2228" y="435"/>
                </a:lnTo>
                <a:lnTo>
                  <a:pt x="2219" y="439"/>
                </a:lnTo>
                <a:lnTo>
                  <a:pt x="2212" y="443"/>
                </a:lnTo>
                <a:lnTo>
                  <a:pt x="2206" y="446"/>
                </a:lnTo>
                <a:lnTo>
                  <a:pt x="2205" y="450"/>
                </a:lnTo>
                <a:lnTo>
                  <a:pt x="2205" y="452"/>
                </a:lnTo>
                <a:lnTo>
                  <a:pt x="2206" y="454"/>
                </a:lnTo>
                <a:lnTo>
                  <a:pt x="2209" y="456"/>
                </a:lnTo>
                <a:lnTo>
                  <a:pt x="2212" y="458"/>
                </a:lnTo>
                <a:lnTo>
                  <a:pt x="2219" y="463"/>
                </a:lnTo>
                <a:lnTo>
                  <a:pt x="2227" y="466"/>
                </a:lnTo>
                <a:lnTo>
                  <a:pt x="2236" y="469"/>
                </a:lnTo>
                <a:lnTo>
                  <a:pt x="2245" y="472"/>
                </a:lnTo>
                <a:lnTo>
                  <a:pt x="2253" y="473"/>
                </a:lnTo>
                <a:lnTo>
                  <a:pt x="2258" y="474"/>
                </a:lnTo>
                <a:lnTo>
                  <a:pt x="2265" y="473"/>
                </a:lnTo>
                <a:lnTo>
                  <a:pt x="2273" y="472"/>
                </a:lnTo>
                <a:lnTo>
                  <a:pt x="2283" y="469"/>
                </a:lnTo>
                <a:lnTo>
                  <a:pt x="2293" y="466"/>
                </a:lnTo>
                <a:lnTo>
                  <a:pt x="2317" y="457"/>
                </a:lnTo>
                <a:lnTo>
                  <a:pt x="2343" y="447"/>
                </a:lnTo>
                <a:lnTo>
                  <a:pt x="2369" y="436"/>
                </a:lnTo>
                <a:lnTo>
                  <a:pt x="2393" y="425"/>
                </a:lnTo>
                <a:lnTo>
                  <a:pt x="2415" y="415"/>
                </a:lnTo>
                <a:lnTo>
                  <a:pt x="2433" y="408"/>
                </a:lnTo>
                <a:lnTo>
                  <a:pt x="2439" y="407"/>
                </a:lnTo>
                <a:lnTo>
                  <a:pt x="2446" y="405"/>
                </a:lnTo>
                <a:lnTo>
                  <a:pt x="2452" y="403"/>
                </a:lnTo>
                <a:lnTo>
                  <a:pt x="2458" y="400"/>
                </a:lnTo>
                <a:lnTo>
                  <a:pt x="2530" y="382"/>
                </a:lnTo>
                <a:lnTo>
                  <a:pt x="2544" y="380"/>
                </a:lnTo>
                <a:lnTo>
                  <a:pt x="2557" y="378"/>
                </a:lnTo>
                <a:lnTo>
                  <a:pt x="2570" y="373"/>
                </a:lnTo>
                <a:lnTo>
                  <a:pt x="2583" y="369"/>
                </a:lnTo>
                <a:lnTo>
                  <a:pt x="2597" y="364"/>
                </a:lnTo>
                <a:lnTo>
                  <a:pt x="2611" y="357"/>
                </a:lnTo>
                <a:lnTo>
                  <a:pt x="2625" y="350"/>
                </a:lnTo>
                <a:lnTo>
                  <a:pt x="2638" y="342"/>
                </a:lnTo>
                <a:lnTo>
                  <a:pt x="2651" y="334"/>
                </a:lnTo>
                <a:lnTo>
                  <a:pt x="2664" y="324"/>
                </a:lnTo>
                <a:lnTo>
                  <a:pt x="2676" y="313"/>
                </a:lnTo>
                <a:lnTo>
                  <a:pt x="2689" y="303"/>
                </a:lnTo>
                <a:lnTo>
                  <a:pt x="2701" y="291"/>
                </a:lnTo>
                <a:lnTo>
                  <a:pt x="2710" y="279"/>
                </a:lnTo>
                <a:lnTo>
                  <a:pt x="2721" y="266"/>
                </a:lnTo>
                <a:lnTo>
                  <a:pt x="2730" y="252"/>
                </a:lnTo>
                <a:lnTo>
                  <a:pt x="2817" y="252"/>
                </a:lnTo>
                <a:lnTo>
                  <a:pt x="2850" y="248"/>
                </a:lnTo>
                <a:lnTo>
                  <a:pt x="2880" y="246"/>
                </a:lnTo>
                <a:lnTo>
                  <a:pt x="2906" y="244"/>
                </a:lnTo>
                <a:lnTo>
                  <a:pt x="2931" y="241"/>
                </a:lnTo>
                <a:lnTo>
                  <a:pt x="2942" y="239"/>
                </a:lnTo>
                <a:lnTo>
                  <a:pt x="2954" y="237"/>
                </a:lnTo>
                <a:lnTo>
                  <a:pt x="2965" y="234"/>
                </a:lnTo>
                <a:lnTo>
                  <a:pt x="2975" y="230"/>
                </a:lnTo>
                <a:lnTo>
                  <a:pt x="2986" y="225"/>
                </a:lnTo>
                <a:lnTo>
                  <a:pt x="2996" y="219"/>
                </a:lnTo>
                <a:lnTo>
                  <a:pt x="3006" y="212"/>
                </a:lnTo>
                <a:lnTo>
                  <a:pt x="3016" y="203"/>
                </a:lnTo>
                <a:lnTo>
                  <a:pt x="3028" y="190"/>
                </a:lnTo>
                <a:lnTo>
                  <a:pt x="3038" y="177"/>
                </a:lnTo>
                <a:lnTo>
                  <a:pt x="3048" y="162"/>
                </a:lnTo>
                <a:lnTo>
                  <a:pt x="3059" y="148"/>
                </a:lnTo>
                <a:lnTo>
                  <a:pt x="3064" y="142"/>
                </a:lnTo>
                <a:lnTo>
                  <a:pt x="3070" y="136"/>
                </a:lnTo>
                <a:lnTo>
                  <a:pt x="3075" y="130"/>
                </a:lnTo>
                <a:lnTo>
                  <a:pt x="3082" y="126"/>
                </a:lnTo>
                <a:lnTo>
                  <a:pt x="3089" y="122"/>
                </a:lnTo>
                <a:lnTo>
                  <a:pt x="3097" y="119"/>
                </a:lnTo>
                <a:lnTo>
                  <a:pt x="3106" y="117"/>
                </a:lnTo>
                <a:lnTo>
                  <a:pt x="3116" y="117"/>
                </a:lnTo>
                <a:lnTo>
                  <a:pt x="3136" y="118"/>
                </a:lnTo>
                <a:lnTo>
                  <a:pt x="3153" y="119"/>
                </a:lnTo>
                <a:lnTo>
                  <a:pt x="3160" y="120"/>
                </a:lnTo>
                <a:lnTo>
                  <a:pt x="3165" y="119"/>
                </a:lnTo>
                <a:lnTo>
                  <a:pt x="3171" y="119"/>
                </a:lnTo>
                <a:lnTo>
                  <a:pt x="3175" y="117"/>
                </a:lnTo>
                <a:lnTo>
                  <a:pt x="3175" y="125"/>
                </a:lnTo>
                <a:lnTo>
                  <a:pt x="3172" y="134"/>
                </a:lnTo>
                <a:lnTo>
                  <a:pt x="3168" y="144"/>
                </a:lnTo>
                <a:lnTo>
                  <a:pt x="3164" y="156"/>
                </a:lnTo>
                <a:lnTo>
                  <a:pt x="3160" y="165"/>
                </a:lnTo>
                <a:lnTo>
                  <a:pt x="3155" y="174"/>
                </a:lnTo>
                <a:lnTo>
                  <a:pt x="3152" y="181"/>
                </a:lnTo>
                <a:lnTo>
                  <a:pt x="3149" y="184"/>
                </a:lnTo>
                <a:lnTo>
                  <a:pt x="3149" y="252"/>
                </a:lnTo>
                <a:lnTo>
                  <a:pt x="3155" y="258"/>
                </a:lnTo>
              </a:path>
            </a:pathLst>
          </a:custGeom>
          <a:solidFill>
            <a:srgbClr val="007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055" name="Freeform 7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1971682" y="2746777"/>
            <a:ext cx="339725" cy="442913"/>
          </a:xfrm>
          <a:custGeom>
            <a:avLst/>
            <a:gdLst/>
            <a:ahLst/>
            <a:cxnLst>
              <a:cxn ang="0">
                <a:pos x="583" y="277"/>
              </a:cxn>
              <a:cxn ang="0">
                <a:pos x="549" y="295"/>
              </a:cxn>
              <a:cxn ang="0">
                <a:pos x="484" y="387"/>
              </a:cxn>
              <a:cxn ang="0">
                <a:pos x="465" y="457"/>
              </a:cxn>
              <a:cxn ang="0">
                <a:pos x="481" y="522"/>
              </a:cxn>
              <a:cxn ang="0">
                <a:pos x="530" y="591"/>
              </a:cxn>
              <a:cxn ang="0">
                <a:pos x="579" y="616"/>
              </a:cxn>
              <a:cxn ang="0">
                <a:pos x="625" y="600"/>
              </a:cxn>
              <a:cxn ang="0">
                <a:pos x="654" y="653"/>
              </a:cxn>
              <a:cxn ang="0">
                <a:pos x="672" y="683"/>
              </a:cxn>
              <a:cxn ang="0">
                <a:pos x="714" y="687"/>
              </a:cxn>
              <a:cxn ang="0">
                <a:pos x="749" y="712"/>
              </a:cxn>
              <a:cxn ang="0">
                <a:pos x="770" y="756"/>
              </a:cxn>
              <a:cxn ang="0">
                <a:pos x="761" y="790"/>
              </a:cxn>
              <a:cxn ang="0">
                <a:pos x="760" y="825"/>
              </a:cxn>
              <a:cxn ang="0">
                <a:pos x="772" y="882"/>
              </a:cxn>
              <a:cxn ang="0">
                <a:pos x="758" y="932"/>
              </a:cxn>
              <a:cxn ang="0">
                <a:pos x="770" y="994"/>
              </a:cxn>
              <a:cxn ang="0">
                <a:pos x="763" y="1054"/>
              </a:cxn>
              <a:cxn ang="0">
                <a:pos x="691" y="1122"/>
              </a:cxn>
              <a:cxn ang="0">
                <a:pos x="648" y="1103"/>
              </a:cxn>
              <a:cxn ang="0">
                <a:pos x="602" y="1056"/>
              </a:cxn>
              <a:cxn ang="0">
                <a:pos x="463" y="998"/>
              </a:cxn>
              <a:cxn ang="0">
                <a:pos x="425" y="967"/>
              </a:cxn>
              <a:cxn ang="0">
                <a:pos x="331" y="894"/>
              </a:cxn>
              <a:cxn ang="0">
                <a:pos x="318" y="867"/>
              </a:cxn>
              <a:cxn ang="0">
                <a:pos x="328" y="815"/>
              </a:cxn>
              <a:cxn ang="0">
                <a:pos x="290" y="778"/>
              </a:cxn>
              <a:cxn ang="0">
                <a:pos x="259" y="745"/>
              </a:cxn>
              <a:cxn ang="0">
                <a:pos x="243" y="689"/>
              </a:cxn>
              <a:cxn ang="0">
                <a:pos x="153" y="530"/>
              </a:cxn>
              <a:cxn ang="0">
                <a:pos x="120" y="487"/>
              </a:cxn>
              <a:cxn ang="0">
                <a:pos x="90" y="432"/>
              </a:cxn>
              <a:cxn ang="0">
                <a:pos x="22" y="397"/>
              </a:cxn>
              <a:cxn ang="0">
                <a:pos x="0" y="363"/>
              </a:cxn>
              <a:cxn ang="0">
                <a:pos x="13" y="276"/>
              </a:cxn>
              <a:cxn ang="0">
                <a:pos x="28" y="246"/>
              </a:cxn>
              <a:cxn ang="0">
                <a:pos x="72" y="222"/>
              </a:cxn>
              <a:cxn ang="0">
                <a:pos x="95" y="272"/>
              </a:cxn>
              <a:cxn ang="0">
                <a:pos x="158" y="307"/>
              </a:cxn>
              <a:cxn ang="0">
                <a:pos x="184" y="271"/>
              </a:cxn>
              <a:cxn ang="0">
                <a:pos x="201" y="225"/>
              </a:cxn>
              <a:cxn ang="0">
                <a:pos x="270" y="170"/>
              </a:cxn>
              <a:cxn ang="0">
                <a:pos x="344" y="120"/>
              </a:cxn>
              <a:cxn ang="0">
                <a:pos x="357" y="70"/>
              </a:cxn>
              <a:cxn ang="0">
                <a:pos x="347" y="5"/>
              </a:cxn>
              <a:cxn ang="0">
                <a:pos x="422" y="53"/>
              </a:cxn>
              <a:cxn ang="0">
                <a:pos x="467" y="107"/>
              </a:cxn>
              <a:cxn ang="0">
                <a:pos x="506" y="154"/>
              </a:cxn>
              <a:cxn ang="0">
                <a:pos x="561" y="157"/>
              </a:cxn>
              <a:cxn ang="0">
                <a:pos x="617" y="149"/>
              </a:cxn>
              <a:cxn ang="0">
                <a:pos x="640" y="156"/>
              </a:cxn>
              <a:cxn ang="0">
                <a:pos x="654" y="193"/>
              </a:cxn>
              <a:cxn ang="0">
                <a:pos x="627" y="210"/>
              </a:cxn>
              <a:cxn ang="0">
                <a:pos x="627" y="240"/>
              </a:cxn>
            </a:cxnLst>
            <a:rect l="0" t="0" r="r" b="b"/>
            <a:pathLst>
              <a:path w="784" h="1128">
                <a:moveTo>
                  <a:pt x="644" y="259"/>
                </a:moveTo>
                <a:lnTo>
                  <a:pt x="632" y="265"/>
                </a:lnTo>
                <a:lnTo>
                  <a:pt x="621" y="270"/>
                </a:lnTo>
                <a:lnTo>
                  <a:pt x="611" y="273"/>
                </a:lnTo>
                <a:lnTo>
                  <a:pt x="602" y="275"/>
                </a:lnTo>
                <a:lnTo>
                  <a:pt x="583" y="277"/>
                </a:lnTo>
                <a:lnTo>
                  <a:pt x="564" y="278"/>
                </a:lnTo>
                <a:lnTo>
                  <a:pt x="560" y="278"/>
                </a:lnTo>
                <a:lnTo>
                  <a:pt x="557" y="280"/>
                </a:lnTo>
                <a:lnTo>
                  <a:pt x="554" y="284"/>
                </a:lnTo>
                <a:lnTo>
                  <a:pt x="552" y="287"/>
                </a:lnTo>
                <a:lnTo>
                  <a:pt x="549" y="295"/>
                </a:lnTo>
                <a:lnTo>
                  <a:pt x="545" y="302"/>
                </a:lnTo>
                <a:lnTo>
                  <a:pt x="529" y="318"/>
                </a:lnTo>
                <a:lnTo>
                  <a:pt x="515" y="335"/>
                </a:lnTo>
                <a:lnTo>
                  <a:pt x="502" y="354"/>
                </a:lnTo>
                <a:lnTo>
                  <a:pt x="490" y="376"/>
                </a:lnTo>
                <a:lnTo>
                  <a:pt x="484" y="387"/>
                </a:lnTo>
                <a:lnTo>
                  <a:pt x="480" y="398"/>
                </a:lnTo>
                <a:lnTo>
                  <a:pt x="475" y="410"/>
                </a:lnTo>
                <a:lnTo>
                  <a:pt x="471" y="422"/>
                </a:lnTo>
                <a:lnTo>
                  <a:pt x="469" y="434"/>
                </a:lnTo>
                <a:lnTo>
                  <a:pt x="467" y="445"/>
                </a:lnTo>
                <a:lnTo>
                  <a:pt x="465" y="457"/>
                </a:lnTo>
                <a:lnTo>
                  <a:pt x="464" y="468"/>
                </a:lnTo>
                <a:lnTo>
                  <a:pt x="465" y="478"/>
                </a:lnTo>
                <a:lnTo>
                  <a:pt x="468" y="488"/>
                </a:lnTo>
                <a:lnTo>
                  <a:pt x="471" y="498"/>
                </a:lnTo>
                <a:lnTo>
                  <a:pt x="475" y="510"/>
                </a:lnTo>
                <a:lnTo>
                  <a:pt x="481" y="522"/>
                </a:lnTo>
                <a:lnTo>
                  <a:pt x="486" y="535"/>
                </a:lnTo>
                <a:lnTo>
                  <a:pt x="494" y="547"/>
                </a:lnTo>
                <a:lnTo>
                  <a:pt x="502" y="559"/>
                </a:lnTo>
                <a:lnTo>
                  <a:pt x="510" y="570"/>
                </a:lnTo>
                <a:lnTo>
                  <a:pt x="520" y="581"/>
                </a:lnTo>
                <a:lnTo>
                  <a:pt x="530" y="591"/>
                </a:lnTo>
                <a:lnTo>
                  <a:pt x="540" y="600"/>
                </a:lnTo>
                <a:lnTo>
                  <a:pt x="551" y="607"/>
                </a:lnTo>
                <a:lnTo>
                  <a:pt x="562" y="612"/>
                </a:lnTo>
                <a:lnTo>
                  <a:pt x="568" y="614"/>
                </a:lnTo>
                <a:lnTo>
                  <a:pt x="573" y="615"/>
                </a:lnTo>
                <a:lnTo>
                  <a:pt x="579" y="616"/>
                </a:lnTo>
                <a:lnTo>
                  <a:pt x="584" y="616"/>
                </a:lnTo>
                <a:lnTo>
                  <a:pt x="594" y="615"/>
                </a:lnTo>
                <a:lnTo>
                  <a:pt x="602" y="613"/>
                </a:lnTo>
                <a:lnTo>
                  <a:pt x="610" y="609"/>
                </a:lnTo>
                <a:lnTo>
                  <a:pt x="617" y="604"/>
                </a:lnTo>
                <a:lnTo>
                  <a:pt x="625" y="600"/>
                </a:lnTo>
                <a:lnTo>
                  <a:pt x="632" y="596"/>
                </a:lnTo>
                <a:lnTo>
                  <a:pt x="641" y="593"/>
                </a:lnTo>
                <a:lnTo>
                  <a:pt x="651" y="592"/>
                </a:lnTo>
                <a:lnTo>
                  <a:pt x="653" y="614"/>
                </a:lnTo>
                <a:lnTo>
                  <a:pt x="654" y="645"/>
                </a:lnTo>
                <a:lnTo>
                  <a:pt x="654" y="653"/>
                </a:lnTo>
                <a:lnTo>
                  <a:pt x="655" y="660"/>
                </a:lnTo>
                <a:lnTo>
                  <a:pt x="658" y="667"/>
                </a:lnTo>
                <a:lnTo>
                  <a:pt x="660" y="672"/>
                </a:lnTo>
                <a:lnTo>
                  <a:pt x="663" y="677"/>
                </a:lnTo>
                <a:lnTo>
                  <a:pt x="666" y="681"/>
                </a:lnTo>
                <a:lnTo>
                  <a:pt x="672" y="683"/>
                </a:lnTo>
                <a:lnTo>
                  <a:pt x="677" y="684"/>
                </a:lnTo>
                <a:lnTo>
                  <a:pt x="687" y="684"/>
                </a:lnTo>
                <a:lnTo>
                  <a:pt x="697" y="684"/>
                </a:lnTo>
                <a:lnTo>
                  <a:pt x="703" y="684"/>
                </a:lnTo>
                <a:lnTo>
                  <a:pt x="708" y="685"/>
                </a:lnTo>
                <a:lnTo>
                  <a:pt x="714" y="687"/>
                </a:lnTo>
                <a:lnTo>
                  <a:pt x="720" y="689"/>
                </a:lnTo>
                <a:lnTo>
                  <a:pt x="726" y="692"/>
                </a:lnTo>
                <a:lnTo>
                  <a:pt x="732" y="696"/>
                </a:lnTo>
                <a:lnTo>
                  <a:pt x="738" y="701"/>
                </a:lnTo>
                <a:lnTo>
                  <a:pt x="743" y="706"/>
                </a:lnTo>
                <a:lnTo>
                  <a:pt x="749" y="712"/>
                </a:lnTo>
                <a:lnTo>
                  <a:pt x="754" y="717"/>
                </a:lnTo>
                <a:lnTo>
                  <a:pt x="759" y="724"/>
                </a:lnTo>
                <a:lnTo>
                  <a:pt x="763" y="731"/>
                </a:lnTo>
                <a:lnTo>
                  <a:pt x="765" y="738"/>
                </a:lnTo>
                <a:lnTo>
                  <a:pt x="769" y="746"/>
                </a:lnTo>
                <a:lnTo>
                  <a:pt x="770" y="756"/>
                </a:lnTo>
                <a:lnTo>
                  <a:pt x="771" y="765"/>
                </a:lnTo>
                <a:lnTo>
                  <a:pt x="770" y="773"/>
                </a:lnTo>
                <a:lnTo>
                  <a:pt x="769" y="779"/>
                </a:lnTo>
                <a:lnTo>
                  <a:pt x="766" y="784"/>
                </a:lnTo>
                <a:lnTo>
                  <a:pt x="764" y="787"/>
                </a:lnTo>
                <a:lnTo>
                  <a:pt x="761" y="790"/>
                </a:lnTo>
                <a:lnTo>
                  <a:pt x="759" y="794"/>
                </a:lnTo>
                <a:lnTo>
                  <a:pt x="758" y="797"/>
                </a:lnTo>
                <a:lnTo>
                  <a:pt x="758" y="801"/>
                </a:lnTo>
                <a:lnTo>
                  <a:pt x="758" y="809"/>
                </a:lnTo>
                <a:lnTo>
                  <a:pt x="759" y="818"/>
                </a:lnTo>
                <a:lnTo>
                  <a:pt x="760" y="825"/>
                </a:lnTo>
                <a:lnTo>
                  <a:pt x="761" y="831"/>
                </a:lnTo>
                <a:lnTo>
                  <a:pt x="765" y="844"/>
                </a:lnTo>
                <a:lnTo>
                  <a:pt x="771" y="856"/>
                </a:lnTo>
                <a:lnTo>
                  <a:pt x="774" y="866"/>
                </a:lnTo>
                <a:lnTo>
                  <a:pt x="777" y="875"/>
                </a:lnTo>
                <a:lnTo>
                  <a:pt x="772" y="882"/>
                </a:lnTo>
                <a:lnTo>
                  <a:pt x="769" y="889"/>
                </a:lnTo>
                <a:lnTo>
                  <a:pt x="765" y="897"/>
                </a:lnTo>
                <a:lnTo>
                  <a:pt x="762" y="904"/>
                </a:lnTo>
                <a:lnTo>
                  <a:pt x="760" y="912"/>
                </a:lnTo>
                <a:lnTo>
                  <a:pt x="759" y="922"/>
                </a:lnTo>
                <a:lnTo>
                  <a:pt x="758" y="932"/>
                </a:lnTo>
                <a:lnTo>
                  <a:pt x="758" y="943"/>
                </a:lnTo>
                <a:lnTo>
                  <a:pt x="758" y="956"/>
                </a:lnTo>
                <a:lnTo>
                  <a:pt x="760" y="967"/>
                </a:lnTo>
                <a:lnTo>
                  <a:pt x="762" y="978"/>
                </a:lnTo>
                <a:lnTo>
                  <a:pt x="765" y="986"/>
                </a:lnTo>
                <a:lnTo>
                  <a:pt x="770" y="994"/>
                </a:lnTo>
                <a:lnTo>
                  <a:pt x="774" y="1000"/>
                </a:lnTo>
                <a:lnTo>
                  <a:pt x="778" y="1006"/>
                </a:lnTo>
                <a:lnTo>
                  <a:pt x="784" y="1011"/>
                </a:lnTo>
                <a:lnTo>
                  <a:pt x="775" y="1026"/>
                </a:lnTo>
                <a:lnTo>
                  <a:pt x="769" y="1041"/>
                </a:lnTo>
                <a:lnTo>
                  <a:pt x="763" y="1054"/>
                </a:lnTo>
                <a:lnTo>
                  <a:pt x="759" y="1067"/>
                </a:lnTo>
                <a:lnTo>
                  <a:pt x="753" y="1080"/>
                </a:lnTo>
                <a:lnTo>
                  <a:pt x="747" y="1095"/>
                </a:lnTo>
                <a:lnTo>
                  <a:pt x="737" y="1110"/>
                </a:lnTo>
                <a:lnTo>
                  <a:pt x="723" y="1128"/>
                </a:lnTo>
                <a:lnTo>
                  <a:pt x="691" y="1122"/>
                </a:lnTo>
                <a:lnTo>
                  <a:pt x="681" y="1121"/>
                </a:lnTo>
                <a:lnTo>
                  <a:pt x="673" y="1119"/>
                </a:lnTo>
                <a:lnTo>
                  <a:pt x="665" y="1116"/>
                </a:lnTo>
                <a:lnTo>
                  <a:pt x="659" y="1113"/>
                </a:lnTo>
                <a:lnTo>
                  <a:pt x="653" y="1108"/>
                </a:lnTo>
                <a:lnTo>
                  <a:pt x="648" y="1103"/>
                </a:lnTo>
                <a:lnTo>
                  <a:pt x="642" y="1098"/>
                </a:lnTo>
                <a:lnTo>
                  <a:pt x="638" y="1092"/>
                </a:lnTo>
                <a:lnTo>
                  <a:pt x="627" y="1079"/>
                </a:lnTo>
                <a:lnTo>
                  <a:pt x="616" y="1067"/>
                </a:lnTo>
                <a:lnTo>
                  <a:pt x="609" y="1061"/>
                </a:lnTo>
                <a:lnTo>
                  <a:pt x="602" y="1056"/>
                </a:lnTo>
                <a:lnTo>
                  <a:pt x="594" y="1052"/>
                </a:lnTo>
                <a:lnTo>
                  <a:pt x="584" y="1048"/>
                </a:lnTo>
                <a:lnTo>
                  <a:pt x="554" y="1038"/>
                </a:lnTo>
                <a:lnTo>
                  <a:pt x="507" y="1018"/>
                </a:lnTo>
                <a:lnTo>
                  <a:pt x="483" y="1008"/>
                </a:lnTo>
                <a:lnTo>
                  <a:pt x="463" y="998"/>
                </a:lnTo>
                <a:lnTo>
                  <a:pt x="456" y="993"/>
                </a:lnTo>
                <a:lnTo>
                  <a:pt x="450" y="988"/>
                </a:lnTo>
                <a:lnTo>
                  <a:pt x="446" y="984"/>
                </a:lnTo>
                <a:lnTo>
                  <a:pt x="445" y="980"/>
                </a:lnTo>
                <a:lnTo>
                  <a:pt x="436" y="975"/>
                </a:lnTo>
                <a:lnTo>
                  <a:pt x="425" y="967"/>
                </a:lnTo>
                <a:lnTo>
                  <a:pt x="413" y="956"/>
                </a:lnTo>
                <a:lnTo>
                  <a:pt x="398" y="944"/>
                </a:lnTo>
                <a:lnTo>
                  <a:pt x="383" y="931"/>
                </a:lnTo>
                <a:lnTo>
                  <a:pt x="367" y="916"/>
                </a:lnTo>
                <a:lnTo>
                  <a:pt x="349" y="904"/>
                </a:lnTo>
                <a:lnTo>
                  <a:pt x="331" y="894"/>
                </a:lnTo>
                <a:lnTo>
                  <a:pt x="326" y="890"/>
                </a:lnTo>
                <a:lnTo>
                  <a:pt x="323" y="886"/>
                </a:lnTo>
                <a:lnTo>
                  <a:pt x="319" y="882"/>
                </a:lnTo>
                <a:lnTo>
                  <a:pt x="318" y="877"/>
                </a:lnTo>
                <a:lnTo>
                  <a:pt x="318" y="872"/>
                </a:lnTo>
                <a:lnTo>
                  <a:pt x="318" y="867"/>
                </a:lnTo>
                <a:lnTo>
                  <a:pt x="319" y="860"/>
                </a:lnTo>
                <a:lnTo>
                  <a:pt x="321" y="854"/>
                </a:lnTo>
                <a:lnTo>
                  <a:pt x="324" y="842"/>
                </a:lnTo>
                <a:lnTo>
                  <a:pt x="327" y="829"/>
                </a:lnTo>
                <a:lnTo>
                  <a:pt x="328" y="822"/>
                </a:lnTo>
                <a:lnTo>
                  <a:pt x="328" y="815"/>
                </a:lnTo>
                <a:lnTo>
                  <a:pt x="327" y="808"/>
                </a:lnTo>
                <a:lnTo>
                  <a:pt x="325" y="801"/>
                </a:lnTo>
                <a:lnTo>
                  <a:pt x="318" y="795"/>
                </a:lnTo>
                <a:lnTo>
                  <a:pt x="310" y="789"/>
                </a:lnTo>
                <a:lnTo>
                  <a:pt x="300" y="784"/>
                </a:lnTo>
                <a:lnTo>
                  <a:pt x="290" y="778"/>
                </a:lnTo>
                <a:lnTo>
                  <a:pt x="279" y="772"/>
                </a:lnTo>
                <a:lnTo>
                  <a:pt x="270" y="765"/>
                </a:lnTo>
                <a:lnTo>
                  <a:pt x="266" y="761"/>
                </a:lnTo>
                <a:lnTo>
                  <a:pt x="263" y="757"/>
                </a:lnTo>
                <a:lnTo>
                  <a:pt x="260" y="751"/>
                </a:lnTo>
                <a:lnTo>
                  <a:pt x="259" y="745"/>
                </a:lnTo>
                <a:lnTo>
                  <a:pt x="255" y="735"/>
                </a:lnTo>
                <a:lnTo>
                  <a:pt x="251" y="725"/>
                </a:lnTo>
                <a:lnTo>
                  <a:pt x="249" y="716"/>
                </a:lnTo>
                <a:lnTo>
                  <a:pt x="248" y="707"/>
                </a:lnTo>
                <a:lnTo>
                  <a:pt x="246" y="697"/>
                </a:lnTo>
                <a:lnTo>
                  <a:pt x="243" y="689"/>
                </a:lnTo>
                <a:lnTo>
                  <a:pt x="238" y="681"/>
                </a:lnTo>
                <a:lnTo>
                  <a:pt x="232" y="672"/>
                </a:lnTo>
                <a:lnTo>
                  <a:pt x="211" y="635"/>
                </a:lnTo>
                <a:lnTo>
                  <a:pt x="192" y="603"/>
                </a:lnTo>
                <a:lnTo>
                  <a:pt x="174" y="570"/>
                </a:lnTo>
                <a:lnTo>
                  <a:pt x="153" y="530"/>
                </a:lnTo>
                <a:lnTo>
                  <a:pt x="146" y="521"/>
                </a:lnTo>
                <a:lnTo>
                  <a:pt x="138" y="513"/>
                </a:lnTo>
                <a:lnTo>
                  <a:pt x="134" y="508"/>
                </a:lnTo>
                <a:lnTo>
                  <a:pt x="129" y="502"/>
                </a:lnTo>
                <a:lnTo>
                  <a:pt x="124" y="496"/>
                </a:lnTo>
                <a:lnTo>
                  <a:pt x="120" y="487"/>
                </a:lnTo>
                <a:lnTo>
                  <a:pt x="116" y="478"/>
                </a:lnTo>
                <a:lnTo>
                  <a:pt x="113" y="467"/>
                </a:lnTo>
                <a:lnTo>
                  <a:pt x="109" y="458"/>
                </a:lnTo>
                <a:lnTo>
                  <a:pt x="103" y="448"/>
                </a:lnTo>
                <a:lnTo>
                  <a:pt x="98" y="440"/>
                </a:lnTo>
                <a:lnTo>
                  <a:pt x="90" y="432"/>
                </a:lnTo>
                <a:lnTo>
                  <a:pt x="82" y="425"/>
                </a:lnTo>
                <a:lnTo>
                  <a:pt x="72" y="419"/>
                </a:lnTo>
                <a:lnTo>
                  <a:pt x="52" y="411"/>
                </a:lnTo>
                <a:lnTo>
                  <a:pt x="31" y="403"/>
                </a:lnTo>
                <a:lnTo>
                  <a:pt x="26" y="400"/>
                </a:lnTo>
                <a:lnTo>
                  <a:pt x="22" y="397"/>
                </a:lnTo>
                <a:lnTo>
                  <a:pt x="17" y="393"/>
                </a:lnTo>
                <a:lnTo>
                  <a:pt x="13" y="389"/>
                </a:lnTo>
                <a:lnTo>
                  <a:pt x="9" y="384"/>
                </a:lnTo>
                <a:lnTo>
                  <a:pt x="5" y="378"/>
                </a:lnTo>
                <a:lnTo>
                  <a:pt x="2" y="372"/>
                </a:lnTo>
                <a:lnTo>
                  <a:pt x="0" y="363"/>
                </a:lnTo>
                <a:lnTo>
                  <a:pt x="20" y="345"/>
                </a:lnTo>
                <a:lnTo>
                  <a:pt x="15" y="331"/>
                </a:lnTo>
                <a:lnTo>
                  <a:pt x="14" y="317"/>
                </a:lnTo>
                <a:lnTo>
                  <a:pt x="13" y="301"/>
                </a:lnTo>
                <a:lnTo>
                  <a:pt x="13" y="284"/>
                </a:lnTo>
                <a:lnTo>
                  <a:pt x="13" y="276"/>
                </a:lnTo>
                <a:lnTo>
                  <a:pt x="14" y="270"/>
                </a:lnTo>
                <a:lnTo>
                  <a:pt x="16" y="264"/>
                </a:lnTo>
                <a:lnTo>
                  <a:pt x="19" y="259"/>
                </a:lnTo>
                <a:lnTo>
                  <a:pt x="21" y="254"/>
                </a:lnTo>
                <a:lnTo>
                  <a:pt x="24" y="249"/>
                </a:lnTo>
                <a:lnTo>
                  <a:pt x="28" y="246"/>
                </a:lnTo>
                <a:lnTo>
                  <a:pt x="32" y="243"/>
                </a:lnTo>
                <a:lnTo>
                  <a:pt x="41" y="237"/>
                </a:lnTo>
                <a:lnTo>
                  <a:pt x="49" y="231"/>
                </a:lnTo>
                <a:lnTo>
                  <a:pt x="58" y="224"/>
                </a:lnTo>
                <a:lnTo>
                  <a:pt x="66" y="216"/>
                </a:lnTo>
                <a:lnTo>
                  <a:pt x="72" y="222"/>
                </a:lnTo>
                <a:lnTo>
                  <a:pt x="79" y="228"/>
                </a:lnTo>
                <a:lnTo>
                  <a:pt x="83" y="235"/>
                </a:lnTo>
                <a:lnTo>
                  <a:pt x="86" y="240"/>
                </a:lnTo>
                <a:lnTo>
                  <a:pt x="86" y="252"/>
                </a:lnTo>
                <a:lnTo>
                  <a:pt x="86" y="265"/>
                </a:lnTo>
                <a:lnTo>
                  <a:pt x="95" y="272"/>
                </a:lnTo>
                <a:lnTo>
                  <a:pt x="116" y="287"/>
                </a:lnTo>
                <a:lnTo>
                  <a:pt x="128" y="294"/>
                </a:lnTo>
                <a:lnTo>
                  <a:pt x="139" y="301"/>
                </a:lnTo>
                <a:lnTo>
                  <a:pt x="148" y="306"/>
                </a:lnTo>
                <a:lnTo>
                  <a:pt x="153" y="308"/>
                </a:lnTo>
                <a:lnTo>
                  <a:pt x="158" y="307"/>
                </a:lnTo>
                <a:lnTo>
                  <a:pt x="164" y="303"/>
                </a:lnTo>
                <a:lnTo>
                  <a:pt x="169" y="298"/>
                </a:lnTo>
                <a:lnTo>
                  <a:pt x="174" y="291"/>
                </a:lnTo>
                <a:lnTo>
                  <a:pt x="179" y="284"/>
                </a:lnTo>
                <a:lnTo>
                  <a:pt x="182" y="277"/>
                </a:lnTo>
                <a:lnTo>
                  <a:pt x="184" y="271"/>
                </a:lnTo>
                <a:lnTo>
                  <a:pt x="185" y="265"/>
                </a:lnTo>
                <a:lnTo>
                  <a:pt x="187" y="259"/>
                </a:lnTo>
                <a:lnTo>
                  <a:pt x="188" y="251"/>
                </a:lnTo>
                <a:lnTo>
                  <a:pt x="190" y="244"/>
                </a:lnTo>
                <a:lnTo>
                  <a:pt x="193" y="238"/>
                </a:lnTo>
                <a:lnTo>
                  <a:pt x="201" y="225"/>
                </a:lnTo>
                <a:lnTo>
                  <a:pt x="212" y="213"/>
                </a:lnTo>
                <a:lnTo>
                  <a:pt x="222" y="202"/>
                </a:lnTo>
                <a:lnTo>
                  <a:pt x="234" y="192"/>
                </a:lnTo>
                <a:lnTo>
                  <a:pt x="244" y="184"/>
                </a:lnTo>
                <a:lnTo>
                  <a:pt x="252" y="179"/>
                </a:lnTo>
                <a:lnTo>
                  <a:pt x="270" y="170"/>
                </a:lnTo>
                <a:lnTo>
                  <a:pt x="289" y="160"/>
                </a:lnTo>
                <a:lnTo>
                  <a:pt x="306" y="150"/>
                </a:lnTo>
                <a:lnTo>
                  <a:pt x="323" y="138"/>
                </a:lnTo>
                <a:lnTo>
                  <a:pt x="330" y="133"/>
                </a:lnTo>
                <a:lnTo>
                  <a:pt x="337" y="126"/>
                </a:lnTo>
                <a:lnTo>
                  <a:pt x="344" y="120"/>
                </a:lnTo>
                <a:lnTo>
                  <a:pt x="348" y="113"/>
                </a:lnTo>
                <a:lnTo>
                  <a:pt x="352" y="106"/>
                </a:lnTo>
                <a:lnTo>
                  <a:pt x="356" y="98"/>
                </a:lnTo>
                <a:lnTo>
                  <a:pt x="358" y="90"/>
                </a:lnTo>
                <a:lnTo>
                  <a:pt x="358" y="80"/>
                </a:lnTo>
                <a:lnTo>
                  <a:pt x="357" y="70"/>
                </a:lnTo>
                <a:lnTo>
                  <a:pt x="355" y="58"/>
                </a:lnTo>
                <a:lnTo>
                  <a:pt x="350" y="46"/>
                </a:lnTo>
                <a:lnTo>
                  <a:pt x="345" y="34"/>
                </a:lnTo>
                <a:lnTo>
                  <a:pt x="336" y="12"/>
                </a:lnTo>
                <a:lnTo>
                  <a:pt x="331" y="0"/>
                </a:lnTo>
                <a:lnTo>
                  <a:pt x="347" y="5"/>
                </a:lnTo>
                <a:lnTo>
                  <a:pt x="360" y="11"/>
                </a:lnTo>
                <a:lnTo>
                  <a:pt x="374" y="18"/>
                </a:lnTo>
                <a:lnTo>
                  <a:pt x="386" y="26"/>
                </a:lnTo>
                <a:lnTo>
                  <a:pt x="398" y="35"/>
                </a:lnTo>
                <a:lnTo>
                  <a:pt x="411" y="44"/>
                </a:lnTo>
                <a:lnTo>
                  <a:pt x="422" y="53"/>
                </a:lnTo>
                <a:lnTo>
                  <a:pt x="431" y="62"/>
                </a:lnTo>
                <a:lnTo>
                  <a:pt x="438" y="68"/>
                </a:lnTo>
                <a:lnTo>
                  <a:pt x="445" y="75"/>
                </a:lnTo>
                <a:lnTo>
                  <a:pt x="451" y="82"/>
                </a:lnTo>
                <a:lnTo>
                  <a:pt x="457" y="91"/>
                </a:lnTo>
                <a:lnTo>
                  <a:pt x="467" y="107"/>
                </a:lnTo>
                <a:lnTo>
                  <a:pt x="476" y="123"/>
                </a:lnTo>
                <a:lnTo>
                  <a:pt x="481" y="130"/>
                </a:lnTo>
                <a:lnTo>
                  <a:pt x="486" y="137"/>
                </a:lnTo>
                <a:lnTo>
                  <a:pt x="493" y="144"/>
                </a:lnTo>
                <a:lnTo>
                  <a:pt x="498" y="150"/>
                </a:lnTo>
                <a:lnTo>
                  <a:pt x="506" y="154"/>
                </a:lnTo>
                <a:lnTo>
                  <a:pt x="513" y="158"/>
                </a:lnTo>
                <a:lnTo>
                  <a:pt x="521" y="160"/>
                </a:lnTo>
                <a:lnTo>
                  <a:pt x="531" y="161"/>
                </a:lnTo>
                <a:lnTo>
                  <a:pt x="541" y="160"/>
                </a:lnTo>
                <a:lnTo>
                  <a:pt x="551" y="159"/>
                </a:lnTo>
                <a:lnTo>
                  <a:pt x="561" y="157"/>
                </a:lnTo>
                <a:lnTo>
                  <a:pt x="571" y="155"/>
                </a:lnTo>
                <a:lnTo>
                  <a:pt x="581" y="152"/>
                </a:lnTo>
                <a:lnTo>
                  <a:pt x="591" y="150"/>
                </a:lnTo>
                <a:lnTo>
                  <a:pt x="601" y="149"/>
                </a:lnTo>
                <a:lnTo>
                  <a:pt x="610" y="148"/>
                </a:lnTo>
                <a:lnTo>
                  <a:pt x="617" y="149"/>
                </a:lnTo>
                <a:lnTo>
                  <a:pt x="624" y="151"/>
                </a:lnTo>
                <a:lnTo>
                  <a:pt x="628" y="151"/>
                </a:lnTo>
                <a:lnTo>
                  <a:pt x="631" y="151"/>
                </a:lnTo>
                <a:lnTo>
                  <a:pt x="635" y="150"/>
                </a:lnTo>
                <a:lnTo>
                  <a:pt x="638" y="148"/>
                </a:lnTo>
                <a:lnTo>
                  <a:pt x="640" y="156"/>
                </a:lnTo>
                <a:lnTo>
                  <a:pt x="648" y="167"/>
                </a:lnTo>
                <a:lnTo>
                  <a:pt x="654" y="177"/>
                </a:lnTo>
                <a:lnTo>
                  <a:pt x="658" y="185"/>
                </a:lnTo>
                <a:lnTo>
                  <a:pt x="657" y="188"/>
                </a:lnTo>
                <a:lnTo>
                  <a:pt x="655" y="191"/>
                </a:lnTo>
                <a:lnTo>
                  <a:pt x="654" y="193"/>
                </a:lnTo>
                <a:lnTo>
                  <a:pt x="652" y="195"/>
                </a:lnTo>
                <a:lnTo>
                  <a:pt x="647" y="200"/>
                </a:lnTo>
                <a:lnTo>
                  <a:pt x="641" y="203"/>
                </a:lnTo>
                <a:lnTo>
                  <a:pt x="635" y="206"/>
                </a:lnTo>
                <a:lnTo>
                  <a:pt x="629" y="209"/>
                </a:lnTo>
                <a:lnTo>
                  <a:pt x="627" y="210"/>
                </a:lnTo>
                <a:lnTo>
                  <a:pt x="626" y="212"/>
                </a:lnTo>
                <a:lnTo>
                  <a:pt x="625" y="214"/>
                </a:lnTo>
                <a:lnTo>
                  <a:pt x="624" y="216"/>
                </a:lnTo>
                <a:lnTo>
                  <a:pt x="625" y="226"/>
                </a:lnTo>
                <a:lnTo>
                  <a:pt x="626" y="234"/>
                </a:lnTo>
                <a:lnTo>
                  <a:pt x="627" y="240"/>
                </a:lnTo>
                <a:lnTo>
                  <a:pt x="629" y="244"/>
                </a:lnTo>
                <a:lnTo>
                  <a:pt x="636" y="251"/>
                </a:lnTo>
                <a:lnTo>
                  <a:pt x="644" y="25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056" name="Freeform 8"/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2271720" y="3169444"/>
            <a:ext cx="261937" cy="847725"/>
          </a:xfrm>
          <a:custGeom>
            <a:avLst/>
            <a:gdLst/>
            <a:ahLst/>
            <a:cxnLst>
              <a:cxn ang="0">
                <a:pos x="418" y="2021"/>
              </a:cxn>
              <a:cxn ang="0">
                <a:pos x="342" y="1955"/>
              </a:cxn>
              <a:cxn ang="0">
                <a:pos x="339" y="1893"/>
              </a:cxn>
              <a:cxn ang="0">
                <a:pos x="345" y="1843"/>
              </a:cxn>
              <a:cxn ang="0">
                <a:pos x="362" y="1791"/>
              </a:cxn>
              <a:cxn ang="0">
                <a:pos x="354" y="1740"/>
              </a:cxn>
              <a:cxn ang="0">
                <a:pos x="332" y="1683"/>
              </a:cxn>
              <a:cxn ang="0">
                <a:pos x="303" y="1581"/>
              </a:cxn>
              <a:cxn ang="0">
                <a:pos x="226" y="1460"/>
              </a:cxn>
              <a:cxn ang="0">
                <a:pos x="206" y="1381"/>
              </a:cxn>
              <a:cxn ang="0">
                <a:pos x="217" y="1299"/>
              </a:cxn>
              <a:cxn ang="0">
                <a:pos x="208" y="1235"/>
              </a:cxn>
              <a:cxn ang="0">
                <a:pos x="185" y="1165"/>
              </a:cxn>
              <a:cxn ang="0">
                <a:pos x="211" y="1123"/>
              </a:cxn>
              <a:cxn ang="0">
                <a:pos x="195" y="1082"/>
              </a:cxn>
              <a:cxn ang="0">
                <a:pos x="211" y="1025"/>
              </a:cxn>
              <a:cxn ang="0">
                <a:pos x="210" y="993"/>
              </a:cxn>
              <a:cxn ang="0">
                <a:pos x="187" y="927"/>
              </a:cxn>
              <a:cxn ang="0">
                <a:pos x="136" y="852"/>
              </a:cxn>
              <a:cxn ang="0">
                <a:pos x="134" y="686"/>
              </a:cxn>
              <a:cxn ang="0">
                <a:pos x="183" y="584"/>
              </a:cxn>
              <a:cxn ang="0">
                <a:pos x="189" y="522"/>
              </a:cxn>
              <a:cxn ang="0">
                <a:pos x="160" y="459"/>
              </a:cxn>
              <a:cxn ang="0">
                <a:pos x="182" y="406"/>
              </a:cxn>
              <a:cxn ang="0">
                <a:pos x="229" y="346"/>
              </a:cxn>
              <a:cxn ang="0">
                <a:pos x="200" y="308"/>
              </a:cxn>
              <a:cxn ang="0">
                <a:pos x="148" y="222"/>
              </a:cxn>
              <a:cxn ang="0">
                <a:pos x="129" y="125"/>
              </a:cxn>
              <a:cxn ang="0">
                <a:pos x="91" y="37"/>
              </a:cxn>
              <a:cxn ang="0">
                <a:pos x="0" y="44"/>
              </a:cxn>
              <a:cxn ang="0">
                <a:pos x="31" y="200"/>
              </a:cxn>
              <a:cxn ang="0">
                <a:pos x="42" y="304"/>
              </a:cxn>
              <a:cxn ang="0">
                <a:pos x="27" y="374"/>
              </a:cxn>
              <a:cxn ang="0">
                <a:pos x="52" y="524"/>
              </a:cxn>
              <a:cxn ang="0">
                <a:pos x="46" y="649"/>
              </a:cxn>
              <a:cxn ang="0">
                <a:pos x="36" y="718"/>
              </a:cxn>
              <a:cxn ang="0">
                <a:pos x="52" y="767"/>
              </a:cxn>
              <a:cxn ang="0">
                <a:pos x="64" y="871"/>
              </a:cxn>
              <a:cxn ang="0">
                <a:pos x="81" y="913"/>
              </a:cxn>
              <a:cxn ang="0">
                <a:pos x="73" y="1045"/>
              </a:cxn>
              <a:cxn ang="0">
                <a:pos x="63" y="1152"/>
              </a:cxn>
              <a:cxn ang="0">
                <a:pos x="40" y="1188"/>
              </a:cxn>
              <a:cxn ang="0">
                <a:pos x="60" y="1258"/>
              </a:cxn>
              <a:cxn ang="0">
                <a:pos x="106" y="1343"/>
              </a:cxn>
              <a:cxn ang="0">
                <a:pos x="93" y="1396"/>
              </a:cxn>
              <a:cxn ang="0">
                <a:pos x="106" y="1449"/>
              </a:cxn>
              <a:cxn ang="0">
                <a:pos x="164" y="1467"/>
              </a:cxn>
              <a:cxn ang="0">
                <a:pos x="209" y="1621"/>
              </a:cxn>
              <a:cxn ang="0">
                <a:pos x="227" y="1709"/>
              </a:cxn>
              <a:cxn ang="0">
                <a:pos x="151" y="1749"/>
              </a:cxn>
              <a:cxn ang="0">
                <a:pos x="207" y="1776"/>
              </a:cxn>
              <a:cxn ang="0">
                <a:pos x="250" y="1820"/>
              </a:cxn>
              <a:cxn ang="0">
                <a:pos x="275" y="1871"/>
              </a:cxn>
              <a:cxn ang="0">
                <a:pos x="308" y="1961"/>
              </a:cxn>
              <a:cxn ang="0">
                <a:pos x="359" y="2013"/>
              </a:cxn>
              <a:cxn ang="0">
                <a:pos x="393" y="2048"/>
              </a:cxn>
              <a:cxn ang="0">
                <a:pos x="424" y="2074"/>
              </a:cxn>
              <a:cxn ang="0">
                <a:pos x="465" y="2110"/>
              </a:cxn>
              <a:cxn ang="0">
                <a:pos x="519" y="2140"/>
              </a:cxn>
              <a:cxn ang="0">
                <a:pos x="538" y="2151"/>
              </a:cxn>
              <a:cxn ang="0">
                <a:pos x="586" y="2098"/>
              </a:cxn>
              <a:cxn ang="0">
                <a:pos x="591" y="2071"/>
              </a:cxn>
            </a:cxnLst>
            <a:rect l="0" t="0" r="r" b="b"/>
            <a:pathLst>
              <a:path w="598" h="2158">
                <a:moveTo>
                  <a:pt x="491" y="2046"/>
                </a:moveTo>
                <a:lnTo>
                  <a:pt x="480" y="2045"/>
                </a:lnTo>
                <a:lnTo>
                  <a:pt x="469" y="2043"/>
                </a:lnTo>
                <a:lnTo>
                  <a:pt x="456" y="2039"/>
                </a:lnTo>
                <a:lnTo>
                  <a:pt x="444" y="2034"/>
                </a:lnTo>
                <a:lnTo>
                  <a:pt x="431" y="2028"/>
                </a:lnTo>
                <a:lnTo>
                  <a:pt x="418" y="2021"/>
                </a:lnTo>
                <a:lnTo>
                  <a:pt x="405" y="2013"/>
                </a:lnTo>
                <a:lnTo>
                  <a:pt x="392" y="2003"/>
                </a:lnTo>
                <a:lnTo>
                  <a:pt x="379" y="1994"/>
                </a:lnTo>
                <a:lnTo>
                  <a:pt x="368" y="1985"/>
                </a:lnTo>
                <a:lnTo>
                  <a:pt x="357" y="1976"/>
                </a:lnTo>
                <a:lnTo>
                  <a:pt x="349" y="1966"/>
                </a:lnTo>
                <a:lnTo>
                  <a:pt x="342" y="1955"/>
                </a:lnTo>
                <a:lnTo>
                  <a:pt x="337" y="1946"/>
                </a:lnTo>
                <a:lnTo>
                  <a:pt x="333" y="1937"/>
                </a:lnTo>
                <a:lnTo>
                  <a:pt x="332" y="1929"/>
                </a:lnTo>
                <a:lnTo>
                  <a:pt x="332" y="1919"/>
                </a:lnTo>
                <a:lnTo>
                  <a:pt x="333" y="1909"/>
                </a:lnTo>
                <a:lnTo>
                  <a:pt x="336" y="1900"/>
                </a:lnTo>
                <a:lnTo>
                  <a:pt x="339" y="1893"/>
                </a:lnTo>
                <a:lnTo>
                  <a:pt x="341" y="1887"/>
                </a:lnTo>
                <a:lnTo>
                  <a:pt x="343" y="1880"/>
                </a:lnTo>
                <a:lnTo>
                  <a:pt x="344" y="1874"/>
                </a:lnTo>
                <a:lnTo>
                  <a:pt x="345" y="1868"/>
                </a:lnTo>
                <a:lnTo>
                  <a:pt x="345" y="1863"/>
                </a:lnTo>
                <a:lnTo>
                  <a:pt x="345" y="1855"/>
                </a:lnTo>
                <a:lnTo>
                  <a:pt x="345" y="1843"/>
                </a:lnTo>
                <a:lnTo>
                  <a:pt x="345" y="1824"/>
                </a:lnTo>
                <a:lnTo>
                  <a:pt x="345" y="1818"/>
                </a:lnTo>
                <a:lnTo>
                  <a:pt x="348" y="1812"/>
                </a:lnTo>
                <a:lnTo>
                  <a:pt x="351" y="1807"/>
                </a:lnTo>
                <a:lnTo>
                  <a:pt x="355" y="1802"/>
                </a:lnTo>
                <a:lnTo>
                  <a:pt x="359" y="1797"/>
                </a:lnTo>
                <a:lnTo>
                  <a:pt x="362" y="1791"/>
                </a:lnTo>
                <a:lnTo>
                  <a:pt x="364" y="1783"/>
                </a:lnTo>
                <a:lnTo>
                  <a:pt x="365" y="1775"/>
                </a:lnTo>
                <a:lnTo>
                  <a:pt x="364" y="1768"/>
                </a:lnTo>
                <a:lnTo>
                  <a:pt x="363" y="1762"/>
                </a:lnTo>
                <a:lnTo>
                  <a:pt x="362" y="1756"/>
                </a:lnTo>
                <a:lnTo>
                  <a:pt x="360" y="1750"/>
                </a:lnTo>
                <a:lnTo>
                  <a:pt x="354" y="1740"/>
                </a:lnTo>
                <a:lnTo>
                  <a:pt x="349" y="1728"/>
                </a:lnTo>
                <a:lnTo>
                  <a:pt x="342" y="1718"/>
                </a:lnTo>
                <a:lnTo>
                  <a:pt x="337" y="1707"/>
                </a:lnTo>
                <a:lnTo>
                  <a:pt x="334" y="1702"/>
                </a:lnTo>
                <a:lnTo>
                  <a:pt x="333" y="1696"/>
                </a:lnTo>
                <a:lnTo>
                  <a:pt x="332" y="1690"/>
                </a:lnTo>
                <a:lnTo>
                  <a:pt x="332" y="1683"/>
                </a:lnTo>
                <a:lnTo>
                  <a:pt x="331" y="1670"/>
                </a:lnTo>
                <a:lnTo>
                  <a:pt x="330" y="1659"/>
                </a:lnTo>
                <a:lnTo>
                  <a:pt x="329" y="1648"/>
                </a:lnTo>
                <a:lnTo>
                  <a:pt x="327" y="1638"/>
                </a:lnTo>
                <a:lnTo>
                  <a:pt x="320" y="1617"/>
                </a:lnTo>
                <a:lnTo>
                  <a:pt x="312" y="1599"/>
                </a:lnTo>
                <a:lnTo>
                  <a:pt x="303" y="1581"/>
                </a:lnTo>
                <a:lnTo>
                  <a:pt x="292" y="1563"/>
                </a:lnTo>
                <a:lnTo>
                  <a:pt x="281" y="1547"/>
                </a:lnTo>
                <a:lnTo>
                  <a:pt x="269" y="1530"/>
                </a:lnTo>
                <a:lnTo>
                  <a:pt x="256" y="1514"/>
                </a:lnTo>
                <a:lnTo>
                  <a:pt x="245" y="1496"/>
                </a:lnTo>
                <a:lnTo>
                  <a:pt x="235" y="1478"/>
                </a:lnTo>
                <a:lnTo>
                  <a:pt x="226" y="1460"/>
                </a:lnTo>
                <a:lnTo>
                  <a:pt x="221" y="1449"/>
                </a:lnTo>
                <a:lnTo>
                  <a:pt x="217" y="1439"/>
                </a:lnTo>
                <a:lnTo>
                  <a:pt x="214" y="1428"/>
                </a:lnTo>
                <a:lnTo>
                  <a:pt x="210" y="1417"/>
                </a:lnTo>
                <a:lnTo>
                  <a:pt x="208" y="1406"/>
                </a:lnTo>
                <a:lnTo>
                  <a:pt x="207" y="1393"/>
                </a:lnTo>
                <a:lnTo>
                  <a:pt x="206" y="1381"/>
                </a:lnTo>
                <a:lnTo>
                  <a:pt x="206" y="1368"/>
                </a:lnTo>
                <a:lnTo>
                  <a:pt x="206" y="1355"/>
                </a:lnTo>
                <a:lnTo>
                  <a:pt x="207" y="1342"/>
                </a:lnTo>
                <a:lnTo>
                  <a:pt x="209" y="1331"/>
                </a:lnTo>
                <a:lnTo>
                  <a:pt x="213" y="1320"/>
                </a:lnTo>
                <a:lnTo>
                  <a:pt x="215" y="1309"/>
                </a:lnTo>
                <a:lnTo>
                  <a:pt x="217" y="1299"/>
                </a:lnTo>
                <a:lnTo>
                  <a:pt x="218" y="1287"/>
                </a:lnTo>
                <a:lnTo>
                  <a:pt x="219" y="1276"/>
                </a:lnTo>
                <a:lnTo>
                  <a:pt x="218" y="1268"/>
                </a:lnTo>
                <a:lnTo>
                  <a:pt x="217" y="1261"/>
                </a:lnTo>
                <a:lnTo>
                  <a:pt x="216" y="1254"/>
                </a:lnTo>
                <a:lnTo>
                  <a:pt x="214" y="1248"/>
                </a:lnTo>
                <a:lnTo>
                  <a:pt x="208" y="1235"/>
                </a:lnTo>
                <a:lnTo>
                  <a:pt x="203" y="1223"/>
                </a:lnTo>
                <a:lnTo>
                  <a:pt x="196" y="1210"/>
                </a:lnTo>
                <a:lnTo>
                  <a:pt x="191" y="1197"/>
                </a:lnTo>
                <a:lnTo>
                  <a:pt x="188" y="1190"/>
                </a:lnTo>
                <a:lnTo>
                  <a:pt x="187" y="1183"/>
                </a:lnTo>
                <a:lnTo>
                  <a:pt x="186" y="1174"/>
                </a:lnTo>
                <a:lnTo>
                  <a:pt x="185" y="1165"/>
                </a:lnTo>
                <a:lnTo>
                  <a:pt x="186" y="1158"/>
                </a:lnTo>
                <a:lnTo>
                  <a:pt x="189" y="1152"/>
                </a:lnTo>
                <a:lnTo>
                  <a:pt x="194" y="1146"/>
                </a:lnTo>
                <a:lnTo>
                  <a:pt x="199" y="1141"/>
                </a:lnTo>
                <a:lnTo>
                  <a:pt x="204" y="1135"/>
                </a:lnTo>
                <a:lnTo>
                  <a:pt x="208" y="1129"/>
                </a:lnTo>
                <a:lnTo>
                  <a:pt x="211" y="1123"/>
                </a:lnTo>
                <a:lnTo>
                  <a:pt x="213" y="1115"/>
                </a:lnTo>
                <a:lnTo>
                  <a:pt x="211" y="1109"/>
                </a:lnTo>
                <a:lnTo>
                  <a:pt x="209" y="1103"/>
                </a:lnTo>
                <a:lnTo>
                  <a:pt x="206" y="1097"/>
                </a:lnTo>
                <a:lnTo>
                  <a:pt x="203" y="1092"/>
                </a:lnTo>
                <a:lnTo>
                  <a:pt x="198" y="1087"/>
                </a:lnTo>
                <a:lnTo>
                  <a:pt x="195" y="1082"/>
                </a:lnTo>
                <a:lnTo>
                  <a:pt x="193" y="1078"/>
                </a:lnTo>
                <a:lnTo>
                  <a:pt x="192" y="1073"/>
                </a:lnTo>
                <a:lnTo>
                  <a:pt x="195" y="1064"/>
                </a:lnTo>
                <a:lnTo>
                  <a:pt x="203" y="1049"/>
                </a:lnTo>
                <a:lnTo>
                  <a:pt x="206" y="1041"/>
                </a:lnTo>
                <a:lnTo>
                  <a:pt x="209" y="1033"/>
                </a:lnTo>
                <a:lnTo>
                  <a:pt x="211" y="1025"/>
                </a:lnTo>
                <a:lnTo>
                  <a:pt x="213" y="1018"/>
                </a:lnTo>
                <a:lnTo>
                  <a:pt x="203" y="1018"/>
                </a:lnTo>
                <a:lnTo>
                  <a:pt x="192" y="1018"/>
                </a:lnTo>
                <a:lnTo>
                  <a:pt x="198" y="1012"/>
                </a:lnTo>
                <a:lnTo>
                  <a:pt x="205" y="1003"/>
                </a:lnTo>
                <a:lnTo>
                  <a:pt x="207" y="998"/>
                </a:lnTo>
                <a:lnTo>
                  <a:pt x="210" y="993"/>
                </a:lnTo>
                <a:lnTo>
                  <a:pt x="211" y="987"/>
                </a:lnTo>
                <a:lnTo>
                  <a:pt x="213" y="980"/>
                </a:lnTo>
                <a:lnTo>
                  <a:pt x="211" y="970"/>
                </a:lnTo>
                <a:lnTo>
                  <a:pt x="208" y="961"/>
                </a:lnTo>
                <a:lnTo>
                  <a:pt x="205" y="951"/>
                </a:lnTo>
                <a:lnTo>
                  <a:pt x="199" y="943"/>
                </a:lnTo>
                <a:lnTo>
                  <a:pt x="187" y="927"/>
                </a:lnTo>
                <a:lnTo>
                  <a:pt x="172" y="910"/>
                </a:lnTo>
                <a:lnTo>
                  <a:pt x="165" y="902"/>
                </a:lnTo>
                <a:lnTo>
                  <a:pt x="158" y="892"/>
                </a:lnTo>
                <a:lnTo>
                  <a:pt x="151" y="883"/>
                </a:lnTo>
                <a:lnTo>
                  <a:pt x="144" y="874"/>
                </a:lnTo>
                <a:lnTo>
                  <a:pt x="140" y="863"/>
                </a:lnTo>
                <a:lnTo>
                  <a:pt x="136" y="852"/>
                </a:lnTo>
                <a:lnTo>
                  <a:pt x="134" y="839"/>
                </a:lnTo>
                <a:lnTo>
                  <a:pt x="132" y="826"/>
                </a:lnTo>
                <a:lnTo>
                  <a:pt x="132" y="794"/>
                </a:lnTo>
                <a:lnTo>
                  <a:pt x="132" y="766"/>
                </a:lnTo>
                <a:lnTo>
                  <a:pt x="132" y="736"/>
                </a:lnTo>
                <a:lnTo>
                  <a:pt x="132" y="697"/>
                </a:lnTo>
                <a:lnTo>
                  <a:pt x="134" y="686"/>
                </a:lnTo>
                <a:lnTo>
                  <a:pt x="135" y="675"/>
                </a:lnTo>
                <a:lnTo>
                  <a:pt x="138" y="665"/>
                </a:lnTo>
                <a:lnTo>
                  <a:pt x="141" y="655"/>
                </a:lnTo>
                <a:lnTo>
                  <a:pt x="151" y="637"/>
                </a:lnTo>
                <a:lnTo>
                  <a:pt x="162" y="619"/>
                </a:lnTo>
                <a:lnTo>
                  <a:pt x="173" y="602"/>
                </a:lnTo>
                <a:lnTo>
                  <a:pt x="183" y="584"/>
                </a:lnTo>
                <a:lnTo>
                  <a:pt x="186" y="575"/>
                </a:lnTo>
                <a:lnTo>
                  <a:pt x="189" y="564"/>
                </a:lnTo>
                <a:lnTo>
                  <a:pt x="192" y="554"/>
                </a:lnTo>
                <a:lnTo>
                  <a:pt x="192" y="543"/>
                </a:lnTo>
                <a:lnTo>
                  <a:pt x="192" y="535"/>
                </a:lnTo>
                <a:lnTo>
                  <a:pt x="191" y="528"/>
                </a:lnTo>
                <a:lnTo>
                  <a:pt x="189" y="522"/>
                </a:lnTo>
                <a:lnTo>
                  <a:pt x="187" y="516"/>
                </a:lnTo>
                <a:lnTo>
                  <a:pt x="182" y="504"/>
                </a:lnTo>
                <a:lnTo>
                  <a:pt x="175" y="493"/>
                </a:lnTo>
                <a:lnTo>
                  <a:pt x="170" y="483"/>
                </a:lnTo>
                <a:lnTo>
                  <a:pt x="164" y="472"/>
                </a:lnTo>
                <a:lnTo>
                  <a:pt x="162" y="466"/>
                </a:lnTo>
                <a:lnTo>
                  <a:pt x="160" y="459"/>
                </a:lnTo>
                <a:lnTo>
                  <a:pt x="160" y="451"/>
                </a:lnTo>
                <a:lnTo>
                  <a:pt x="159" y="444"/>
                </a:lnTo>
                <a:lnTo>
                  <a:pt x="160" y="436"/>
                </a:lnTo>
                <a:lnTo>
                  <a:pt x="162" y="429"/>
                </a:lnTo>
                <a:lnTo>
                  <a:pt x="165" y="423"/>
                </a:lnTo>
                <a:lnTo>
                  <a:pt x="171" y="417"/>
                </a:lnTo>
                <a:lnTo>
                  <a:pt x="182" y="406"/>
                </a:lnTo>
                <a:lnTo>
                  <a:pt x="195" y="394"/>
                </a:lnTo>
                <a:lnTo>
                  <a:pt x="203" y="388"/>
                </a:lnTo>
                <a:lnTo>
                  <a:pt x="209" y="381"/>
                </a:lnTo>
                <a:lnTo>
                  <a:pt x="215" y="374"/>
                </a:lnTo>
                <a:lnTo>
                  <a:pt x="220" y="365"/>
                </a:lnTo>
                <a:lnTo>
                  <a:pt x="226" y="356"/>
                </a:lnTo>
                <a:lnTo>
                  <a:pt x="229" y="346"/>
                </a:lnTo>
                <a:lnTo>
                  <a:pt x="231" y="334"/>
                </a:lnTo>
                <a:lnTo>
                  <a:pt x="232" y="321"/>
                </a:lnTo>
                <a:lnTo>
                  <a:pt x="227" y="320"/>
                </a:lnTo>
                <a:lnTo>
                  <a:pt x="221" y="319"/>
                </a:lnTo>
                <a:lnTo>
                  <a:pt x="216" y="318"/>
                </a:lnTo>
                <a:lnTo>
                  <a:pt x="210" y="315"/>
                </a:lnTo>
                <a:lnTo>
                  <a:pt x="200" y="308"/>
                </a:lnTo>
                <a:lnTo>
                  <a:pt x="192" y="300"/>
                </a:lnTo>
                <a:lnTo>
                  <a:pt x="183" y="289"/>
                </a:lnTo>
                <a:lnTo>
                  <a:pt x="174" y="276"/>
                </a:lnTo>
                <a:lnTo>
                  <a:pt x="166" y="264"/>
                </a:lnTo>
                <a:lnTo>
                  <a:pt x="160" y="250"/>
                </a:lnTo>
                <a:lnTo>
                  <a:pt x="153" y="237"/>
                </a:lnTo>
                <a:lnTo>
                  <a:pt x="148" y="222"/>
                </a:lnTo>
                <a:lnTo>
                  <a:pt x="143" y="209"/>
                </a:lnTo>
                <a:lnTo>
                  <a:pt x="140" y="196"/>
                </a:lnTo>
                <a:lnTo>
                  <a:pt x="135" y="174"/>
                </a:lnTo>
                <a:lnTo>
                  <a:pt x="132" y="160"/>
                </a:lnTo>
                <a:lnTo>
                  <a:pt x="132" y="148"/>
                </a:lnTo>
                <a:lnTo>
                  <a:pt x="131" y="137"/>
                </a:lnTo>
                <a:lnTo>
                  <a:pt x="129" y="125"/>
                </a:lnTo>
                <a:lnTo>
                  <a:pt x="128" y="114"/>
                </a:lnTo>
                <a:lnTo>
                  <a:pt x="125" y="103"/>
                </a:lnTo>
                <a:lnTo>
                  <a:pt x="121" y="93"/>
                </a:lnTo>
                <a:lnTo>
                  <a:pt x="118" y="84"/>
                </a:lnTo>
                <a:lnTo>
                  <a:pt x="114" y="74"/>
                </a:lnTo>
                <a:lnTo>
                  <a:pt x="103" y="55"/>
                </a:lnTo>
                <a:lnTo>
                  <a:pt x="91" y="37"/>
                </a:lnTo>
                <a:lnTo>
                  <a:pt x="75" y="19"/>
                </a:lnTo>
                <a:lnTo>
                  <a:pt x="59" y="0"/>
                </a:lnTo>
                <a:lnTo>
                  <a:pt x="54" y="14"/>
                </a:lnTo>
                <a:lnTo>
                  <a:pt x="49" y="25"/>
                </a:lnTo>
                <a:lnTo>
                  <a:pt x="41" y="37"/>
                </a:lnTo>
                <a:lnTo>
                  <a:pt x="32" y="50"/>
                </a:lnTo>
                <a:lnTo>
                  <a:pt x="0" y="44"/>
                </a:lnTo>
                <a:lnTo>
                  <a:pt x="0" y="62"/>
                </a:lnTo>
                <a:lnTo>
                  <a:pt x="2" y="81"/>
                </a:lnTo>
                <a:lnTo>
                  <a:pt x="4" y="98"/>
                </a:lnTo>
                <a:lnTo>
                  <a:pt x="7" y="114"/>
                </a:lnTo>
                <a:lnTo>
                  <a:pt x="14" y="145"/>
                </a:lnTo>
                <a:lnTo>
                  <a:pt x="23" y="173"/>
                </a:lnTo>
                <a:lnTo>
                  <a:pt x="31" y="200"/>
                </a:lnTo>
                <a:lnTo>
                  <a:pt x="39" y="227"/>
                </a:lnTo>
                <a:lnTo>
                  <a:pt x="41" y="241"/>
                </a:lnTo>
                <a:lnTo>
                  <a:pt x="45" y="255"/>
                </a:lnTo>
                <a:lnTo>
                  <a:pt x="46" y="269"/>
                </a:lnTo>
                <a:lnTo>
                  <a:pt x="46" y="283"/>
                </a:lnTo>
                <a:lnTo>
                  <a:pt x="46" y="295"/>
                </a:lnTo>
                <a:lnTo>
                  <a:pt x="42" y="304"/>
                </a:lnTo>
                <a:lnTo>
                  <a:pt x="40" y="313"/>
                </a:lnTo>
                <a:lnTo>
                  <a:pt x="36" y="320"/>
                </a:lnTo>
                <a:lnTo>
                  <a:pt x="32" y="327"/>
                </a:lnTo>
                <a:lnTo>
                  <a:pt x="29" y="335"/>
                </a:lnTo>
                <a:lnTo>
                  <a:pt x="27" y="342"/>
                </a:lnTo>
                <a:lnTo>
                  <a:pt x="26" y="352"/>
                </a:lnTo>
                <a:lnTo>
                  <a:pt x="27" y="374"/>
                </a:lnTo>
                <a:lnTo>
                  <a:pt x="30" y="395"/>
                </a:lnTo>
                <a:lnTo>
                  <a:pt x="35" y="416"/>
                </a:lnTo>
                <a:lnTo>
                  <a:pt x="39" y="435"/>
                </a:lnTo>
                <a:lnTo>
                  <a:pt x="45" y="457"/>
                </a:lnTo>
                <a:lnTo>
                  <a:pt x="49" y="477"/>
                </a:lnTo>
                <a:lnTo>
                  <a:pt x="51" y="500"/>
                </a:lnTo>
                <a:lnTo>
                  <a:pt x="52" y="524"/>
                </a:lnTo>
                <a:lnTo>
                  <a:pt x="51" y="553"/>
                </a:lnTo>
                <a:lnTo>
                  <a:pt x="49" y="572"/>
                </a:lnTo>
                <a:lnTo>
                  <a:pt x="47" y="588"/>
                </a:lnTo>
                <a:lnTo>
                  <a:pt x="46" y="610"/>
                </a:lnTo>
                <a:lnTo>
                  <a:pt x="46" y="622"/>
                </a:lnTo>
                <a:lnTo>
                  <a:pt x="46" y="635"/>
                </a:lnTo>
                <a:lnTo>
                  <a:pt x="46" y="649"/>
                </a:lnTo>
                <a:lnTo>
                  <a:pt x="46" y="660"/>
                </a:lnTo>
                <a:lnTo>
                  <a:pt x="41" y="666"/>
                </a:lnTo>
                <a:lnTo>
                  <a:pt x="37" y="675"/>
                </a:lnTo>
                <a:lnTo>
                  <a:pt x="34" y="687"/>
                </a:lnTo>
                <a:lnTo>
                  <a:pt x="32" y="697"/>
                </a:lnTo>
                <a:lnTo>
                  <a:pt x="34" y="709"/>
                </a:lnTo>
                <a:lnTo>
                  <a:pt x="36" y="718"/>
                </a:lnTo>
                <a:lnTo>
                  <a:pt x="39" y="725"/>
                </a:lnTo>
                <a:lnTo>
                  <a:pt x="42" y="731"/>
                </a:lnTo>
                <a:lnTo>
                  <a:pt x="47" y="737"/>
                </a:lnTo>
                <a:lnTo>
                  <a:pt x="50" y="741"/>
                </a:lnTo>
                <a:lnTo>
                  <a:pt x="52" y="746"/>
                </a:lnTo>
                <a:lnTo>
                  <a:pt x="52" y="752"/>
                </a:lnTo>
                <a:lnTo>
                  <a:pt x="52" y="767"/>
                </a:lnTo>
                <a:lnTo>
                  <a:pt x="52" y="782"/>
                </a:lnTo>
                <a:lnTo>
                  <a:pt x="52" y="797"/>
                </a:lnTo>
                <a:lnTo>
                  <a:pt x="52" y="808"/>
                </a:lnTo>
                <a:lnTo>
                  <a:pt x="53" y="822"/>
                </a:lnTo>
                <a:lnTo>
                  <a:pt x="58" y="847"/>
                </a:lnTo>
                <a:lnTo>
                  <a:pt x="60" y="860"/>
                </a:lnTo>
                <a:lnTo>
                  <a:pt x="64" y="871"/>
                </a:lnTo>
                <a:lnTo>
                  <a:pt x="65" y="875"/>
                </a:lnTo>
                <a:lnTo>
                  <a:pt x="68" y="879"/>
                </a:lnTo>
                <a:lnTo>
                  <a:pt x="70" y="881"/>
                </a:lnTo>
                <a:lnTo>
                  <a:pt x="73" y="881"/>
                </a:lnTo>
                <a:lnTo>
                  <a:pt x="76" y="894"/>
                </a:lnTo>
                <a:lnTo>
                  <a:pt x="80" y="905"/>
                </a:lnTo>
                <a:lnTo>
                  <a:pt x="81" y="913"/>
                </a:lnTo>
                <a:lnTo>
                  <a:pt x="81" y="921"/>
                </a:lnTo>
                <a:lnTo>
                  <a:pt x="80" y="936"/>
                </a:lnTo>
                <a:lnTo>
                  <a:pt x="80" y="956"/>
                </a:lnTo>
                <a:lnTo>
                  <a:pt x="79" y="980"/>
                </a:lnTo>
                <a:lnTo>
                  <a:pt x="78" y="1002"/>
                </a:lnTo>
                <a:lnTo>
                  <a:pt x="75" y="1024"/>
                </a:lnTo>
                <a:lnTo>
                  <a:pt x="73" y="1045"/>
                </a:lnTo>
                <a:lnTo>
                  <a:pt x="70" y="1065"/>
                </a:lnTo>
                <a:lnTo>
                  <a:pt x="68" y="1087"/>
                </a:lnTo>
                <a:lnTo>
                  <a:pt x="67" y="1110"/>
                </a:lnTo>
                <a:lnTo>
                  <a:pt x="67" y="1135"/>
                </a:lnTo>
                <a:lnTo>
                  <a:pt x="65" y="1141"/>
                </a:lnTo>
                <a:lnTo>
                  <a:pt x="64" y="1147"/>
                </a:lnTo>
                <a:lnTo>
                  <a:pt x="63" y="1152"/>
                </a:lnTo>
                <a:lnTo>
                  <a:pt x="62" y="1156"/>
                </a:lnTo>
                <a:lnTo>
                  <a:pt x="58" y="1163"/>
                </a:lnTo>
                <a:lnTo>
                  <a:pt x="52" y="1169"/>
                </a:lnTo>
                <a:lnTo>
                  <a:pt x="48" y="1175"/>
                </a:lnTo>
                <a:lnTo>
                  <a:pt x="43" y="1181"/>
                </a:lnTo>
                <a:lnTo>
                  <a:pt x="41" y="1185"/>
                </a:lnTo>
                <a:lnTo>
                  <a:pt x="40" y="1188"/>
                </a:lnTo>
                <a:lnTo>
                  <a:pt x="40" y="1192"/>
                </a:lnTo>
                <a:lnTo>
                  <a:pt x="39" y="1196"/>
                </a:lnTo>
                <a:lnTo>
                  <a:pt x="40" y="1205"/>
                </a:lnTo>
                <a:lnTo>
                  <a:pt x="42" y="1215"/>
                </a:lnTo>
                <a:lnTo>
                  <a:pt x="46" y="1225"/>
                </a:lnTo>
                <a:lnTo>
                  <a:pt x="50" y="1237"/>
                </a:lnTo>
                <a:lnTo>
                  <a:pt x="60" y="1258"/>
                </a:lnTo>
                <a:lnTo>
                  <a:pt x="73" y="1279"/>
                </a:lnTo>
                <a:lnTo>
                  <a:pt x="85" y="1299"/>
                </a:lnTo>
                <a:lnTo>
                  <a:pt x="95" y="1317"/>
                </a:lnTo>
                <a:lnTo>
                  <a:pt x="99" y="1325"/>
                </a:lnTo>
                <a:lnTo>
                  <a:pt x="103" y="1332"/>
                </a:lnTo>
                <a:lnTo>
                  <a:pt x="105" y="1338"/>
                </a:lnTo>
                <a:lnTo>
                  <a:pt x="106" y="1343"/>
                </a:lnTo>
                <a:lnTo>
                  <a:pt x="105" y="1351"/>
                </a:lnTo>
                <a:lnTo>
                  <a:pt x="104" y="1358"/>
                </a:lnTo>
                <a:lnTo>
                  <a:pt x="102" y="1365"/>
                </a:lnTo>
                <a:lnTo>
                  <a:pt x="99" y="1372"/>
                </a:lnTo>
                <a:lnTo>
                  <a:pt x="97" y="1380"/>
                </a:lnTo>
                <a:lnTo>
                  <a:pt x="95" y="1388"/>
                </a:lnTo>
                <a:lnTo>
                  <a:pt x="93" y="1396"/>
                </a:lnTo>
                <a:lnTo>
                  <a:pt x="93" y="1406"/>
                </a:lnTo>
                <a:lnTo>
                  <a:pt x="93" y="1415"/>
                </a:lnTo>
                <a:lnTo>
                  <a:pt x="94" y="1424"/>
                </a:lnTo>
                <a:lnTo>
                  <a:pt x="96" y="1432"/>
                </a:lnTo>
                <a:lnTo>
                  <a:pt x="98" y="1438"/>
                </a:lnTo>
                <a:lnTo>
                  <a:pt x="102" y="1444"/>
                </a:lnTo>
                <a:lnTo>
                  <a:pt x="106" y="1449"/>
                </a:lnTo>
                <a:lnTo>
                  <a:pt x="112" y="1453"/>
                </a:lnTo>
                <a:lnTo>
                  <a:pt x="117" y="1457"/>
                </a:lnTo>
                <a:lnTo>
                  <a:pt x="123" y="1460"/>
                </a:lnTo>
                <a:lnTo>
                  <a:pt x="130" y="1463"/>
                </a:lnTo>
                <a:lnTo>
                  <a:pt x="138" y="1464"/>
                </a:lnTo>
                <a:lnTo>
                  <a:pt x="146" y="1465"/>
                </a:lnTo>
                <a:lnTo>
                  <a:pt x="164" y="1467"/>
                </a:lnTo>
                <a:lnTo>
                  <a:pt x="185" y="1467"/>
                </a:lnTo>
                <a:lnTo>
                  <a:pt x="191" y="1501"/>
                </a:lnTo>
                <a:lnTo>
                  <a:pt x="195" y="1531"/>
                </a:lnTo>
                <a:lnTo>
                  <a:pt x="197" y="1559"/>
                </a:lnTo>
                <a:lnTo>
                  <a:pt x="199" y="1590"/>
                </a:lnTo>
                <a:lnTo>
                  <a:pt x="202" y="1602"/>
                </a:lnTo>
                <a:lnTo>
                  <a:pt x="209" y="1621"/>
                </a:lnTo>
                <a:lnTo>
                  <a:pt x="216" y="1643"/>
                </a:lnTo>
                <a:lnTo>
                  <a:pt x="219" y="1658"/>
                </a:lnTo>
                <a:lnTo>
                  <a:pt x="219" y="1668"/>
                </a:lnTo>
                <a:lnTo>
                  <a:pt x="220" y="1679"/>
                </a:lnTo>
                <a:lnTo>
                  <a:pt x="221" y="1687"/>
                </a:lnTo>
                <a:lnTo>
                  <a:pt x="222" y="1694"/>
                </a:lnTo>
                <a:lnTo>
                  <a:pt x="227" y="1709"/>
                </a:lnTo>
                <a:lnTo>
                  <a:pt x="232" y="1725"/>
                </a:lnTo>
                <a:lnTo>
                  <a:pt x="202" y="1732"/>
                </a:lnTo>
                <a:lnTo>
                  <a:pt x="173" y="1739"/>
                </a:lnTo>
                <a:lnTo>
                  <a:pt x="166" y="1740"/>
                </a:lnTo>
                <a:lnTo>
                  <a:pt x="161" y="1743"/>
                </a:lnTo>
                <a:lnTo>
                  <a:pt x="155" y="1745"/>
                </a:lnTo>
                <a:lnTo>
                  <a:pt x="151" y="1749"/>
                </a:lnTo>
                <a:lnTo>
                  <a:pt x="147" y="1752"/>
                </a:lnTo>
                <a:lnTo>
                  <a:pt x="143" y="1757"/>
                </a:lnTo>
                <a:lnTo>
                  <a:pt x="141" y="1762"/>
                </a:lnTo>
                <a:lnTo>
                  <a:pt x="139" y="1769"/>
                </a:lnTo>
                <a:lnTo>
                  <a:pt x="164" y="1770"/>
                </a:lnTo>
                <a:lnTo>
                  <a:pt x="193" y="1773"/>
                </a:lnTo>
                <a:lnTo>
                  <a:pt x="207" y="1776"/>
                </a:lnTo>
                <a:lnTo>
                  <a:pt x="218" y="1779"/>
                </a:lnTo>
                <a:lnTo>
                  <a:pt x="224" y="1781"/>
                </a:lnTo>
                <a:lnTo>
                  <a:pt x="227" y="1783"/>
                </a:lnTo>
                <a:lnTo>
                  <a:pt x="230" y="1785"/>
                </a:lnTo>
                <a:lnTo>
                  <a:pt x="232" y="1787"/>
                </a:lnTo>
                <a:lnTo>
                  <a:pt x="243" y="1807"/>
                </a:lnTo>
                <a:lnTo>
                  <a:pt x="250" y="1820"/>
                </a:lnTo>
                <a:lnTo>
                  <a:pt x="253" y="1825"/>
                </a:lnTo>
                <a:lnTo>
                  <a:pt x="258" y="1828"/>
                </a:lnTo>
                <a:lnTo>
                  <a:pt x="263" y="1830"/>
                </a:lnTo>
                <a:lnTo>
                  <a:pt x="272" y="1830"/>
                </a:lnTo>
                <a:lnTo>
                  <a:pt x="272" y="1843"/>
                </a:lnTo>
                <a:lnTo>
                  <a:pt x="273" y="1857"/>
                </a:lnTo>
                <a:lnTo>
                  <a:pt x="275" y="1871"/>
                </a:lnTo>
                <a:lnTo>
                  <a:pt x="278" y="1884"/>
                </a:lnTo>
                <a:lnTo>
                  <a:pt x="282" y="1898"/>
                </a:lnTo>
                <a:lnTo>
                  <a:pt x="285" y="1912"/>
                </a:lnTo>
                <a:lnTo>
                  <a:pt x="289" y="1925"/>
                </a:lnTo>
                <a:lnTo>
                  <a:pt x="295" y="1937"/>
                </a:lnTo>
                <a:lnTo>
                  <a:pt x="301" y="1949"/>
                </a:lnTo>
                <a:lnTo>
                  <a:pt x="308" y="1961"/>
                </a:lnTo>
                <a:lnTo>
                  <a:pt x="315" y="1971"/>
                </a:lnTo>
                <a:lnTo>
                  <a:pt x="322" y="1980"/>
                </a:lnTo>
                <a:lnTo>
                  <a:pt x="330" y="1988"/>
                </a:lnTo>
                <a:lnTo>
                  <a:pt x="339" y="1995"/>
                </a:lnTo>
                <a:lnTo>
                  <a:pt x="349" y="2000"/>
                </a:lnTo>
                <a:lnTo>
                  <a:pt x="359" y="2003"/>
                </a:lnTo>
                <a:lnTo>
                  <a:pt x="359" y="2013"/>
                </a:lnTo>
                <a:lnTo>
                  <a:pt x="361" y="2021"/>
                </a:lnTo>
                <a:lnTo>
                  <a:pt x="364" y="2028"/>
                </a:lnTo>
                <a:lnTo>
                  <a:pt x="368" y="2034"/>
                </a:lnTo>
                <a:lnTo>
                  <a:pt x="374" y="2038"/>
                </a:lnTo>
                <a:lnTo>
                  <a:pt x="379" y="2042"/>
                </a:lnTo>
                <a:lnTo>
                  <a:pt x="386" y="2046"/>
                </a:lnTo>
                <a:lnTo>
                  <a:pt x="393" y="2048"/>
                </a:lnTo>
                <a:lnTo>
                  <a:pt x="407" y="2053"/>
                </a:lnTo>
                <a:lnTo>
                  <a:pt x="420" y="2057"/>
                </a:lnTo>
                <a:lnTo>
                  <a:pt x="426" y="2060"/>
                </a:lnTo>
                <a:lnTo>
                  <a:pt x="431" y="2063"/>
                </a:lnTo>
                <a:lnTo>
                  <a:pt x="435" y="2066"/>
                </a:lnTo>
                <a:lnTo>
                  <a:pt x="438" y="2071"/>
                </a:lnTo>
                <a:lnTo>
                  <a:pt x="424" y="2074"/>
                </a:lnTo>
                <a:lnTo>
                  <a:pt x="411" y="2077"/>
                </a:lnTo>
                <a:lnTo>
                  <a:pt x="415" y="2084"/>
                </a:lnTo>
                <a:lnTo>
                  <a:pt x="421" y="2091"/>
                </a:lnTo>
                <a:lnTo>
                  <a:pt x="429" y="2097"/>
                </a:lnTo>
                <a:lnTo>
                  <a:pt x="440" y="2102"/>
                </a:lnTo>
                <a:lnTo>
                  <a:pt x="452" y="2107"/>
                </a:lnTo>
                <a:lnTo>
                  <a:pt x="465" y="2110"/>
                </a:lnTo>
                <a:lnTo>
                  <a:pt x="480" y="2113"/>
                </a:lnTo>
                <a:lnTo>
                  <a:pt x="498" y="2114"/>
                </a:lnTo>
                <a:lnTo>
                  <a:pt x="502" y="2117"/>
                </a:lnTo>
                <a:lnTo>
                  <a:pt x="507" y="2121"/>
                </a:lnTo>
                <a:lnTo>
                  <a:pt x="510" y="2127"/>
                </a:lnTo>
                <a:lnTo>
                  <a:pt x="513" y="2131"/>
                </a:lnTo>
                <a:lnTo>
                  <a:pt x="519" y="2140"/>
                </a:lnTo>
                <a:lnTo>
                  <a:pt x="522" y="2149"/>
                </a:lnTo>
                <a:lnTo>
                  <a:pt x="527" y="2155"/>
                </a:lnTo>
                <a:lnTo>
                  <a:pt x="530" y="2158"/>
                </a:lnTo>
                <a:lnTo>
                  <a:pt x="531" y="2158"/>
                </a:lnTo>
                <a:lnTo>
                  <a:pt x="533" y="2157"/>
                </a:lnTo>
                <a:lnTo>
                  <a:pt x="535" y="2155"/>
                </a:lnTo>
                <a:lnTo>
                  <a:pt x="538" y="2151"/>
                </a:lnTo>
                <a:lnTo>
                  <a:pt x="543" y="2137"/>
                </a:lnTo>
                <a:lnTo>
                  <a:pt x="547" y="2125"/>
                </a:lnTo>
                <a:lnTo>
                  <a:pt x="554" y="2116"/>
                </a:lnTo>
                <a:lnTo>
                  <a:pt x="561" y="2109"/>
                </a:lnTo>
                <a:lnTo>
                  <a:pt x="567" y="2104"/>
                </a:lnTo>
                <a:lnTo>
                  <a:pt x="576" y="2101"/>
                </a:lnTo>
                <a:lnTo>
                  <a:pt x="586" y="2098"/>
                </a:lnTo>
                <a:lnTo>
                  <a:pt x="598" y="2095"/>
                </a:lnTo>
                <a:lnTo>
                  <a:pt x="592" y="2087"/>
                </a:lnTo>
                <a:lnTo>
                  <a:pt x="589" y="2081"/>
                </a:lnTo>
                <a:lnTo>
                  <a:pt x="588" y="2078"/>
                </a:lnTo>
                <a:lnTo>
                  <a:pt x="588" y="2076"/>
                </a:lnTo>
                <a:lnTo>
                  <a:pt x="589" y="2074"/>
                </a:lnTo>
                <a:lnTo>
                  <a:pt x="591" y="2071"/>
                </a:lnTo>
                <a:lnTo>
                  <a:pt x="491" y="2046"/>
                </a:lnTo>
              </a:path>
            </a:pathLst>
          </a:custGeom>
          <a:solidFill>
            <a:srgbClr val="007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057" name="Freeform 9"/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2176470" y="2631282"/>
            <a:ext cx="966787" cy="902494"/>
          </a:xfrm>
          <a:custGeom>
            <a:avLst/>
            <a:gdLst/>
            <a:ahLst/>
            <a:cxnLst>
              <a:cxn ang="0">
                <a:pos x="440" y="896"/>
              </a:cxn>
              <a:cxn ang="0">
                <a:pos x="505" y="985"/>
              </a:cxn>
              <a:cxn ang="0">
                <a:pos x="572" y="1054"/>
              </a:cxn>
              <a:cxn ang="0">
                <a:pos x="716" y="1098"/>
              </a:cxn>
              <a:cxn ang="0">
                <a:pos x="798" y="1204"/>
              </a:cxn>
              <a:cxn ang="0">
                <a:pos x="846" y="1292"/>
              </a:cxn>
              <a:cxn ang="0">
                <a:pos x="939" y="1355"/>
              </a:cxn>
              <a:cxn ang="0">
                <a:pos x="957" y="1466"/>
              </a:cxn>
              <a:cxn ang="0">
                <a:pos x="976" y="1541"/>
              </a:cxn>
              <a:cxn ang="0">
                <a:pos x="992" y="1632"/>
              </a:cxn>
              <a:cxn ang="0">
                <a:pos x="1131" y="1698"/>
              </a:cxn>
              <a:cxn ang="0">
                <a:pos x="1193" y="1805"/>
              </a:cxn>
              <a:cxn ang="0">
                <a:pos x="1243" y="1864"/>
              </a:cxn>
              <a:cxn ang="0">
                <a:pos x="1183" y="2003"/>
              </a:cxn>
              <a:cxn ang="0">
                <a:pos x="1084" y="2128"/>
              </a:cxn>
              <a:cxn ang="0">
                <a:pos x="1180" y="2161"/>
              </a:cxn>
              <a:cxn ang="0">
                <a:pos x="1296" y="2234"/>
              </a:cxn>
              <a:cxn ang="0">
                <a:pos x="1419" y="2198"/>
              </a:cxn>
              <a:cxn ang="0">
                <a:pos x="1518" y="2036"/>
              </a:cxn>
              <a:cxn ang="0">
                <a:pos x="1512" y="1918"/>
              </a:cxn>
              <a:cxn ang="0">
                <a:pos x="1561" y="1793"/>
              </a:cxn>
              <a:cxn ang="0">
                <a:pos x="1706" y="1727"/>
              </a:cxn>
              <a:cxn ang="0">
                <a:pos x="1798" y="1681"/>
              </a:cxn>
              <a:cxn ang="0">
                <a:pos x="1897" y="1641"/>
              </a:cxn>
              <a:cxn ang="0">
                <a:pos x="1982" y="1400"/>
              </a:cxn>
              <a:cxn ang="0">
                <a:pos x="2014" y="1288"/>
              </a:cxn>
              <a:cxn ang="0">
                <a:pos x="2002" y="1090"/>
              </a:cxn>
              <a:cxn ang="0">
                <a:pos x="2073" y="1009"/>
              </a:cxn>
              <a:cxn ang="0">
                <a:pos x="2190" y="877"/>
              </a:cxn>
              <a:cxn ang="0">
                <a:pos x="2222" y="732"/>
              </a:cxn>
              <a:cxn ang="0">
                <a:pos x="2157" y="599"/>
              </a:cxn>
              <a:cxn ang="0">
                <a:pos x="2059" y="563"/>
              </a:cxn>
              <a:cxn ang="0">
                <a:pos x="1921" y="462"/>
              </a:cxn>
              <a:cxn ang="0">
                <a:pos x="1742" y="450"/>
              </a:cxn>
              <a:cxn ang="0">
                <a:pos x="1670" y="447"/>
              </a:cxn>
              <a:cxn ang="0">
                <a:pos x="1636" y="394"/>
              </a:cxn>
              <a:cxn ang="0">
                <a:pos x="1512" y="348"/>
              </a:cxn>
              <a:cxn ang="0">
                <a:pos x="1411" y="409"/>
              </a:cxn>
              <a:cxn ang="0">
                <a:pos x="1338" y="405"/>
              </a:cxn>
              <a:cxn ang="0">
                <a:pos x="1247" y="384"/>
              </a:cxn>
              <a:cxn ang="0">
                <a:pos x="1317" y="268"/>
              </a:cxn>
              <a:cxn ang="0">
                <a:pos x="1338" y="184"/>
              </a:cxn>
              <a:cxn ang="0">
                <a:pos x="1291" y="68"/>
              </a:cxn>
              <a:cxn ang="0">
                <a:pos x="1124" y="135"/>
              </a:cxn>
              <a:cxn ang="0">
                <a:pos x="1003" y="170"/>
              </a:cxn>
              <a:cxn ang="0">
                <a:pos x="960" y="187"/>
              </a:cxn>
              <a:cxn ang="0">
                <a:pos x="812" y="176"/>
              </a:cxn>
              <a:cxn ang="0">
                <a:pos x="811" y="67"/>
              </a:cxn>
              <a:cxn ang="0">
                <a:pos x="745" y="0"/>
              </a:cxn>
              <a:cxn ang="0">
                <a:pos x="700" y="31"/>
              </a:cxn>
              <a:cxn ang="0">
                <a:pos x="589" y="70"/>
              </a:cxn>
              <a:cxn ang="0">
                <a:pos x="560" y="198"/>
              </a:cxn>
              <a:cxn ang="0">
                <a:pos x="453" y="258"/>
              </a:cxn>
              <a:cxn ang="0">
                <a:pos x="286" y="197"/>
              </a:cxn>
              <a:cxn ang="0">
                <a:pos x="253" y="240"/>
              </a:cxn>
              <a:cxn ang="0">
                <a:pos x="198" y="311"/>
              </a:cxn>
              <a:cxn ang="0">
                <a:pos x="246" y="388"/>
              </a:cxn>
              <a:cxn ang="0">
                <a:pos x="194" y="560"/>
              </a:cxn>
              <a:cxn ang="0">
                <a:pos x="100" y="567"/>
              </a:cxn>
              <a:cxn ang="0">
                <a:pos x="16" y="687"/>
              </a:cxn>
              <a:cxn ang="0">
                <a:pos x="22" y="824"/>
              </a:cxn>
              <a:cxn ang="0">
                <a:pos x="120" y="905"/>
              </a:cxn>
              <a:cxn ang="0">
                <a:pos x="191" y="949"/>
              </a:cxn>
            </a:cxnLst>
            <a:rect l="0" t="0" r="r" b="b"/>
            <a:pathLst>
              <a:path w="2226" h="2292">
                <a:moveTo>
                  <a:pt x="233" y="973"/>
                </a:moveTo>
                <a:lnTo>
                  <a:pt x="313" y="967"/>
                </a:lnTo>
                <a:lnTo>
                  <a:pt x="323" y="963"/>
                </a:lnTo>
                <a:lnTo>
                  <a:pt x="332" y="959"/>
                </a:lnTo>
                <a:lnTo>
                  <a:pt x="342" y="953"/>
                </a:lnTo>
                <a:lnTo>
                  <a:pt x="351" y="948"/>
                </a:lnTo>
                <a:lnTo>
                  <a:pt x="368" y="936"/>
                </a:lnTo>
                <a:lnTo>
                  <a:pt x="386" y="923"/>
                </a:lnTo>
                <a:lnTo>
                  <a:pt x="403" y="911"/>
                </a:lnTo>
                <a:lnTo>
                  <a:pt x="421" y="902"/>
                </a:lnTo>
                <a:lnTo>
                  <a:pt x="431" y="898"/>
                </a:lnTo>
                <a:lnTo>
                  <a:pt x="440" y="896"/>
                </a:lnTo>
                <a:lnTo>
                  <a:pt x="449" y="894"/>
                </a:lnTo>
                <a:lnTo>
                  <a:pt x="459" y="893"/>
                </a:lnTo>
                <a:lnTo>
                  <a:pt x="467" y="894"/>
                </a:lnTo>
                <a:lnTo>
                  <a:pt x="474" y="896"/>
                </a:lnTo>
                <a:lnTo>
                  <a:pt x="480" y="899"/>
                </a:lnTo>
                <a:lnTo>
                  <a:pt x="485" y="902"/>
                </a:lnTo>
                <a:lnTo>
                  <a:pt x="489" y="907"/>
                </a:lnTo>
                <a:lnTo>
                  <a:pt x="492" y="912"/>
                </a:lnTo>
                <a:lnTo>
                  <a:pt x="496" y="918"/>
                </a:lnTo>
                <a:lnTo>
                  <a:pt x="498" y="925"/>
                </a:lnTo>
                <a:lnTo>
                  <a:pt x="502" y="956"/>
                </a:lnTo>
                <a:lnTo>
                  <a:pt x="505" y="985"/>
                </a:lnTo>
                <a:lnTo>
                  <a:pt x="509" y="994"/>
                </a:lnTo>
                <a:lnTo>
                  <a:pt x="512" y="1001"/>
                </a:lnTo>
                <a:lnTo>
                  <a:pt x="515" y="1008"/>
                </a:lnTo>
                <a:lnTo>
                  <a:pt x="520" y="1015"/>
                </a:lnTo>
                <a:lnTo>
                  <a:pt x="525" y="1022"/>
                </a:lnTo>
                <a:lnTo>
                  <a:pt x="531" y="1028"/>
                </a:lnTo>
                <a:lnTo>
                  <a:pt x="536" y="1033"/>
                </a:lnTo>
                <a:lnTo>
                  <a:pt x="543" y="1038"/>
                </a:lnTo>
                <a:lnTo>
                  <a:pt x="549" y="1044"/>
                </a:lnTo>
                <a:lnTo>
                  <a:pt x="557" y="1048"/>
                </a:lnTo>
                <a:lnTo>
                  <a:pt x="564" y="1051"/>
                </a:lnTo>
                <a:lnTo>
                  <a:pt x="572" y="1054"/>
                </a:lnTo>
                <a:lnTo>
                  <a:pt x="580" y="1057"/>
                </a:lnTo>
                <a:lnTo>
                  <a:pt x="588" y="1058"/>
                </a:lnTo>
                <a:lnTo>
                  <a:pt x="597" y="1059"/>
                </a:lnTo>
                <a:lnTo>
                  <a:pt x="605" y="1060"/>
                </a:lnTo>
                <a:lnTo>
                  <a:pt x="614" y="1060"/>
                </a:lnTo>
                <a:lnTo>
                  <a:pt x="625" y="1063"/>
                </a:lnTo>
                <a:lnTo>
                  <a:pt x="638" y="1066"/>
                </a:lnTo>
                <a:lnTo>
                  <a:pt x="653" y="1071"/>
                </a:lnTo>
                <a:lnTo>
                  <a:pt x="668" y="1076"/>
                </a:lnTo>
                <a:lnTo>
                  <a:pt x="683" y="1083"/>
                </a:lnTo>
                <a:lnTo>
                  <a:pt x="700" y="1090"/>
                </a:lnTo>
                <a:lnTo>
                  <a:pt x="716" y="1098"/>
                </a:lnTo>
                <a:lnTo>
                  <a:pt x="733" y="1108"/>
                </a:lnTo>
                <a:lnTo>
                  <a:pt x="747" y="1116"/>
                </a:lnTo>
                <a:lnTo>
                  <a:pt x="761" y="1126"/>
                </a:lnTo>
                <a:lnTo>
                  <a:pt x="773" y="1135"/>
                </a:lnTo>
                <a:lnTo>
                  <a:pt x="783" y="1144"/>
                </a:lnTo>
                <a:lnTo>
                  <a:pt x="791" y="1153"/>
                </a:lnTo>
                <a:lnTo>
                  <a:pt x="794" y="1158"/>
                </a:lnTo>
                <a:lnTo>
                  <a:pt x="796" y="1162"/>
                </a:lnTo>
                <a:lnTo>
                  <a:pt x="798" y="1167"/>
                </a:lnTo>
                <a:lnTo>
                  <a:pt x="798" y="1171"/>
                </a:lnTo>
                <a:lnTo>
                  <a:pt x="798" y="1190"/>
                </a:lnTo>
                <a:lnTo>
                  <a:pt x="798" y="1204"/>
                </a:lnTo>
                <a:lnTo>
                  <a:pt x="798" y="1214"/>
                </a:lnTo>
                <a:lnTo>
                  <a:pt x="798" y="1220"/>
                </a:lnTo>
                <a:lnTo>
                  <a:pt x="799" y="1229"/>
                </a:lnTo>
                <a:lnTo>
                  <a:pt x="803" y="1242"/>
                </a:lnTo>
                <a:lnTo>
                  <a:pt x="806" y="1249"/>
                </a:lnTo>
                <a:lnTo>
                  <a:pt x="810" y="1256"/>
                </a:lnTo>
                <a:lnTo>
                  <a:pt x="814" y="1263"/>
                </a:lnTo>
                <a:lnTo>
                  <a:pt x="818" y="1271"/>
                </a:lnTo>
                <a:lnTo>
                  <a:pt x="824" y="1277"/>
                </a:lnTo>
                <a:lnTo>
                  <a:pt x="830" y="1283"/>
                </a:lnTo>
                <a:lnTo>
                  <a:pt x="838" y="1288"/>
                </a:lnTo>
                <a:lnTo>
                  <a:pt x="846" y="1292"/>
                </a:lnTo>
                <a:lnTo>
                  <a:pt x="854" y="1295"/>
                </a:lnTo>
                <a:lnTo>
                  <a:pt x="863" y="1296"/>
                </a:lnTo>
                <a:lnTo>
                  <a:pt x="873" y="1296"/>
                </a:lnTo>
                <a:lnTo>
                  <a:pt x="884" y="1294"/>
                </a:lnTo>
                <a:lnTo>
                  <a:pt x="917" y="1294"/>
                </a:lnTo>
                <a:lnTo>
                  <a:pt x="918" y="1306"/>
                </a:lnTo>
                <a:lnTo>
                  <a:pt x="919" y="1317"/>
                </a:lnTo>
                <a:lnTo>
                  <a:pt x="923" y="1328"/>
                </a:lnTo>
                <a:lnTo>
                  <a:pt x="926" y="1336"/>
                </a:lnTo>
                <a:lnTo>
                  <a:pt x="929" y="1343"/>
                </a:lnTo>
                <a:lnTo>
                  <a:pt x="935" y="1349"/>
                </a:lnTo>
                <a:lnTo>
                  <a:pt x="939" y="1355"/>
                </a:lnTo>
                <a:lnTo>
                  <a:pt x="944" y="1360"/>
                </a:lnTo>
                <a:lnTo>
                  <a:pt x="953" y="1371"/>
                </a:lnTo>
                <a:lnTo>
                  <a:pt x="962" y="1385"/>
                </a:lnTo>
                <a:lnTo>
                  <a:pt x="965" y="1392"/>
                </a:lnTo>
                <a:lnTo>
                  <a:pt x="969" y="1401"/>
                </a:lnTo>
                <a:lnTo>
                  <a:pt x="970" y="1411"/>
                </a:lnTo>
                <a:lnTo>
                  <a:pt x="971" y="1423"/>
                </a:lnTo>
                <a:lnTo>
                  <a:pt x="970" y="1434"/>
                </a:lnTo>
                <a:lnTo>
                  <a:pt x="968" y="1443"/>
                </a:lnTo>
                <a:lnTo>
                  <a:pt x="964" y="1452"/>
                </a:lnTo>
                <a:lnTo>
                  <a:pt x="961" y="1459"/>
                </a:lnTo>
                <a:lnTo>
                  <a:pt x="957" y="1466"/>
                </a:lnTo>
                <a:lnTo>
                  <a:pt x="953" y="1474"/>
                </a:lnTo>
                <a:lnTo>
                  <a:pt x="951" y="1482"/>
                </a:lnTo>
                <a:lnTo>
                  <a:pt x="951" y="1491"/>
                </a:lnTo>
                <a:lnTo>
                  <a:pt x="951" y="1498"/>
                </a:lnTo>
                <a:lnTo>
                  <a:pt x="952" y="1503"/>
                </a:lnTo>
                <a:lnTo>
                  <a:pt x="953" y="1509"/>
                </a:lnTo>
                <a:lnTo>
                  <a:pt x="955" y="1513"/>
                </a:lnTo>
                <a:lnTo>
                  <a:pt x="959" y="1521"/>
                </a:lnTo>
                <a:lnTo>
                  <a:pt x="964" y="1527"/>
                </a:lnTo>
                <a:lnTo>
                  <a:pt x="969" y="1533"/>
                </a:lnTo>
                <a:lnTo>
                  <a:pt x="973" y="1537"/>
                </a:lnTo>
                <a:lnTo>
                  <a:pt x="976" y="1541"/>
                </a:lnTo>
                <a:lnTo>
                  <a:pt x="978" y="1547"/>
                </a:lnTo>
                <a:lnTo>
                  <a:pt x="979" y="1555"/>
                </a:lnTo>
                <a:lnTo>
                  <a:pt x="979" y="1564"/>
                </a:lnTo>
                <a:lnTo>
                  <a:pt x="979" y="1572"/>
                </a:lnTo>
                <a:lnTo>
                  <a:pt x="978" y="1580"/>
                </a:lnTo>
                <a:lnTo>
                  <a:pt x="976" y="1588"/>
                </a:lnTo>
                <a:lnTo>
                  <a:pt x="975" y="1596"/>
                </a:lnTo>
                <a:lnTo>
                  <a:pt x="975" y="1605"/>
                </a:lnTo>
                <a:lnTo>
                  <a:pt x="978" y="1614"/>
                </a:lnTo>
                <a:lnTo>
                  <a:pt x="981" y="1621"/>
                </a:lnTo>
                <a:lnTo>
                  <a:pt x="985" y="1627"/>
                </a:lnTo>
                <a:lnTo>
                  <a:pt x="992" y="1632"/>
                </a:lnTo>
                <a:lnTo>
                  <a:pt x="998" y="1637"/>
                </a:lnTo>
                <a:lnTo>
                  <a:pt x="1016" y="1645"/>
                </a:lnTo>
                <a:lnTo>
                  <a:pt x="1036" y="1653"/>
                </a:lnTo>
                <a:lnTo>
                  <a:pt x="1057" y="1661"/>
                </a:lnTo>
                <a:lnTo>
                  <a:pt x="1077" y="1669"/>
                </a:lnTo>
                <a:lnTo>
                  <a:pt x="1086" y="1673"/>
                </a:lnTo>
                <a:lnTo>
                  <a:pt x="1095" y="1678"/>
                </a:lnTo>
                <a:lnTo>
                  <a:pt x="1104" y="1682"/>
                </a:lnTo>
                <a:lnTo>
                  <a:pt x="1110" y="1688"/>
                </a:lnTo>
                <a:lnTo>
                  <a:pt x="1116" y="1692"/>
                </a:lnTo>
                <a:lnTo>
                  <a:pt x="1124" y="1695"/>
                </a:lnTo>
                <a:lnTo>
                  <a:pt x="1131" y="1698"/>
                </a:lnTo>
                <a:lnTo>
                  <a:pt x="1140" y="1700"/>
                </a:lnTo>
                <a:lnTo>
                  <a:pt x="1149" y="1702"/>
                </a:lnTo>
                <a:lnTo>
                  <a:pt x="1157" y="1705"/>
                </a:lnTo>
                <a:lnTo>
                  <a:pt x="1164" y="1708"/>
                </a:lnTo>
                <a:lnTo>
                  <a:pt x="1170" y="1713"/>
                </a:lnTo>
                <a:lnTo>
                  <a:pt x="1176" y="1721"/>
                </a:lnTo>
                <a:lnTo>
                  <a:pt x="1181" y="1729"/>
                </a:lnTo>
                <a:lnTo>
                  <a:pt x="1185" y="1739"/>
                </a:lnTo>
                <a:lnTo>
                  <a:pt x="1187" y="1749"/>
                </a:lnTo>
                <a:lnTo>
                  <a:pt x="1189" y="1772"/>
                </a:lnTo>
                <a:lnTo>
                  <a:pt x="1192" y="1794"/>
                </a:lnTo>
                <a:lnTo>
                  <a:pt x="1193" y="1805"/>
                </a:lnTo>
                <a:lnTo>
                  <a:pt x="1195" y="1815"/>
                </a:lnTo>
                <a:lnTo>
                  <a:pt x="1198" y="1825"/>
                </a:lnTo>
                <a:lnTo>
                  <a:pt x="1204" y="1832"/>
                </a:lnTo>
                <a:lnTo>
                  <a:pt x="1207" y="1836"/>
                </a:lnTo>
                <a:lnTo>
                  <a:pt x="1210" y="1839"/>
                </a:lnTo>
                <a:lnTo>
                  <a:pt x="1214" y="1842"/>
                </a:lnTo>
                <a:lnTo>
                  <a:pt x="1219" y="1844"/>
                </a:lnTo>
                <a:lnTo>
                  <a:pt x="1224" y="1846"/>
                </a:lnTo>
                <a:lnTo>
                  <a:pt x="1229" y="1847"/>
                </a:lnTo>
                <a:lnTo>
                  <a:pt x="1236" y="1848"/>
                </a:lnTo>
                <a:lnTo>
                  <a:pt x="1243" y="1848"/>
                </a:lnTo>
                <a:lnTo>
                  <a:pt x="1243" y="1864"/>
                </a:lnTo>
                <a:lnTo>
                  <a:pt x="1243" y="1879"/>
                </a:lnTo>
                <a:lnTo>
                  <a:pt x="1243" y="1891"/>
                </a:lnTo>
                <a:lnTo>
                  <a:pt x="1243" y="1904"/>
                </a:lnTo>
                <a:lnTo>
                  <a:pt x="1243" y="1921"/>
                </a:lnTo>
                <a:lnTo>
                  <a:pt x="1243" y="1942"/>
                </a:lnTo>
                <a:lnTo>
                  <a:pt x="1243" y="1961"/>
                </a:lnTo>
                <a:lnTo>
                  <a:pt x="1243" y="1971"/>
                </a:lnTo>
                <a:lnTo>
                  <a:pt x="1232" y="1974"/>
                </a:lnTo>
                <a:lnTo>
                  <a:pt x="1221" y="1979"/>
                </a:lnTo>
                <a:lnTo>
                  <a:pt x="1208" y="1985"/>
                </a:lnTo>
                <a:lnTo>
                  <a:pt x="1196" y="1994"/>
                </a:lnTo>
                <a:lnTo>
                  <a:pt x="1183" y="2003"/>
                </a:lnTo>
                <a:lnTo>
                  <a:pt x="1170" y="2013"/>
                </a:lnTo>
                <a:lnTo>
                  <a:pt x="1157" y="2023"/>
                </a:lnTo>
                <a:lnTo>
                  <a:pt x="1143" y="2034"/>
                </a:lnTo>
                <a:lnTo>
                  <a:pt x="1131" y="2047"/>
                </a:lnTo>
                <a:lnTo>
                  <a:pt x="1120" y="2059"/>
                </a:lnTo>
                <a:lnTo>
                  <a:pt x="1109" y="2070"/>
                </a:lnTo>
                <a:lnTo>
                  <a:pt x="1101" y="2082"/>
                </a:lnTo>
                <a:lnTo>
                  <a:pt x="1094" y="2094"/>
                </a:lnTo>
                <a:lnTo>
                  <a:pt x="1088" y="2106"/>
                </a:lnTo>
                <a:lnTo>
                  <a:pt x="1085" y="2116"/>
                </a:lnTo>
                <a:lnTo>
                  <a:pt x="1084" y="2125"/>
                </a:lnTo>
                <a:lnTo>
                  <a:pt x="1084" y="2128"/>
                </a:lnTo>
                <a:lnTo>
                  <a:pt x="1086" y="2130"/>
                </a:lnTo>
                <a:lnTo>
                  <a:pt x="1088" y="2132"/>
                </a:lnTo>
                <a:lnTo>
                  <a:pt x="1092" y="2133"/>
                </a:lnTo>
                <a:lnTo>
                  <a:pt x="1101" y="2137"/>
                </a:lnTo>
                <a:lnTo>
                  <a:pt x="1110" y="2139"/>
                </a:lnTo>
                <a:lnTo>
                  <a:pt x="1131" y="2142"/>
                </a:lnTo>
                <a:lnTo>
                  <a:pt x="1143" y="2144"/>
                </a:lnTo>
                <a:lnTo>
                  <a:pt x="1151" y="2145"/>
                </a:lnTo>
                <a:lnTo>
                  <a:pt x="1158" y="2147"/>
                </a:lnTo>
                <a:lnTo>
                  <a:pt x="1163" y="2150"/>
                </a:lnTo>
                <a:lnTo>
                  <a:pt x="1169" y="2153"/>
                </a:lnTo>
                <a:lnTo>
                  <a:pt x="1180" y="2161"/>
                </a:lnTo>
                <a:lnTo>
                  <a:pt x="1189" y="2170"/>
                </a:lnTo>
                <a:lnTo>
                  <a:pt x="1200" y="2178"/>
                </a:lnTo>
                <a:lnTo>
                  <a:pt x="1210" y="2186"/>
                </a:lnTo>
                <a:lnTo>
                  <a:pt x="1216" y="2190"/>
                </a:lnTo>
                <a:lnTo>
                  <a:pt x="1222" y="2193"/>
                </a:lnTo>
                <a:lnTo>
                  <a:pt x="1229" y="2197"/>
                </a:lnTo>
                <a:lnTo>
                  <a:pt x="1237" y="2199"/>
                </a:lnTo>
                <a:lnTo>
                  <a:pt x="1248" y="2203"/>
                </a:lnTo>
                <a:lnTo>
                  <a:pt x="1258" y="2208"/>
                </a:lnTo>
                <a:lnTo>
                  <a:pt x="1267" y="2214"/>
                </a:lnTo>
                <a:lnTo>
                  <a:pt x="1277" y="2220"/>
                </a:lnTo>
                <a:lnTo>
                  <a:pt x="1296" y="2234"/>
                </a:lnTo>
                <a:lnTo>
                  <a:pt x="1312" y="2248"/>
                </a:lnTo>
                <a:lnTo>
                  <a:pt x="1327" y="2262"/>
                </a:lnTo>
                <a:lnTo>
                  <a:pt x="1340" y="2275"/>
                </a:lnTo>
                <a:lnTo>
                  <a:pt x="1352" y="2285"/>
                </a:lnTo>
                <a:lnTo>
                  <a:pt x="1363" y="2292"/>
                </a:lnTo>
                <a:lnTo>
                  <a:pt x="1370" y="2276"/>
                </a:lnTo>
                <a:lnTo>
                  <a:pt x="1377" y="2261"/>
                </a:lnTo>
                <a:lnTo>
                  <a:pt x="1385" y="2248"/>
                </a:lnTo>
                <a:lnTo>
                  <a:pt x="1394" y="2235"/>
                </a:lnTo>
                <a:lnTo>
                  <a:pt x="1401" y="2223"/>
                </a:lnTo>
                <a:lnTo>
                  <a:pt x="1410" y="2210"/>
                </a:lnTo>
                <a:lnTo>
                  <a:pt x="1419" y="2198"/>
                </a:lnTo>
                <a:lnTo>
                  <a:pt x="1429" y="2187"/>
                </a:lnTo>
                <a:lnTo>
                  <a:pt x="1439" y="2160"/>
                </a:lnTo>
                <a:lnTo>
                  <a:pt x="1449" y="2138"/>
                </a:lnTo>
                <a:lnTo>
                  <a:pt x="1459" y="2116"/>
                </a:lnTo>
                <a:lnTo>
                  <a:pt x="1468" y="2088"/>
                </a:lnTo>
                <a:lnTo>
                  <a:pt x="1472" y="2082"/>
                </a:lnTo>
                <a:lnTo>
                  <a:pt x="1476" y="2076"/>
                </a:lnTo>
                <a:lnTo>
                  <a:pt x="1480" y="2070"/>
                </a:lnTo>
                <a:lnTo>
                  <a:pt x="1485" y="2065"/>
                </a:lnTo>
                <a:lnTo>
                  <a:pt x="1496" y="2055"/>
                </a:lnTo>
                <a:lnTo>
                  <a:pt x="1507" y="2046"/>
                </a:lnTo>
                <a:lnTo>
                  <a:pt x="1518" y="2036"/>
                </a:lnTo>
                <a:lnTo>
                  <a:pt x="1527" y="2026"/>
                </a:lnTo>
                <a:lnTo>
                  <a:pt x="1530" y="2021"/>
                </a:lnTo>
                <a:lnTo>
                  <a:pt x="1533" y="2015"/>
                </a:lnTo>
                <a:lnTo>
                  <a:pt x="1534" y="2009"/>
                </a:lnTo>
                <a:lnTo>
                  <a:pt x="1535" y="2002"/>
                </a:lnTo>
                <a:lnTo>
                  <a:pt x="1535" y="1993"/>
                </a:lnTo>
                <a:lnTo>
                  <a:pt x="1534" y="1984"/>
                </a:lnTo>
                <a:lnTo>
                  <a:pt x="1532" y="1975"/>
                </a:lnTo>
                <a:lnTo>
                  <a:pt x="1530" y="1966"/>
                </a:lnTo>
                <a:lnTo>
                  <a:pt x="1524" y="1950"/>
                </a:lnTo>
                <a:lnTo>
                  <a:pt x="1519" y="1934"/>
                </a:lnTo>
                <a:lnTo>
                  <a:pt x="1512" y="1918"/>
                </a:lnTo>
                <a:lnTo>
                  <a:pt x="1507" y="1904"/>
                </a:lnTo>
                <a:lnTo>
                  <a:pt x="1504" y="1891"/>
                </a:lnTo>
                <a:lnTo>
                  <a:pt x="1502" y="1879"/>
                </a:lnTo>
                <a:lnTo>
                  <a:pt x="1502" y="1873"/>
                </a:lnTo>
                <a:lnTo>
                  <a:pt x="1504" y="1867"/>
                </a:lnTo>
                <a:lnTo>
                  <a:pt x="1506" y="1861"/>
                </a:lnTo>
                <a:lnTo>
                  <a:pt x="1508" y="1855"/>
                </a:lnTo>
                <a:lnTo>
                  <a:pt x="1514" y="1843"/>
                </a:lnTo>
                <a:lnTo>
                  <a:pt x="1523" y="1830"/>
                </a:lnTo>
                <a:lnTo>
                  <a:pt x="1534" y="1817"/>
                </a:lnTo>
                <a:lnTo>
                  <a:pt x="1547" y="1805"/>
                </a:lnTo>
                <a:lnTo>
                  <a:pt x="1561" y="1793"/>
                </a:lnTo>
                <a:lnTo>
                  <a:pt x="1576" y="1782"/>
                </a:lnTo>
                <a:lnTo>
                  <a:pt x="1591" y="1772"/>
                </a:lnTo>
                <a:lnTo>
                  <a:pt x="1608" y="1761"/>
                </a:lnTo>
                <a:lnTo>
                  <a:pt x="1623" y="1753"/>
                </a:lnTo>
                <a:lnTo>
                  <a:pt x="1640" y="1745"/>
                </a:lnTo>
                <a:lnTo>
                  <a:pt x="1655" y="1739"/>
                </a:lnTo>
                <a:lnTo>
                  <a:pt x="1669" y="1735"/>
                </a:lnTo>
                <a:lnTo>
                  <a:pt x="1682" y="1732"/>
                </a:lnTo>
                <a:lnTo>
                  <a:pt x="1695" y="1731"/>
                </a:lnTo>
                <a:lnTo>
                  <a:pt x="1699" y="1731"/>
                </a:lnTo>
                <a:lnTo>
                  <a:pt x="1702" y="1729"/>
                </a:lnTo>
                <a:lnTo>
                  <a:pt x="1706" y="1727"/>
                </a:lnTo>
                <a:lnTo>
                  <a:pt x="1709" y="1725"/>
                </a:lnTo>
                <a:lnTo>
                  <a:pt x="1717" y="1718"/>
                </a:lnTo>
                <a:lnTo>
                  <a:pt x="1724" y="1709"/>
                </a:lnTo>
                <a:lnTo>
                  <a:pt x="1733" y="1701"/>
                </a:lnTo>
                <a:lnTo>
                  <a:pt x="1743" y="1694"/>
                </a:lnTo>
                <a:lnTo>
                  <a:pt x="1748" y="1692"/>
                </a:lnTo>
                <a:lnTo>
                  <a:pt x="1754" y="1690"/>
                </a:lnTo>
                <a:lnTo>
                  <a:pt x="1760" y="1688"/>
                </a:lnTo>
                <a:lnTo>
                  <a:pt x="1768" y="1688"/>
                </a:lnTo>
                <a:lnTo>
                  <a:pt x="1779" y="1684"/>
                </a:lnTo>
                <a:lnTo>
                  <a:pt x="1789" y="1682"/>
                </a:lnTo>
                <a:lnTo>
                  <a:pt x="1798" y="1681"/>
                </a:lnTo>
                <a:lnTo>
                  <a:pt x="1807" y="1680"/>
                </a:lnTo>
                <a:lnTo>
                  <a:pt x="1820" y="1681"/>
                </a:lnTo>
                <a:lnTo>
                  <a:pt x="1834" y="1682"/>
                </a:lnTo>
                <a:lnTo>
                  <a:pt x="1854" y="1681"/>
                </a:lnTo>
                <a:lnTo>
                  <a:pt x="1868" y="1679"/>
                </a:lnTo>
                <a:lnTo>
                  <a:pt x="1874" y="1678"/>
                </a:lnTo>
                <a:lnTo>
                  <a:pt x="1878" y="1676"/>
                </a:lnTo>
                <a:lnTo>
                  <a:pt x="1882" y="1673"/>
                </a:lnTo>
                <a:lnTo>
                  <a:pt x="1885" y="1670"/>
                </a:lnTo>
                <a:lnTo>
                  <a:pt x="1890" y="1663"/>
                </a:lnTo>
                <a:lnTo>
                  <a:pt x="1893" y="1653"/>
                </a:lnTo>
                <a:lnTo>
                  <a:pt x="1897" y="1641"/>
                </a:lnTo>
                <a:lnTo>
                  <a:pt x="1901" y="1626"/>
                </a:lnTo>
                <a:lnTo>
                  <a:pt x="1927" y="1571"/>
                </a:lnTo>
                <a:lnTo>
                  <a:pt x="1939" y="1553"/>
                </a:lnTo>
                <a:lnTo>
                  <a:pt x="1949" y="1535"/>
                </a:lnTo>
                <a:lnTo>
                  <a:pt x="1959" y="1518"/>
                </a:lnTo>
                <a:lnTo>
                  <a:pt x="1967" y="1500"/>
                </a:lnTo>
                <a:lnTo>
                  <a:pt x="1972" y="1480"/>
                </a:lnTo>
                <a:lnTo>
                  <a:pt x="1977" y="1460"/>
                </a:lnTo>
                <a:lnTo>
                  <a:pt x="1980" y="1437"/>
                </a:lnTo>
                <a:lnTo>
                  <a:pt x="1980" y="1411"/>
                </a:lnTo>
                <a:lnTo>
                  <a:pt x="1981" y="1405"/>
                </a:lnTo>
                <a:lnTo>
                  <a:pt x="1982" y="1400"/>
                </a:lnTo>
                <a:lnTo>
                  <a:pt x="1983" y="1395"/>
                </a:lnTo>
                <a:lnTo>
                  <a:pt x="1986" y="1391"/>
                </a:lnTo>
                <a:lnTo>
                  <a:pt x="1991" y="1382"/>
                </a:lnTo>
                <a:lnTo>
                  <a:pt x="1997" y="1372"/>
                </a:lnTo>
                <a:lnTo>
                  <a:pt x="2003" y="1364"/>
                </a:lnTo>
                <a:lnTo>
                  <a:pt x="2009" y="1354"/>
                </a:lnTo>
                <a:lnTo>
                  <a:pt x="2011" y="1349"/>
                </a:lnTo>
                <a:lnTo>
                  <a:pt x="2012" y="1343"/>
                </a:lnTo>
                <a:lnTo>
                  <a:pt x="2013" y="1337"/>
                </a:lnTo>
                <a:lnTo>
                  <a:pt x="2014" y="1331"/>
                </a:lnTo>
                <a:lnTo>
                  <a:pt x="2014" y="1307"/>
                </a:lnTo>
                <a:lnTo>
                  <a:pt x="2014" y="1288"/>
                </a:lnTo>
                <a:lnTo>
                  <a:pt x="2014" y="1271"/>
                </a:lnTo>
                <a:lnTo>
                  <a:pt x="2014" y="1250"/>
                </a:lnTo>
                <a:lnTo>
                  <a:pt x="2011" y="1223"/>
                </a:lnTo>
                <a:lnTo>
                  <a:pt x="2004" y="1185"/>
                </a:lnTo>
                <a:lnTo>
                  <a:pt x="2000" y="1165"/>
                </a:lnTo>
                <a:lnTo>
                  <a:pt x="1997" y="1145"/>
                </a:lnTo>
                <a:lnTo>
                  <a:pt x="1994" y="1129"/>
                </a:lnTo>
                <a:lnTo>
                  <a:pt x="1993" y="1115"/>
                </a:lnTo>
                <a:lnTo>
                  <a:pt x="1994" y="1108"/>
                </a:lnTo>
                <a:lnTo>
                  <a:pt x="1997" y="1102"/>
                </a:lnTo>
                <a:lnTo>
                  <a:pt x="1999" y="1096"/>
                </a:lnTo>
                <a:lnTo>
                  <a:pt x="2002" y="1090"/>
                </a:lnTo>
                <a:lnTo>
                  <a:pt x="2006" y="1085"/>
                </a:lnTo>
                <a:lnTo>
                  <a:pt x="2012" y="1081"/>
                </a:lnTo>
                <a:lnTo>
                  <a:pt x="2017" y="1077"/>
                </a:lnTo>
                <a:lnTo>
                  <a:pt x="2023" y="1073"/>
                </a:lnTo>
                <a:lnTo>
                  <a:pt x="2035" y="1067"/>
                </a:lnTo>
                <a:lnTo>
                  <a:pt x="2047" y="1063"/>
                </a:lnTo>
                <a:lnTo>
                  <a:pt x="2058" y="1060"/>
                </a:lnTo>
                <a:lnTo>
                  <a:pt x="2067" y="1060"/>
                </a:lnTo>
                <a:lnTo>
                  <a:pt x="2067" y="1046"/>
                </a:lnTo>
                <a:lnTo>
                  <a:pt x="2069" y="1032"/>
                </a:lnTo>
                <a:lnTo>
                  <a:pt x="2071" y="1020"/>
                </a:lnTo>
                <a:lnTo>
                  <a:pt x="2073" y="1009"/>
                </a:lnTo>
                <a:lnTo>
                  <a:pt x="2078" y="999"/>
                </a:lnTo>
                <a:lnTo>
                  <a:pt x="2081" y="990"/>
                </a:lnTo>
                <a:lnTo>
                  <a:pt x="2087" y="980"/>
                </a:lnTo>
                <a:lnTo>
                  <a:pt x="2092" y="972"/>
                </a:lnTo>
                <a:lnTo>
                  <a:pt x="2104" y="956"/>
                </a:lnTo>
                <a:lnTo>
                  <a:pt x="2117" y="943"/>
                </a:lnTo>
                <a:lnTo>
                  <a:pt x="2132" y="929"/>
                </a:lnTo>
                <a:lnTo>
                  <a:pt x="2147" y="917"/>
                </a:lnTo>
                <a:lnTo>
                  <a:pt x="2161" y="904"/>
                </a:lnTo>
                <a:lnTo>
                  <a:pt x="2175" y="891"/>
                </a:lnTo>
                <a:lnTo>
                  <a:pt x="2183" y="885"/>
                </a:lnTo>
                <a:lnTo>
                  <a:pt x="2190" y="877"/>
                </a:lnTo>
                <a:lnTo>
                  <a:pt x="2195" y="869"/>
                </a:lnTo>
                <a:lnTo>
                  <a:pt x="2202" y="861"/>
                </a:lnTo>
                <a:lnTo>
                  <a:pt x="2206" y="852"/>
                </a:lnTo>
                <a:lnTo>
                  <a:pt x="2212" y="843"/>
                </a:lnTo>
                <a:lnTo>
                  <a:pt x="2216" y="833"/>
                </a:lnTo>
                <a:lnTo>
                  <a:pt x="2219" y="822"/>
                </a:lnTo>
                <a:lnTo>
                  <a:pt x="2223" y="810"/>
                </a:lnTo>
                <a:lnTo>
                  <a:pt x="2225" y="798"/>
                </a:lnTo>
                <a:lnTo>
                  <a:pt x="2226" y="784"/>
                </a:lnTo>
                <a:lnTo>
                  <a:pt x="2226" y="770"/>
                </a:lnTo>
                <a:lnTo>
                  <a:pt x="2225" y="752"/>
                </a:lnTo>
                <a:lnTo>
                  <a:pt x="2222" y="732"/>
                </a:lnTo>
                <a:lnTo>
                  <a:pt x="2217" y="711"/>
                </a:lnTo>
                <a:lnTo>
                  <a:pt x="2212" y="689"/>
                </a:lnTo>
                <a:lnTo>
                  <a:pt x="2205" y="668"/>
                </a:lnTo>
                <a:lnTo>
                  <a:pt x="2199" y="649"/>
                </a:lnTo>
                <a:lnTo>
                  <a:pt x="2192" y="633"/>
                </a:lnTo>
                <a:lnTo>
                  <a:pt x="2186" y="622"/>
                </a:lnTo>
                <a:lnTo>
                  <a:pt x="2182" y="614"/>
                </a:lnTo>
                <a:lnTo>
                  <a:pt x="2178" y="608"/>
                </a:lnTo>
                <a:lnTo>
                  <a:pt x="2173" y="604"/>
                </a:lnTo>
                <a:lnTo>
                  <a:pt x="2168" y="601"/>
                </a:lnTo>
                <a:lnTo>
                  <a:pt x="2163" y="600"/>
                </a:lnTo>
                <a:lnTo>
                  <a:pt x="2157" y="599"/>
                </a:lnTo>
                <a:lnTo>
                  <a:pt x="2151" y="600"/>
                </a:lnTo>
                <a:lnTo>
                  <a:pt x="2146" y="601"/>
                </a:lnTo>
                <a:lnTo>
                  <a:pt x="2134" y="603"/>
                </a:lnTo>
                <a:lnTo>
                  <a:pt x="2122" y="605"/>
                </a:lnTo>
                <a:lnTo>
                  <a:pt x="2116" y="605"/>
                </a:lnTo>
                <a:lnTo>
                  <a:pt x="2111" y="604"/>
                </a:lnTo>
                <a:lnTo>
                  <a:pt x="2105" y="602"/>
                </a:lnTo>
                <a:lnTo>
                  <a:pt x="2100" y="597"/>
                </a:lnTo>
                <a:lnTo>
                  <a:pt x="2089" y="590"/>
                </a:lnTo>
                <a:lnTo>
                  <a:pt x="2079" y="582"/>
                </a:lnTo>
                <a:lnTo>
                  <a:pt x="2069" y="573"/>
                </a:lnTo>
                <a:lnTo>
                  <a:pt x="2059" y="563"/>
                </a:lnTo>
                <a:lnTo>
                  <a:pt x="2039" y="540"/>
                </a:lnTo>
                <a:lnTo>
                  <a:pt x="2021" y="518"/>
                </a:lnTo>
                <a:lnTo>
                  <a:pt x="2010" y="507"/>
                </a:lnTo>
                <a:lnTo>
                  <a:pt x="2000" y="497"/>
                </a:lnTo>
                <a:lnTo>
                  <a:pt x="1989" y="488"/>
                </a:lnTo>
                <a:lnTo>
                  <a:pt x="1977" y="478"/>
                </a:lnTo>
                <a:lnTo>
                  <a:pt x="1965" y="471"/>
                </a:lnTo>
                <a:lnTo>
                  <a:pt x="1950" y="466"/>
                </a:lnTo>
                <a:lnTo>
                  <a:pt x="1944" y="464"/>
                </a:lnTo>
                <a:lnTo>
                  <a:pt x="1936" y="463"/>
                </a:lnTo>
                <a:lnTo>
                  <a:pt x="1928" y="462"/>
                </a:lnTo>
                <a:lnTo>
                  <a:pt x="1921" y="462"/>
                </a:lnTo>
                <a:lnTo>
                  <a:pt x="1898" y="462"/>
                </a:lnTo>
                <a:lnTo>
                  <a:pt x="1878" y="462"/>
                </a:lnTo>
                <a:lnTo>
                  <a:pt x="1860" y="462"/>
                </a:lnTo>
                <a:lnTo>
                  <a:pt x="1841" y="462"/>
                </a:lnTo>
                <a:lnTo>
                  <a:pt x="1826" y="461"/>
                </a:lnTo>
                <a:lnTo>
                  <a:pt x="1814" y="460"/>
                </a:lnTo>
                <a:lnTo>
                  <a:pt x="1802" y="458"/>
                </a:lnTo>
                <a:lnTo>
                  <a:pt x="1791" y="456"/>
                </a:lnTo>
                <a:lnTo>
                  <a:pt x="1780" y="453"/>
                </a:lnTo>
                <a:lnTo>
                  <a:pt x="1768" y="451"/>
                </a:lnTo>
                <a:lnTo>
                  <a:pt x="1755" y="450"/>
                </a:lnTo>
                <a:lnTo>
                  <a:pt x="1742" y="450"/>
                </a:lnTo>
                <a:lnTo>
                  <a:pt x="1725" y="450"/>
                </a:lnTo>
                <a:lnTo>
                  <a:pt x="1713" y="452"/>
                </a:lnTo>
                <a:lnTo>
                  <a:pt x="1703" y="454"/>
                </a:lnTo>
                <a:lnTo>
                  <a:pt x="1696" y="458"/>
                </a:lnTo>
                <a:lnTo>
                  <a:pt x="1689" y="462"/>
                </a:lnTo>
                <a:lnTo>
                  <a:pt x="1685" y="467"/>
                </a:lnTo>
                <a:lnTo>
                  <a:pt x="1679" y="473"/>
                </a:lnTo>
                <a:lnTo>
                  <a:pt x="1675" y="480"/>
                </a:lnTo>
                <a:lnTo>
                  <a:pt x="1672" y="471"/>
                </a:lnTo>
                <a:lnTo>
                  <a:pt x="1669" y="462"/>
                </a:lnTo>
                <a:lnTo>
                  <a:pt x="1669" y="454"/>
                </a:lnTo>
                <a:lnTo>
                  <a:pt x="1670" y="447"/>
                </a:lnTo>
                <a:lnTo>
                  <a:pt x="1673" y="436"/>
                </a:lnTo>
                <a:lnTo>
                  <a:pt x="1675" y="430"/>
                </a:lnTo>
                <a:lnTo>
                  <a:pt x="1675" y="426"/>
                </a:lnTo>
                <a:lnTo>
                  <a:pt x="1673" y="421"/>
                </a:lnTo>
                <a:lnTo>
                  <a:pt x="1670" y="417"/>
                </a:lnTo>
                <a:lnTo>
                  <a:pt x="1668" y="413"/>
                </a:lnTo>
                <a:lnTo>
                  <a:pt x="1664" y="406"/>
                </a:lnTo>
                <a:lnTo>
                  <a:pt x="1662" y="400"/>
                </a:lnTo>
                <a:lnTo>
                  <a:pt x="1655" y="400"/>
                </a:lnTo>
                <a:lnTo>
                  <a:pt x="1648" y="398"/>
                </a:lnTo>
                <a:lnTo>
                  <a:pt x="1643" y="396"/>
                </a:lnTo>
                <a:lnTo>
                  <a:pt x="1636" y="394"/>
                </a:lnTo>
                <a:lnTo>
                  <a:pt x="1624" y="387"/>
                </a:lnTo>
                <a:lnTo>
                  <a:pt x="1612" y="379"/>
                </a:lnTo>
                <a:lnTo>
                  <a:pt x="1596" y="363"/>
                </a:lnTo>
                <a:lnTo>
                  <a:pt x="1588" y="357"/>
                </a:lnTo>
                <a:lnTo>
                  <a:pt x="1581" y="359"/>
                </a:lnTo>
                <a:lnTo>
                  <a:pt x="1574" y="360"/>
                </a:lnTo>
                <a:lnTo>
                  <a:pt x="1567" y="361"/>
                </a:lnTo>
                <a:lnTo>
                  <a:pt x="1560" y="362"/>
                </a:lnTo>
                <a:lnTo>
                  <a:pt x="1546" y="361"/>
                </a:lnTo>
                <a:lnTo>
                  <a:pt x="1534" y="358"/>
                </a:lnTo>
                <a:lnTo>
                  <a:pt x="1523" y="354"/>
                </a:lnTo>
                <a:lnTo>
                  <a:pt x="1512" y="348"/>
                </a:lnTo>
                <a:lnTo>
                  <a:pt x="1504" y="341"/>
                </a:lnTo>
                <a:lnTo>
                  <a:pt x="1496" y="333"/>
                </a:lnTo>
                <a:lnTo>
                  <a:pt x="1468" y="333"/>
                </a:lnTo>
                <a:lnTo>
                  <a:pt x="1468" y="337"/>
                </a:lnTo>
                <a:lnTo>
                  <a:pt x="1466" y="342"/>
                </a:lnTo>
                <a:lnTo>
                  <a:pt x="1463" y="349"/>
                </a:lnTo>
                <a:lnTo>
                  <a:pt x="1459" y="357"/>
                </a:lnTo>
                <a:lnTo>
                  <a:pt x="1446" y="373"/>
                </a:lnTo>
                <a:lnTo>
                  <a:pt x="1433" y="390"/>
                </a:lnTo>
                <a:lnTo>
                  <a:pt x="1426" y="398"/>
                </a:lnTo>
                <a:lnTo>
                  <a:pt x="1419" y="404"/>
                </a:lnTo>
                <a:lnTo>
                  <a:pt x="1411" y="409"/>
                </a:lnTo>
                <a:lnTo>
                  <a:pt x="1405" y="413"/>
                </a:lnTo>
                <a:lnTo>
                  <a:pt x="1401" y="414"/>
                </a:lnTo>
                <a:lnTo>
                  <a:pt x="1398" y="415"/>
                </a:lnTo>
                <a:lnTo>
                  <a:pt x="1395" y="415"/>
                </a:lnTo>
                <a:lnTo>
                  <a:pt x="1392" y="414"/>
                </a:lnTo>
                <a:lnTo>
                  <a:pt x="1389" y="413"/>
                </a:lnTo>
                <a:lnTo>
                  <a:pt x="1387" y="412"/>
                </a:lnTo>
                <a:lnTo>
                  <a:pt x="1385" y="409"/>
                </a:lnTo>
                <a:lnTo>
                  <a:pt x="1383" y="406"/>
                </a:lnTo>
                <a:lnTo>
                  <a:pt x="1367" y="406"/>
                </a:lnTo>
                <a:lnTo>
                  <a:pt x="1352" y="406"/>
                </a:lnTo>
                <a:lnTo>
                  <a:pt x="1338" y="405"/>
                </a:lnTo>
                <a:lnTo>
                  <a:pt x="1325" y="402"/>
                </a:lnTo>
                <a:lnTo>
                  <a:pt x="1318" y="401"/>
                </a:lnTo>
                <a:lnTo>
                  <a:pt x="1312" y="399"/>
                </a:lnTo>
                <a:lnTo>
                  <a:pt x="1308" y="396"/>
                </a:lnTo>
                <a:lnTo>
                  <a:pt x="1304" y="393"/>
                </a:lnTo>
                <a:lnTo>
                  <a:pt x="1300" y="390"/>
                </a:lnTo>
                <a:lnTo>
                  <a:pt x="1298" y="386"/>
                </a:lnTo>
                <a:lnTo>
                  <a:pt x="1297" y="381"/>
                </a:lnTo>
                <a:lnTo>
                  <a:pt x="1296" y="375"/>
                </a:lnTo>
                <a:lnTo>
                  <a:pt x="1270" y="375"/>
                </a:lnTo>
                <a:lnTo>
                  <a:pt x="1259" y="380"/>
                </a:lnTo>
                <a:lnTo>
                  <a:pt x="1247" y="384"/>
                </a:lnTo>
                <a:lnTo>
                  <a:pt x="1240" y="384"/>
                </a:lnTo>
                <a:lnTo>
                  <a:pt x="1235" y="384"/>
                </a:lnTo>
                <a:lnTo>
                  <a:pt x="1228" y="384"/>
                </a:lnTo>
                <a:lnTo>
                  <a:pt x="1224" y="382"/>
                </a:lnTo>
                <a:lnTo>
                  <a:pt x="1283" y="333"/>
                </a:lnTo>
                <a:lnTo>
                  <a:pt x="1286" y="321"/>
                </a:lnTo>
                <a:lnTo>
                  <a:pt x="1289" y="309"/>
                </a:lnTo>
                <a:lnTo>
                  <a:pt x="1294" y="299"/>
                </a:lnTo>
                <a:lnTo>
                  <a:pt x="1299" y="290"/>
                </a:lnTo>
                <a:lnTo>
                  <a:pt x="1305" y="282"/>
                </a:lnTo>
                <a:lnTo>
                  <a:pt x="1310" y="274"/>
                </a:lnTo>
                <a:lnTo>
                  <a:pt x="1317" y="268"/>
                </a:lnTo>
                <a:lnTo>
                  <a:pt x="1323" y="260"/>
                </a:lnTo>
                <a:lnTo>
                  <a:pt x="1349" y="240"/>
                </a:lnTo>
                <a:lnTo>
                  <a:pt x="1370" y="222"/>
                </a:lnTo>
                <a:lnTo>
                  <a:pt x="1362" y="217"/>
                </a:lnTo>
                <a:lnTo>
                  <a:pt x="1356" y="213"/>
                </a:lnTo>
                <a:lnTo>
                  <a:pt x="1352" y="210"/>
                </a:lnTo>
                <a:lnTo>
                  <a:pt x="1349" y="205"/>
                </a:lnTo>
                <a:lnTo>
                  <a:pt x="1345" y="201"/>
                </a:lnTo>
                <a:lnTo>
                  <a:pt x="1344" y="196"/>
                </a:lnTo>
                <a:lnTo>
                  <a:pt x="1343" y="191"/>
                </a:lnTo>
                <a:lnTo>
                  <a:pt x="1343" y="184"/>
                </a:lnTo>
                <a:lnTo>
                  <a:pt x="1338" y="184"/>
                </a:lnTo>
                <a:lnTo>
                  <a:pt x="1333" y="183"/>
                </a:lnTo>
                <a:lnTo>
                  <a:pt x="1330" y="182"/>
                </a:lnTo>
                <a:lnTo>
                  <a:pt x="1326" y="179"/>
                </a:lnTo>
                <a:lnTo>
                  <a:pt x="1320" y="174"/>
                </a:lnTo>
                <a:lnTo>
                  <a:pt x="1315" y="166"/>
                </a:lnTo>
                <a:lnTo>
                  <a:pt x="1310" y="157"/>
                </a:lnTo>
                <a:lnTo>
                  <a:pt x="1307" y="146"/>
                </a:lnTo>
                <a:lnTo>
                  <a:pt x="1305" y="135"/>
                </a:lnTo>
                <a:lnTo>
                  <a:pt x="1301" y="124"/>
                </a:lnTo>
                <a:lnTo>
                  <a:pt x="1298" y="100"/>
                </a:lnTo>
                <a:lnTo>
                  <a:pt x="1293" y="78"/>
                </a:lnTo>
                <a:lnTo>
                  <a:pt x="1291" y="68"/>
                </a:lnTo>
                <a:lnTo>
                  <a:pt x="1286" y="60"/>
                </a:lnTo>
                <a:lnTo>
                  <a:pt x="1282" y="54"/>
                </a:lnTo>
                <a:lnTo>
                  <a:pt x="1276" y="49"/>
                </a:lnTo>
                <a:lnTo>
                  <a:pt x="1264" y="71"/>
                </a:lnTo>
                <a:lnTo>
                  <a:pt x="1240" y="109"/>
                </a:lnTo>
                <a:lnTo>
                  <a:pt x="1227" y="128"/>
                </a:lnTo>
                <a:lnTo>
                  <a:pt x="1214" y="144"/>
                </a:lnTo>
                <a:lnTo>
                  <a:pt x="1207" y="150"/>
                </a:lnTo>
                <a:lnTo>
                  <a:pt x="1200" y="156"/>
                </a:lnTo>
                <a:lnTo>
                  <a:pt x="1195" y="159"/>
                </a:lnTo>
                <a:lnTo>
                  <a:pt x="1189" y="160"/>
                </a:lnTo>
                <a:lnTo>
                  <a:pt x="1124" y="135"/>
                </a:lnTo>
                <a:lnTo>
                  <a:pt x="1113" y="139"/>
                </a:lnTo>
                <a:lnTo>
                  <a:pt x="1102" y="142"/>
                </a:lnTo>
                <a:lnTo>
                  <a:pt x="1088" y="144"/>
                </a:lnTo>
                <a:lnTo>
                  <a:pt x="1075" y="146"/>
                </a:lnTo>
                <a:lnTo>
                  <a:pt x="1047" y="147"/>
                </a:lnTo>
                <a:lnTo>
                  <a:pt x="1017" y="147"/>
                </a:lnTo>
                <a:lnTo>
                  <a:pt x="1016" y="152"/>
                </a:lnTo>
                <a:lnTo>
                  <a:pt x="1015" y="157"/>
                </a:lnTo>
                <a:lnTo>
                  <a:pt x="1013" y="161"/>
                </a:lnTo>
                <a:lnTo>
                  <a:pt x="1009" y="165"/>
                </a:lnTo>
                <a:lnTo>
                  <a:pt x="1006" y="168"/>
                </a:lnTo>
                <a:lnTo>
                  <a:pt x="1003" y="170"/>
                </a:lnTo>
                <a:lnTo>
                  <a:pt x="1000" y="172"/>
                </a:lnTo>
                <a:lnTo>
                  <a:pt x="997" y="172"/>
                </a:lnTo>
                <a:lnTo>
                  <a:pt x="992" y="173"/>
                </a:lnTo>
                <a:lnTo>
                  <a:pt x="987" y="175"/>
                </a:lnTo>
                <a:lnTo>
                  <a:pt x="985" y="175"/>
                </a:lnTo>
                <a:lnTo>
                  <a:pt x="982" y="175"/>
                </a:lnTo>
                <a:lnTo>
                  <a:pt x="980" y="174"/>
                </a:lnTo>
                <a:lnTo>
                  <a:pt x="978" y="172"/>
                </a:lnTo>
                <a:lnTo>
                  <a:pt x="976" y="176"/>
                </a:lnTo>
                <a:lnTo>
                  <a:pt x="972" y="179"/>
                </a:lnTo>
                <a:lnTo>
                  <a:pt x="967" y="183"/>
                </a:lnTo>
                <a:lnTo>
                  <a:pt x="960" y="187"/>
                </a:lnTo>
                <a:lnTo>
                  <a:pt x="941" y="194"/>
                </a:lnTo>
                <a:lnTo>
                  <a:pt x="920" y="200"/>
                </a:lnTo>
                <a:lnTo>
                  <a:pt x="879" y="212"/>
                </a:lnTo>
                <a:lnTo>
                  <a:pt x="858" y="216"/>
                </a:lnTo>
                <a:lnTo>
                  <a:pt x="851" y="215"/>
                </a:lnTo>
                <a:lnTo>
                  <a:pt x="846" y="213"/>
                </a:lnTo>
                <a:lnTo>
                  <a:pt x="839" y="208"/>
                </a:lnTo>
                <a:lnTo>
                  <a:pt x="834" y="203"/>
                </a:lnTo>
                <a:lnTo>
                  <a:pt x="827" y="197"/>
                </a:lnTo>
                <a:lnTo>
                  <a:pt x="822" y="191"/>
                </a:lnTo>
                <a:lnTo>
                  <a:pt x="817" y="184"/>
                </a:lnTo>
                <a:lnTo>
                  <a:pt x="812" y="176"/>
                </a:lnTo>
                <a:lnTo>
                  <a:pt x="803" y="161"/>
                </a:lnTo>
                <a:lnTo>
                  <a:pt x="796" y="145"/>
                </a:lnTo>
                <a:lnTo>
                  <a:pt x="793" y="132"/>
                </a:lnTo>
                <a:lnTo>
                  <a:pt x="791" y="123"/>
                </a:lnTo>
                <a:lnTo>
                  <a:pt x="792" y="116"/>
                </a:lnTo>
                <a:lnTo>
                  <a:pt x="794" y="109"/>
                </a:lnTo>
                <a:lnTo>
                  <a:pt x="798" y="103"/>
                </a:lnTo>
                <a:lnTo>
                  <a:pt x="801" y="95"/>
                </a:lnTo>
                <a:lnTo>
                  <a:pt x="805" y="88"/>
                </a:lnTo>
                <a:lnTo>
                  <a:pt x="808" y="81"/>
                </a:lnTo>
                <a:lnTo>
                  <a:pt x="811" y="74"/>
                </a:lnTo>
                <a:lnTo>
                  <a:pt x="811" y="67"/>
                </a:lnTo>
                <a:lnTo>
                  <a:pt x="811" y="53"/>
                </a:lnTo>
                <a:lnTo>
                  <a:pt x="808" y="39"/>
                </a:lnTo>
                <a:lnTo>
                  <a:pt x="806" y="33"/>
                </a:lnTo>
                <a:lnTo>
                  <a:pt x="804" y="28"/>
                </a:lnTo>
                <a:lnTo>
                  <a:pt x="801" y="24"/>
                </a:lnTo>
                <a:lnTo>
                  <a:pt x="798" y="20"/>
                </a:lnTo>
                <a:lnTo>
                  <a:pt x="794" y="16"/>
                </a:lnTo>
                <a:lnTo>
                  <a:pt x="789" y="12"/>
                </a:lnTo>
                <a:lnTo>
                  <a:pt x="783" y="9"/>
                </a:lnTo>
                <a:lnTo>
                  <a:pt x="778" y="7"/>
                </a:lnTo>
                <a:lnTo>
                  <a:pt x="762" y="3"/>
                </a:lnTo>
                <a:lnTo>
                  <a:pt x="745" y="0"/>
                </a:lnTo>
                <a:lnTo>
                  <a:pt x="739" y="10"/>
                </a:lnTo>
                <a:lnTo>
                  <a:pt x="733" y="21"/>
                </a:lnTo>
                <a:lnTo>
                  <a:pt x="729" y="23"/>
                </a:lnTo>
                <a:lnTo>
                  <a:pt x="727" y="25"/>
                </a:lnTo>
                <a:lnTo>
                  <a:pt x="725" y="26"/>
                </a:lnTo>
                <a:lnTo>
                  <a:pt x="722" y="27"/>
                </a:lnTo>
                <a:lnTo>
                  <a:pt x="717" y="27"/>
                </a:lnTo>
                <a:lnTo>
                  <a:pt x="714" y="27"/>
                </a:lnTo>
                <a:lnTo>
                  <a:pt x="710" y="26"/>
                </a:lnTo>
                <a:lnTo>
                  <a:pt x="705" y="24"/>
                </a:lnTo>
                <a:lnTo>
                  <a:pt x="703" y="28"/>
                </a:lnTo>
                <a:lnTo>
                  <a:pt x="700" y="31"/>
                </a:lnTo>
                <a:lnTo>
                  <a:pt x="695" y="35"/>
                </a:lnTo>
                <a:lnTo>
                  <a:pt x="690" y="39"/>
                </a:lnTo>
                <a:lnTo>
                  <a:pt x="677" y="47"/>
                </a:lnTo>
                <a:lnTo>
                  <a:pt x="662" y="55"/>
                </a:lnTo>
                <a:lnTo>
                  <a:pt x="648" y="63"/>
                </a:lnTo>
                <a:lnTo>
                  <a:pt x="637" y="71"/>
                </a:lnTo>
                <a:lnTo>
                  <a:pt x="632" y="75"/>
                </a:lnTo>
                <a:lnTo>
                  <a:pt x="628" y="79"/>
                </a:lnTo>
                <a:lnTo>
                  <a:pt x="626" y="82"/>
                </a:lnTo>
                <a:lnTo>
                  <a:pt x="625" y="86"/>
                </a:lnTo>
                <a:lnTo>
                  <a:pt x="612" y="79"/>
                </a:lnTo>
                <a:lnTo>
                  <a:pt x="589" y="70"/>
                </a:lnTo>
                <a:lnTo>
                  <a:pt x="566" y="62"/>
                </a:lnTo>
                <a:lnTo>
                  <a:pt x="552" y="55"/>
                </a:lnTo>
                <a:lnTo>
                  <a:pt x="525" y="55"/>
                </a:lnTo>
                <a:lnTo>
                  <a:pt x="525" y="99"/>
                </a:lnTo>
                <a:lnTo>
                  <a:pt x="535" y="114"/>
                </a:lnTo>
                <a:lnTo>
                  <a:pt x="552" y="137"/>
                </a:lnTo>
                <a:lnTo>
                  <a:pt x="566" y="160"/>
                </a:lnTo>
                <a:lnTo>
                  <a:pt x="572" y="172"/>
                </a:lnTo>
                <a:lnTo>
                  <a:pt x="571" y="178"/>
                </a:lnTo>
                <a:lnTo>
                  <a:pt x="569" y="185"/>
                </a:lnTo>
                <a:lnTo>
                  <a:pt x="566" y="191"/>
                </a:lnTo>
                <a:lnTo>
                  <a:pt x="560" y="198"/>
                </a:lnTo>
                <a:lnTo>
                  <a:pt x="555" y="205"/>
                </a:lnTo>
                <a:lnTo>
                  <a:pt x="548" y="213"/>
                </a:lnTo>
                <a:lnTo>
                  <a:pt x="541" y="220"/>
                </a:lnTo>
                <a:lnTo>
                  <a:pt x="532" y="227"/>
                </a:lnTo>
                <a:lnTo>
                  <a:pt x="523" y="233"/>
                </a:lnTo>
                <a:lnTo>
                  <a:pt x="513" y="239"/>
                </a:lnTo>
                <a:lnTo>
                  <a:pt x="503" y="244"/>
                </a:lnTo>
                <a:lnTo>
                  <a:pt x="493" y="249"/>
                </a:lnTo>
                <a:lnTo>
                  <a:pt x="483" y="253"/>
                </a:lnTo>
                <a:lnTo>
                  <a:pt x="472" y="256"/>
                </a:lnTo>
                <a:lnTo>
                  <a:pt x="463" y="257"/>
                </a:lnTo>
                <a:lnTo>
                  <a:pt x="453" y="258"/>
                </a:lnTo>
                <a:lnTo>
                  <a:pt x="446" y="258"/>
                </a:lnTo>
                <a:lnTo>
                  <a:pt x="440" y="256"/>
                </a:lnTo>
                <a:lnTo>
                  <a:pt x="433" y="254"/>
                </a:lnTo>
                <a:lnTo>
                  <a:pt x="426" y="252"/>
                </a:lnTo>
                <a:lnTo>
                  <a:pt x="413" y="245"/>
                </a:lnTo>
                <a:lnTo>
                  <a:pt x="401" y="235"/>
                </a:lnTo>
                <a:lnTo>
                  <a:pt x="389" y="224"/>
                </a:lnTo>
                <a:lnTo>
                  <a:pt x="378" y="212"/>
                </a:lnTo>
                <a:lnTo>
                  <a:pt x="368" y="198"/>
                </a:lnTo>
                <a:lnTo>
                  <a:pt x="359" y="184"/>
                </a:lnTo>
                <a:lnTo>
                  <a:pt x="330" y="190"/>
                </a:lnTo>
                <a:lnTo>
                  <a:pt x="286" y="197"/>
                </a:lnTo>
                <a:lnTo>
                  <a:pt x="263" y="201"/>
                </a:lnTo>
                <a:lnTo>
                  <a:pt x="244" y="206"/>
                </a:lnTo>
                <a:lnTo>
                  <a:pt x="238" y="208"/>
                </a:lnTo>
                <a:lnTo>
                  <a:pt x="231" y="211"/>
                </a:lnTo>
                <a:lnTo>
                  <a:pt x="228" y="213"/>
                </a:lnTo>
                <a:lnTo>
                  <a:pt x="227" y="216"/>
                </a:lnTo>
                <a:lnTo>
                  <a:pt x="227" y="220"/>
                </a:lnTo>
                <a:lnTo>
                  <a:pt x="229" y="224"/>
                </a:lnTo>
                <a:lnTo>
                  <a:pt x="231" y="227"/>
                </a:lnTo>
                <a:lnTo>
                  <a:pt x="235" y="230"/>
                </a:lnTo>
                <a:lnTo>
                  <a:pt x="243" y="235"/>
                </a:lnTo>
                <a:lnTo>
                  <a:pt x="253" y="240"/>
                </a:lnTo>
                <a:lnTo>
                  <a:pt x="253" y="258"/>
                </a:lnTo>
                <a:lnTo>
                  <a:pt x="241" y="262"/>
                </a:lnTo>
                <a:lnTo>
                  <a:pt x="221" y="268"/>
                </a:lnTo>
                <a:lnTo>
                  <a:pt x="210" y="272"/>
                </a:lnTo>
                <a:lnTo>
                  <a:pt x="201" y="278"/>
                </a:lnTo>
                <a:lnTo>
                  <a:pt x="198" y="281"/>
                </a:lnTo>
                <a:lnTo>
                  <a:pt x="196" y="285"/>
                </a:lnTo>
                <a:lnTo>
                  <a:pt x="194" y="290"/>
                </a:lnTo>
                <a:lnTo>
                  <a:pt x="194" y="295"/>
                </a:lnTo>
                <a:lnTo>
                  <a:pt x="194" y="302"/>
                </a:lnTo>
                <a:lnTo>
                  <a:pt x="196" y="307"/>
                </a:lnTo>
                <a:lnTo>
                  <a:pt x="198" y="311"/>
                </a:lnTo>
                <a:lnTo>
                  <a:pt x="201" y="314"/>
                </a:lnTo>
                <a:lnTo>
                  <a:pt x="210" y="321"/>
                </a:lnTo>
                <a:lnTo>
                  <a:pt x="220" y="327"/>
                </a:lnTo>
                <a:lnTo>
                  <a:pt x="224" y="330"/>
                </a:lnTo>
                <a:lnTo>
                  <a:pt x="230" y="333"/>
                </a:lnTo>
                <a:lnTo>
                  <a:pt x="234" y="337"/>
                </a:lnTo>
                <a:lnTo>
                  <a:pt x="239" y="342"/>
                </a:lnTo>
                <a:lnTo>
                  <a:pt x="242" y="348"/>
                </a:lnTo>
                <a:lnTo>
                  <a:pt x="244" y="356"/>
                </a:lnTo>
                <a:lnTo>
                  <a:pt x="246" y="365"/>
                </a:lnTo>
                <a:lnTo>
                  <a:pt x="246" y="375"/>
                </a:lnTo>
                <a:lnTo>
                  <a:pt x="246" y="388"/>
                </a:lnTo>
                <a:lnTo>
                  <a:pt x="245" y="400"/>
                </a:lnTo>
                <a:lnTo>
                  <a:pt x="243" y="412"/>
                </a:lnTo>
                <a:lnTo>
                  <a:pt x="241" y="423"/>
                </a:lnTo>
                <a:lnTo>
                  <a:pt x="236" y="446"/>
                </a:lnTo>
                <a:lnTo>
                  <a:pt x="230" y="468"/>
                </a:lnTo>
                <a:lnTo>
                  <a:pt x="223" y="490"/>
                </a:lnTo>
                <a:lnTo>
                  <a:pt x="219" y="512"/>
                </a:lnTo>
                <a:lnTo>
                  <a:pt x="217" y="524"/>
                </a:lnTo>
                <a:lnTo>
                  <a:pt x="214" y="535"/>
                </a:lnTo>
                <a:lnTo>
                  <a:pt x="213" y="548"/>
                </a:lnTo>
                <a:lnTo>
                  <a:pt x="213" y="560"/>
                </a:lnTo>
                <a:lnTo>
                  <a:pt x="194" y="560"/>
                </a:lnTo>
                <a:lnTo>
                  <a:pt x="188" y="557"/>
                </a:lnTo>
                <a:lnTo>
                  <a:pt x="184" y="554"/>
                </a:lnTo>
                <a:lnTo>
                  <a:pt x="183" y="553"/>
                </a:lnTo>
                <a:lnTo>
                  <a:pt x="182" y="552"/>
                </a:lnTo>
                <a:lnTo>
                  <a:pt x="180" y="550"/>
                </a:lnTo>
                <a:lnTo>
                  <a:pt x="180" y="548"/>
                </a:lnTo>
                <a:lnTo>
                  <a:pt x="168" y="554"/>
                </a:lnTo>
                <a:lnTo>
                  <a:pt x="157" y="559"/>
                </a:lnTo>
                <a:lnTo>
                  <a:pt x="147" y="562"/>
                </a:lnTo>
                <a:lnTo>
                  <a:pt x="138" y="564"/>
                </a:lnTo>
                <a:lnTo>
                  <a:pt x="119" y="566"/>
                </a:lnTo>
                <a:lnTo>
                  <a:pt x="100" y="567"/>
                </a:lnTo>
                <a:lnTo>
                  <a:pt x="96" y="567"/>
                </a:lnTo>
                <a:lnTo>
                  <a:pt x="93" y="569"/>
                </a:lnTo>
                <a:lnTo>
                  <a:pt x="90" y="573"/>
                </a:lnTo>
                <a:lnTo>
                  <a:pt x="88" y="576"/>
                </a:lnTo>
                <a:lnTo>
                  <a:pt x="85" y="584"/>
                </a:lnTo>
                <a:lnTo>
                  <a:pt x="81" y="591"/>
                </a:lnTo>
                <a:lnTo>
                  <a:pt x="65" y="607"/>
                </a:lnTo>
                <a:lnTo>
                  <a:pt x="51" y="624"/>
                </a:lnTo>
                <a:lnTo>
                  <a:pt x="38" y="643"/>
                </a:lnTo>
                <a:lnTo>
                  <a:pt x="26" y="665"/>
                </a:lnTo>
                <a:lnTo>
                  <a:pt x="20" y="676"/>
                </a:lnTo>
                <a:lnTo>
                  <a:pt x="16" y="687"/>
                </a:lnTo>
                <a:lnTo>
                  <a:pt x="11" y="699"/>
                </a:lnTo>
                <a:lnTo>
                  <a:pt x="7" y="711"/>
                </a:lnTo>
                <a:lnTo>
                  <a:pt x="5" y="723"/>
                </a:lnTo>
                <a:lnTo>
                  <a:pt x="3" y="734"/>
                </a:lnTo>
                <a:lnTo>
                  <a:pt x="1" y="746"/>
                </a:lnTo>
                <a:lnTo>
                  <a:pt x="0" y="757"/>
                </a:lnTo>
                <a:lnTo>
                  <a:pt x="1" y="767"/>
                </a:lnTo>
                <a:lnTo>
                  <a:pt x="4" y="777"/>
                </a:lnTo>
                <a:lnTo>
                  <a:pt x="7" y="787"/>
                </a:lnTo>
                <a:lnTo>
                  <a:pt x="11" y="799"/>
                </a:lnTo>
                <a:lnTo>
                  <a:pt x="17" y="811"/>
                </a:lnTo>
                <a:lnTo>
                  <a:pt x="22" y="824"/>
                </a:lnTo>
                <a:lnTo>
                  <a:pt x="30" y="836"/>
                </a:lnTo>
                <a:lnTo>
                  <a:pt x="38" y="848"/>
                </a:lnTo>
                <a:lnTo>
                  <a:pt x="46" y="859"/>
                </a:lnTo>
                <a:lnTo>
                  <a:pt x="56" y="870"/>
                </a:lnTo>
                <a:lnTo>
                  <a:pt x="66" y="880"/>
                </a:lnTo>
                <a:lnTo>
                  <a:pt x="76" y="889"/>
                </a:lnTo>
                <a:lnTo>
                  <a:pt x="87" y="896"/>
                </a:lnTo>
                <a:lnTo>
                  <a:pt x="98" y="901"/>
                </a:lnTo>
                <a:lnTo>
                  <a:pt x="104" y="903"/>
                </a:lnTo>
                <a:lnTo>
                  <a:pt x="109" y="904"/>
                </a:lnTo>
                <a:lnTo>
                  <a:pt x="115" y="905"/>
                </a:lnTo>
                <a:lnTo>
                  <a:pt x="120" y="905"/>
                </a:lnTo>
                <a:lnTo>
                  <a:pt x="130" y="904"/>
                </a:lnTo>
                <a:lnTo>
                  <a:pt x="138" y="902"/>
                </a:lnTo>
                <a:lnTo>
                  <a:pt x="146" y="898"/>
                </a:lnTo>
                <a:lnTo>
                  <a:pt x="153" y="893"/>
                </a:lnTo>
                <a:lnTo>
                  <a:pt x="161" y="889"/>
                </a:lnTo>
                <a:lnTo>
                  <a:pt x="168" y="885"/>
                </a:lnTo>
                <a:lnTo>
                  <a:pt x="177" y="882"/>
                </a:lnTo>
                <a:lnTo>
                  <a:pt x="187" y="881"/>
                </a:lnTo>
                <a:lnTo>
                  <a:pt x="189" y="903"/>
                </a:lnTo>
                <a:lnTo>
                  <a:pt x="190" y="934"/>
                </a:lnTo>
                <a:lnTo>
                  <a:pt x="190" y="942"/>
                </a:lnTo>
                <a:lnTo>
                  <a:pt x="191" y="949"/>
                </a:lnTo>
                <a:lnTo>
                  <a:pt x="194" y="956"/>
                </a:lnTo>
                <a:lnTo>
                  <a:pt x="196" y="961"/>
                </a:lnTo>
                <a:lnTo>
                  <a:pt x="199" y="966"/>
                </a:lnTo>
                <a:lnTo>
                  <a:pt x="202" y="970"/>
                </a:lnTo>
                <a:lnTo>
                  <a:pt x="208" y="972"/>
                </a:lnTo>
                <a:lnTo>
                  <a:pt x="213" y="973"/>
                </a:lnTo>
                <a:lnTo>
                  <a:pt x="233" y="973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058" name="Freeform 10"/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4289425" y="1840712"/>
            <a:ext cx="69850" cy="36910"/>
          </a:xfrm>
          <a:custGeom>
            <a:avLst/>
            <a:gdLst/>
            <a:ahLst/>
            <a:cxnLst>
              <a:cxn ang="0">
                <a:pos x="94" y="0"/>
              </a:cxn>
              <a:cxn ang="0">
                <a:pos x="107" y="18"/>
              </a:cxn>
              <a:cxn ang="0">
                <a:pos x="112" y="12"/>
              </a:cxn>
              <a:cxn ang="0">
                <a:pos x="117" y="8"/>
              </a:cxn>
              <a:cxn ang="0">
                <a:pos x="122" y="5"/>
              </a:cxn>
              <a:cxn ang="0">
                <a:pos x="127" y="3"/>
              </a:cxn>
              <a:cxn ang="0">
                <a:pos x="137" y="1"/>
              </a:cxn>
              <a:cxn ang="0">
                <a:pos x="148" y="0"/>
              </a:cxn>
              <a:cxn ang="0">
                <a:pos x="151" y="0"/>
              </a:cxn>
              <a:cxn ang="0">
                <a:pos x="161" y="0"/>
              </a:cxn>
              <a:cxn ang="0">
                <a:pos x="161" y="92"/>
              </a:cxn>
              <a:cxn ang="0">
                <a:pos x="155" y="93"/>
              </a:cxn>
              <a:cxn ang="0">
                <a:pos x="150" y="93"/>
              </a:cxn>
              <a:cxn ang="0">
                <a:pos x="145" y="92"/>
              </a:cxn>
              <a:cxn ang="0">
                <a:pos x="140" y="91"/>
              </a:cxn>
              <a:cxn ang="0">
                <a:pos x="129" y="88"/>
              </a:cxn>
              <a:cxn ang="0">
                <a:pos x="120" y="82"/>
              </a:cxn>
              <a:cxn ang="0">
                <a:pos x="111" y="75"/>
              </a:cxn>
              <a:cxn ang="0">
                <a:pos x="104" y="67"/>
              </a:cxn>
              <a:cxn ang="0">
                <a:pos x="97" y="59"/>
              </a:cxn>
              <a:cxn ang="0">
                <a:pos x="94" y="49"/>
              </a:cxn>
              <a:cxn ang="0">
                <a:pos x="92" y="50"/>
              </a:cxn>
              <a:cxn ang="0">
                <a:pos x="89" y="51"/>
              </a:cxn>
              <a:cxn ang="0">
                <a:pos x="86" y="51"/>
              </a:cxn>
              <a:cxn ang="0">
                <a:pos x="84" y="51"/>
              </a:cxn>
              <a:cxn ang="0">
                <a:pos x="78" y="50"/>
              </a:cxn>
              <a:cxn ang="0">
                <a:pos x="74" y="49"/>
              </a:cxn>
              <a:cxn ang="0">
                <a:pos x="65" y="48"/>
              </a:cxn>
              <a:cxn ang="0">
                <a:pos x="55" y="45"/>
              </a:cxn>
              <a:cxn ang="0">
                <a:pos x="44" y="40"/>
              </a:cxn>
              <a:cxn ang="0">
                <a:pos x="32" y="34"/>
              </a:cxn>
              <a:cxn ang="0">
                <a:pos x="21" y="26"/>
              </a:cxn>
              <a:cxn ang="0">
                <a:pos x="12" y="18"/>
              </a:cxn>
              <a:cxn ang="0">
                <a:pos x="8" y="14"/>
              </a:cxn>
              <a:cxn ang="0">
                <a:pos x="5" y="9"/>
              </a:cxn>
              <a:cxn ang="0">
                <a:pos x="3" y="5"/>
              </a:cxn>
              <a:cxn ang="0">
                <a:pos x="0" y="0"/>
              </a:cxn>
              <a:cxn ang="0">
                <a:pos x="94" y="0"/>
              </a:cxn>
            </a:cxnLst>
            <a:rect l="0" t="0" r="r" b="b"/>
            <a:pathLst>
              <a:path w="161" h="93">
                <a:moveTo>
                  <a:pt x="94" y="0"/>
                </a:moveTo>
                <a:lnTo>
                  <a:pt x="107" y="18"/>
                </a:lnTo>
                <a:lnTo>
                  <a:pt x="112" y="12"/>
                </a:lnTo>
                <a:lnTo>
                  <a:pt x="117" y="8"/>
                </a:lnTo>
                <a:lnTo>
                  <a:pt x="122" y="5"/>
                </a:lnTo>
                <a:lnTo>
                  <a:pt x="127" y="3"/>
                </a:lnTo>
                <a:lnTo>
                  <a:pt x="137" y="1"/>
                </a:lnTo>
                <a:lnTo>
                  <a:pt x="148" y="0"/>
                </a:lnTo>
                <a:lnTo>
                  <a:pt x="151" y="0"/>
                </a:lnTo>
                <a:lnTo>
                  <a:pt x="161" y="0"/>
                </a:lnTo>
                <a:lnTo>
                  <a:pt x="161" y="92"/>
                </a:lnTo>
                <a:lnTo>
                  <a:pt x="155" y="93"/>
                </a:lnTo>
                <a:lnTo>
                  <a:pt x="150" y="93"/>
                </a:lnTo>
                <a:lnTo>
                  <a:pt x="145" y="92"/>
                </a:lnTo>
                <a:lnTo>
                  <a:pt x="140" y="91"/>
                </a:lnTo>
                <a:lnTo>
                  <a:pt x="129" y="88"/>
                </a:lnTo>
                <a:lnTo>
                  <a:pt x="120" y="82"/>
                </a:lnTo>
                <a:lnTo>
                  <a:pt x="111" y="75"/>
                </a:lnTo>
                <a:lnTo>
                  <a:pt x="104" y="67"/>
                </a:lnTo>
                <a:lnTo>
                  <a:pt x="97" y="59"/>
                </a:lnTo>
                <a:lnTo>
                  <a:pt x="94" y="49"/>
                </a:lnTo>
                <a:lnTo>
                  <a:pt x="92" y="50"/>
                </a:lnTo>
                <a:lnTo>
                  <a:pt x="89" y="51"/>
                </a:lnTo>
                <a:lnTo>
                  <a:pt x="86" y="51"/>
                </a:lnTo>
                <a:lnTo>
                  <a:pt x="84" y="51"/>
                </a:lnTo>
                <a:lnTo>
                  <a:pt x="78" y="50"/>
                </a:lnTo>
                <a:lnTo>
                  <a:pt x="74" y="49"/>
                </a:lnTo>
                <a:lnTo>
                  <a:pt x="65" y="48"/>
                </a:lnTo>
                <a:lnTo>
                  <a:pt x="55" y="45"/>
                </a:lnTo>
                <a:lnTo>
                  <a:pt x="44" y="40"/>
                </a:lnTo>
                <a:lnTo>
                  <a:pt x="32" y="34"/>
                </a:lnTo>
                <a:lnTo>
                  <a:pt x="21" y="26"/>
                </a:lnTo>
                <a:lnTo>
                  <a:pt x="12" y="18"/>
                </a:lnTo>
                <a:lnTo>
                  <a:pt x="8" y="14"/>
                </a:lnTo>
                <a:lnTo>
                  <a:pt x="5" y="9"/>
                </a:lnTo>
                <a:lnTo>
                  <a:pt x="3" y="5"/>
                </a:lnTo>
                <a:lnTo>
                  <a:pt x="0" y="0"/>
                </a:lnTo>
                <a:lnTo>
                  <a:pt x="94" y="0"/>
                </a:lnTo>
              </a:path>
            </a:pathLst>
          </a:custGeom>
          <a:solidFill>
            <a:srgbClr val="007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059" name="Freeform 11"/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3787775" y="1746656"/>
            <a:ext cx="82550" cy="120253"/>
          </a:xfrm>
          <a:custGeom>
            <a:avLst/>
            <a:gdLst/>
            <a:ahLst/>
            <a:cxnLst>
              <a:cxn ang="0">
                <a:pos x="38" y="3"/>
              </a:cxn>
              <a:cxn ang="0">
                <a:pos x="37" y="0"/>
              </a:cxn>
              <a:cxn ang="0">
                <a:pos x="57" y="3"/>
              </a:cxn>
              <a:cxn ang="0">
                <a:pos x="110" y="14"/>
              </a:cxn>
              <a:cxn ang="0">
                <a:pos x="155" y="25"/>
              </a:cxn>
              <a:cxn ang="0">
                <a:pos x="181" y="28"/>
              </a:cxn>
              <a:cxn ang="0">
                <a:pos x="192" y="35"/>
              </a:cxn>
              <a:cxn ang="0">
                <a:pos x="188" y="47"/>
              </a:cxn>
              <a:cxn ang="0">
                <a:pos x="175" y="82"/>
              </a:cxn>
              <a:cxn ang="0">
                <a:pos x="158" y="127"/>
              </a:cxn>
              <a:cxn ang="0">
                <a:pos x="147" y="165"/>
              </a:cxn>
              <a:cxn ang="0">
                <a:pos x="146" y="207"/>
              </a:cxn>
              <a:cxn ang="0">
                <a:pos x="144" y="249"/>
              </a:cxn>
              <a:cxn ang="0">
                <a:pos x="134" y="277"/>
              </a:cxn>
              <a:cxn ang="0">
                <a:pos x="106" y="296"/>
              </a:cxn>
              <a:cxn ang="0">
                <a:pos x="83" y="303"/>
              </a:cxn>
              <a:cxn ang="0">
                <a:pos x="72" y="307"/>
              </a:cxn>
              <a:cxn ang="0">
                <a:pos x="52" y="305"/>
              </a:cxn>
              <a:cxn ang="0">
                <a:pos x="32" y="291"/>
              </a:cxn>
              <a:cxn ang="0">
                <a:pos x="30" y="277"/>
              </a:cxn>
              <a:cxn ang="0">
                <a:pos x="22" y="257"/>
              </a:cxn>
              <a:cxn ang="0">
                <a:pos x="10" y="231"/>
              </a:cxn>
              <a:cxn ang="0">
                <a:pos x="2" y="211"/>
              </a:cxn>
              <a:cxn ang="0">
                <a:pos x="0" y="197"/>
              </a:cxn>
              <a:cxn ang="0">
                <a:pos x="0" y="180"/>
              </a:cxn>
              <a:cxn ang="0">
                <a:pos x="2" y="165"/>
              </a:cxn>
              <a:cxn ang="0">
                <a:pos x="11" y="145"/>
              </a:cxn>
              <a:cxn ang="0">
                <a:pos x="33" y="109"/>
              </a:cxn>
              <a:cxn ang="0">
                <a:pos x="48" y="81"/>
              </a:cxn>
              <a:cxn ang="0">
                <a:pos x="52" y="62"/>
              </a:cxn>
              <a:cxn ang="0">
                <a:pos x="53" y="41"/>
              </a:cxn>
              <a:cxn ang="0">
                <a:pos x="55" y="30"/>
              </a:cxn>
              <a:cxn ang="0">
                <a:pos x="57" y="26"/>
              </a:cxn>
              <a:cxn ang="0">
                <a:pos x="60" y="22"/>
              </a:cxn>
              <a:cxn ang="0">
                <a:pos x="44" y="7"/>
              </a:cxn>
            </a:cxnLst>
            <a:rect l="0" t="0" r="r" b="b"/>
            <a:pathLst>
              <a:path w="192" h="307">
                <a:moveTo>
                  <a:pt x="44" y="7"/>
                </a:moveTo>
                <a:lnTo>
                  <a:pt x="38" y="3"/>
                </a:lnTo>
                <a:lnTo>
                  <a:pt x="35" y="1"/>
                </a:lnTo>
                <a:lnTo>
                  <a:pt x="37" y="0"/>
                </a:lnTo>
                <a:lnTo>
                  <a:pt x="41" y="0"/>
                </a:lnTo>
                <a:lnTo>
                  <a:pt x="57" y="3"/>
                </a:lnTo>
                <a:lnTo>
                  <a:pt x="82" y="8"/>
                </a:lnTo>
                <a:lnTo>
                  <a:pt x="110" y="14"/>
                </a:lnTo>
                <a:lnTo>
                  <a:pt x="141" y="22"/>
                </a:lnTo>
                <a:lnTo>
                  <a:pt x="155" y="25"/>
                </a:lnTo>
                <a:lnTo>
                  <a:pt x="169" y="27"/>
                </a:lnTo>
                <a:lnTo>
                  <a:pt x="181" y="28"/>
                </a:lnTo>
                <a:lnTo>
                  <a:pt x="192" y="29"/>
                </a:lnTo>
                <a:lnTo>
                  <a:pt x="192" y="35"/>
                </a:lnTo>
                <a:lnTo>
                  <a:pt x="192" y="41"/>
                </a:lnTo>
                <a:lnTo>
                  <a:pt x="188" y="47"/>
                </a:lnTo>
                <a:lnTo>
                  <a:pt x="183" y="61"/>
                </a:lnTo>
                <a:lnTo>
                  <a:pt x="175" y="82"/>
                </a:lnTo>
                <a:lnTo>
                  <a:pt x="167" y="104"/>
                </a:lnTo>
                <a:lnTo>
                  <a:pt x="158" y="127"/>
                </a:lnTo>
                <a:lnTo>
                  <a:pt x="152" y="148"/>
                </a:lnTo>
                <a:lnTo>
                  <a:pt x="147" y="165"/>
                </a:lnTo>
                <a:lnTo>
                  <a:pt x="146" y="176"/>
                </a:lnTo>
                <a:lnTo>
                  <a:pt x="146" y="207"/>
                </a:lnTo>
                <a:lnTo>
                  <a:pt x="146" y="234"/>
                </a:lnTo>
                <a:lnTo>
                  <a:pt x="144" y="249"/>
                </a:lnTo>
                <a:lnTo>
                  <a:pt x="141" y="263"/>
                </a:lnTo>
                <a:lnTo>
                  <a:pt x="134" y="277"/>
                </a:lnTo>
                <a:lnTo>
                  <a:pt x="127" y="294"/>
                </a:lnTo>
                <a:lnTo>
                  <a:pt x="106" y="296"/>
                </a:lnTo>
                <a:lnTo>
                  <a:pt x="91" y="300"/>
                </a:lnTo>
                <a:lnTo>
                  <a:pt x="83" y="303"/>
                </a:lnTo>
                <a:lnTo>
                  <a:pt x="77" y="306"/>
                </a:lnTo>
                <a:lnTo>
                  <a:pt x="72" y="307"/>
                </a:lnTo>
                <a:lnTo>
                  <a:pt x="64" y="307"/>
                </a:lnTo>
                <a:lnTo>
                  <a:pt x="52" y="305"/>
                </a:lnTo>
                <a:lnTo>
                  <a:pt x="33" y="300"/>
                </a:lnTo>
                <a:lnTo>
                  <a:pt x="32" y="291"/>
                </a:lnTo>
                <a:lnTo>
                  <a:pt x="32" y="284"/>
                </a:lnTo>
                <a:lnTo>
                  <a:pt x="30" y="277"/>
                </a:lnTo>
                <a:lnTo>
                  <a:pt x="28" y="270"/>
                </a:lnTo>
                <a:lnTo>
                  <a:pt x="22" y="257"/>
                </a:lnTo>
                <a:lnTo>
                  <a:pt x="17" y="244"/>
                </a:lnTo>
                <a:lnTo>
                  <a:pt x="10" y="231"/>
                </a:lnTo>
                <a:lnTo>
                  <a:pt x="5" y="218"/>
                </a:lnTo>
                <a:lnTo>
                  <a:pt x="2" y="211"/>
                </a:lnTo>
                <a:lnTo>
                  <a:pt x="1" y="204"/>
                </a:lnTo>
                <a:lnTo>
                  <a:pt x="0" y="197"/>
                </a:lnTo>
                <a:lnTo>
                  <a:pt x="0" y="189"/>
                </a:lnTo>
                <a:lnTo>
                  <a:pt x="0" y="180"/>
                </a:lnTo>
                <a:lnTo>
                  <a:pt x="1" y="173"/>
                </a:lnTo>
                <a:lnTo>
                  <a:pt x="2" y="165"/>
                </a:lnTo>
                <a:lnTo>
                  <a:pt x="5" y="158"/>
                </a:lnTo>
                <a:lnTo>
                  <a:pt x="11" y="145"/>
                </a:lnTo>
                <a:lnTo>
                  <a:pt x="18" y="133"/>
                </a:lnTo>
                <a:lnTo>
                  <a:pt x="33" y="109"/>
                </a:lnTo>
                <a:lnTo>
                  <a:pt x="46" y="90"/>
                </a:lnTo>
                <a:lnTo>
                  <a:pt x="48" y="81"/>
                </a:lnTo>
                <a:lnTo>
                  <a:pt x="50" y="72"/>
                </a:lnTo>
                <a:lnTo>
                  <a:pt x="52" y="62"/>
                </a:lnTo>
                <a:lnTo>
                  <a:pt x="53" y="53"/>
                </a:lnTo>
                <a:lnTo>
                  <a:pt x="53" y="41"/>
                </a:lnTo>
                <a:lnTo>
                  <a:pt x="54" y="34"/>
                </a:lnTo>
                <a:lnTo>
                  <a:pt x="55" y="30"/>
                </a:lnTo>
                <a:lnTo>
                  <a:pt x="56" y="28"/>
                </a:lnTo>
                <a:lnTo>
                  <a:pt x="57" y="26"/>
                </a:lnTo>
                <a:lnTo>
                  <a:pt x="58" y="25"/>
                </a:lnTo>
                <a:lnTo>
                  <a:pt x="60" y="22"/>
                </a:lnTo>
                <a:lnTo>
                  <a:pt x="60" y="16"/>
                </a:lnTo>
                <a:lnTo>
                  <a:pt x="44" y="7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060" name="Freeform 12"/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3868738" y="1360890"/>
            <a:ext cx="171450" cy="202406"/>
          </a:xfrm>
          <a:custGeom>
            <a:avLst/>
            <a:gdLst/>
            <a:ahLst/>
            <a:cxnLst>
              <a:cxn ang="0">
                <a:pos x="26" y="2"/>
              </a:cxn>
              <a:cxn ang="0">
                <a:pos x="95" y="13"/>
              </a:cxn>
              <a:cxn ang="0">
                <a:pos x="116" y="23"/>
              </a:cxn>
              <a:cxn ang="0">
                <a:pos x="80" y="47"/>
              </a:cxn>
              <a:cxn ang="0">
                <a:pos x="64" y="62"/>
              </a:cxn>
              <a:cxn ang="0">
                <a:pos x="77" y="69"/>
              </a:cxn>
              <a:cxn ang="0">
                <a:pos x="167" y="79"/>
              </a:cxn>
              <a:cxn ang="0">
                <a:pos x="210" y="109"/>
              </a:cxn>
              <a:cxn ang="0">
                <a:pos x="154" y="127"/>
              </a:cxn>
              <a:cxn ang="0">
                <a:pos x="147" y="138"/>
              </a:cxn>
              <a:cxn ang="0">
                <a:pos x="191" y="143"/>
              </a:cxn>
              <a:cxn ang="0">
                <a:pos x="211" y="156"/>
              </a:cxn>
              <a:cxn ang="0">
                <a:pos x="243" y="191"/>
              </a:cxn>
              <a:cxn ang="0">
                <a:pos x="258" y="212"/>
              </a:cxn>
              <a:cxn ang="0">
                <a:pos x="260" y="237"/>
              </a:cxn>
              <a:cxn ang="0">
                <a:pos x="272" y="254"/>
              </a:cxn>
              <a:cxn ang="0">
                <a:pos x="286" y="279"/>
              </a:cxn>
              <a:cxn ang="0">
                <a:pos x="306" y="297"/>
              </a:cxn>
              <a:cxn ang="0">
                <a:pos x="327" y="320"/>
              </a:cxn>
              <a:cxn ang="0">
                <a:pos x="346" y="337"/>
              </a:cxn>
              <a:cxn ang="0">
                <a:pos x="370" y="341"/>
              </a:cxn>
              <a:cxn ang="0">
                <a:pos x="396" y="365"/>
              </a:cxn>
              <a:cxn ang="0">
                <a:pos x="395" y="395"/>
              </a:cxn>
              <a:cxn ang="0">
                <a:pos x="382" y="404"/>
              </a:cxn>
              <a:cxn ang="0">
                <a:pos x="367" y="415"/>
              </a:cxn>
              <a:cxn ang="0">
                <a:pos x="368" y="426"/>
              </a:cxn>
              <a:cxn ang="0">
                <a:pos x="376" y="443"/>
              </a:cxn>
              <a:cxn ang="0">
                <a:pos x="359" y="463"/>
              </a:cxn>
              <a:cxn ang="0">
                <a:pos x="146" y="500"/>
              </a:cxn>
              <a:cxn ang="0">
                <a:pos x="68" y="508"/>
              </a:cxn>
              <a:cxn ang="0">
                <a:pos x="53" y="518"/>
              </a:cxn>
              <a:cxn ang="0">
                <a:pos x="58" y="493"/>
              </a:cxn>
              <a:cxn ang="0">
                <a:pos x="71" y="476"/>
              </a:cxn>
              <a:cxn ang="0">
                <a:pos x="114" y="458"/>
              </a:cxn>
              <a:cxn ang="0">
                <a:pos x="172" y="439"/>
              </a:cxn>
              <a:cxn ang="0">
                <a:pos x="179" y="426"/>
              </a:cxn>
              <a:cxn ang="0">
                <a:pos x="171" y="434"/>
              </a:cxn>
              <a:cxn ang="0">
                <a:pos x="111" y="432"/>
              </a:cxn>
              <a:cxn ang="0">
                <a:pos x="76" y="420"/>
              </a:cxn>
              <a:cxn ang="0">
                <a:pos x="77" y="402"/>
              </a:cxn>
              <a:cxn ang="0">
                <a:pos x="95" y="391"/>
              </a:cxn>
              <a:cxn ang="0">
                <a:pos x="87" y="352"/>
              </a:cxn>
              <a:cxn ang="0">
                <a:pos x="105" y="329"/>
              </a:cxn>
              <a:cxn ang="0">
                <a:pos x="154" y="309"/>
              </a:cxn>
              <a:cxn ang="0">
                <a:pos x="172" y="291"/>
              </a:cxn>
              <a:cxn ang="0">
                <a:pos x="148" y="271"/>
              </a:cxn>
              <a:cxn ang="0">
                <a:pos x="139" y="247"/>
              </a:cxn>
              <a:cxn ang="0">
                <a:pos x="94" y="239"/>
              </a:cxn>
              <a:cxn ang="0">
                <a:pos x="80" y="216"/>
              </a:cxn>
              <a:cxn ang="0">
                <a:pos x="90" y="192"/>
              </a:cxn>
              <a:cxn ang="0">
                <a:pos x="100" y="168"/>
              </a:cxn>
              <a:cxn ang="0">
                <a:pos x="73" y="186"/>
              </a:cxn>
              <a:cxn ang="0">
                <a:pos x="22" y="162"/>
              </a:cxn>
              <a:cxn ang="0">
                <a:pos x="20" y="142"/>
              </a:cxn>
              <a:cxn ang="0">
                <a:pos x="14" y="131"/>
              </a:cxn>
              <a:cxn ang="0">
                <a:pos x="20" y="63"/>
              </a:cxn>
              <a:cxn ang="0">
                <a:pos x="19" y="49"/>
              </a:cxn>
              <a:cxn ang="0">
                <a:pos x="4" y="40"/>
              </a:cxn>
              <a:cxn ang="0">
                <a:pos x="20" y="19"/>
              </a:cxn>
              <a:cxn ang="0">
                <a:pos x="3" y="9"/>
              </a:cxn>
            </a:cxnLst>
            <a:rect l="0" t="0" r="r" b="b"/>
            <a:pathLst>
              <a:path w="398" h="518">
                <a:moveTo>
                  <a:pt x="0" y="1"/>
                </a:moveTo>
                <a:lnTo>
                  <a:pt x="6" y="0"/>
                </a:lnTo>
                <a:lnTo>
                  <a:pt x="15" y="1"/>
                </a:lnTo>
                <a:lnTo>
                  <a:pt x="26" y="2"/>
                </a:lnTo>
                <a:lnTo>
                  <a:pt x="39" y="5"/>
                </a:lnTo>
                <a:lnTo>
                  <a:pt x="56" y="8"/>
                </a:lnTo>
                <a:lnTo>
                  <a:pt x="75" y="11"/>
                </a:lnTo>
                <a:lnTo>
                  <a:pt x="95" y="13"/>
                </a:lnTo>
                <a:lnTo>
                  <a:pt x="120" y="13"/>
                </a:lnTo>
                <a:lnTo>
                  <a:pt x="120" y="17"/>
                </a:lnTo>
                <a:lnTo>
                  <a:pt x="118" y="20"/>
                </a:lnTo>
                <a:lnTo>
                  <a:pt x="116" y="23"/>
                </a:lnTo>
                <a:lnTo>
                  <a:pt x="114" y="26"/>
                </a:lnTo>
                <a:lnTo>
                  <a:pt x="107" y="32"/>
                </a:lnTo>
                <a:lnTo>
                  <a:pt x="99" y="37"/>
                </a:lnTo>
                <a:lnTo>
                  <a:pt x="80" y="47"/>
                </a:lnTo>
                <a:lnTo>
                  <a:pt x="66" y="57"/>
                </a:lnTo>
                <a:lnTo>
                  <a:pt x="65" y="59"/>
                </a:lnTo>
                <a:lnTo>
                  <a:pt x="64" y="61"/>
                </a:lnTo>
                <a:lnTo>
                  <a:pt x="64" y="62"/>
                </a:lnTo>
                <a:lnTo>
                  <a:pt x="65" y="64"/>
                </a:lnTo>
                <a:lnTo>
                  <a:pt x="68" y="66"/>
                </a:lnTo>
                <a:lnTo>
                  <a:pt x="71" y="67"/>
                </a:lnTo>
                <a:lnTo>
                  <a:pt x="77" y="69"/>
                </a:lnTo>
                <a:lnTo>
                  <a:pt x="84" y="70"/>
                </a:lnTo>
                <a:lnTo>
                  <a:pt x="103" y="73"/>
                </a:lnTo>
                <a:lnTo>
                  <a:pt x="131" y="76"/>
                </a:lnTo>
                <a:lnTo>
                  <a:pt x="167" y="79"/>
                </a:lnTo>
                <a:lnTo>
                  <a:pt x="213" y="81"/>
                </a:lnTo>
                <a:lnTo>
                  <a:pt x="213" y="91"/>
                </a:lnTo>
                <a:lnTo>
                  <a:pt x="213" y="105"/>
                </a:lnTo>
                <a:lnTo>
                  <a:pt x="210" y="109"/>
                </a:lnTo>
                <a:lnTo>
                  <a:pt x="202" y="112"/>
                </a:lnTo>
                <a:lnTo>
                  <a:pt x="191" y="116"/>
                </a:lnTo>
                <a:lnTo>
                  <a:pt x="179" y="120"/>
                </a:lnTo>
                <a:lnTo>
                  <a:pt x="154" y="127"/>
                </a:lnTo>
                <a:lnTo>
                  <a:pt x="139" y="130"/>
                </a:lnTo>
                <a:lnTo>
                  <a:pt x="142" y="133"/>
                </a:lnTo>
                <a:lnTo>
                  <a:pt x="144" y="136"/>
                </a:lnTo>
                <a:lnTo>
                  <a:pt x="147" y="138"/>
                </a:lnTo>
                <a:lnTo>
                  <a:pt x="150" y="140"/>
                </a:lnTo>
                <a:lnTo>
                  <a:pt x="160" y="142"/>
                </a:lnTo>
                <a:lnTo>
                  <a:pt x="170" y="143"/>
                </a:lnTo>
                <a:lnTo>
                  <a:pt x="191" y="143"/>
                </a:lnTo>
                <a:lnTo>
                  <a:pt x="206" y="142"/>
                </a:lnTo>
                <a:lnTo>
                  <a:pt x="206" y="147"/>
                </a:lnTo>
                <a:lnTo>
                  <a:pt x="208" y="152"/>
                </a:lnTo>
                <a:lnTo>
                  <a:pt x="211" y="156"/>
                </a:lnTo>
                <a:lnTo>
                  <a:pt x="214" y="161"/>
                </a:lnTo>
                <a:lnTo>
                  <a:pt x="223" y="172"/>
                </a:lnTo>
                <a:lnTo>
                  <a:pt x="233" y="182"/>
                </a:lnTo>
                <a:lnTo>
                  <a:pt x="243" y="191"/>
                </a:lnTo>
                <a:lnTo>
                  <a:pt x="250" y="200"/>
                </a:lnTo>
                <a:lnTo>
                  <a:pt x="254" y="205"/>
                </a:lnTo>
                <a:lnTo>
                  <a:pt x="257" y="209"/>
                </a:lnTo>
                <a:lnTo>
                  <a:pt x="258" y="212"/>
                </a:lnTo>
                <a:lnTo>
                  <a:pt x="259" y="216"/>
                </a:lnTo>
                <a:lnTo>
                  <a:pt x="259" y="223"/>
                </a:lnTo>
                <a:lnTo>
                  <a:pt x="260" y="232"/>
                </a:lnTo>
                <a:lnTo>
                  <a:pt x="260" y="237"/>
                </a:lnTo>
                <a:lnTo>
                  <a:pt x="262" y="241"/>
                </a:lnTo>
                <a:lnTo>
                  <a:pt x="263" y="244"/>
                </a:lnTo>
                <a:lnTo>
                  <a:pt x="266" y="247"/>
                </a:lnTo>
                <a:lnTo>
                  <a:pt x="272" y="254"/>
                </a:lnTo>
                <a:lnTo>
                  <a:pt x="277" y="261"/>
                </a:lnTo>
                <a:lnTo>
                  <a:pt x="280" y="267"/>
                </a:lnTo>
                <a:lnTo>
                  <a:pt x="283" y="273"/>
                </a:lnTo>
                <a:lnTo>
                  <a:pt x="286" y="279"/>
                </a:lnTo>
                <a:lnTo>
                  <a:pt x="291" y="284"/>
                </a:lnTo>
                <a:lnTo>
                  <a:pt x="297" y="288"/>
                </a:lnTo>
                <a:lnTo>
                  <a:pt x="305" y="291"/>
                </a:lnTo>
                <a:lnTo>
                  <a:pt x="306" y="297"/>
                </a:lnTo>
                <a:lnTo>
                  <a:pt x="310" y="304"/>
                </a:lnTo>
                <a:lnTo>
                  <a:pt x="315" y="310"/>
                </a:lnTo>
                <a:lnTo>
                  <a:pt x="320" y="316"/>
                </a:lnTo>
                <a:lnTo>
                  <a:pt x="327" y="320"/>
                </a:lnTo>
                <a:lnTo>
                  <a:pt x="334" y="324"/>
                </a:lnTo>
                <a:lnTo>
                  <a:pt x="340" y="326"/>
                </a:lnTo>
                <a:lnTo>
                  <a:pt x="346" y="327"/>
                </a:lnTo>
                <a:lnTo>
                  <a:pt x="346" y="337"/>
                </a:lnTo>
                <a:lnTo>
                  <a:pt x="346" y="346"/>
                </a:lnTo>
                <a:lnTo>
                  <a:pt x="355" y="343"/>
                </a:lnTo>
                <a:lnTo>
                  <a:pt x="363" y="341"/>
                </a:lnTo>
                <a:lnTo>
                  <a:pt x="370" y="341"/>
                </a:lnTo>
                <a:lnTo>
                  <a:pt x="376" y="342"/>
                </a:lnTo>
                <a:lnTo>
                  <a:pt x="389" y="347"/>
                </a:lnTo>
                <a:lnTo>
                  <a:pt x="398" y="352"/>
                </a:lnTo>
                <a:lnTo>
                  <a:pt x="396" y="365"/>
                </a:lnTo>
                <a:lnTo>
                  <a:pt x="394" y="376"/>
                </a:lnTo>
                <a:lnTo>
                  <a:pt x="393" y="382"/>
                </a:lnTo>
                <a:lnTo>
                  <a:pt x="393" y="389"/>
                </a:lnTo>
                <a:lnTo>
                  <a:pt x="395" y="395"/>
                </a:lnTo>
                <a:lnTo>
                  <a:pt x="398" y="401"/>
                </a:lnTo>
                <a:lnTo>
                  <a:pt x="393" y="402"/>
                </a:lnTo>
                <a:lnTo>
                  <a:pt x="387" y="403"/>
                </a:lnTo>
                <a:lnTo>
                  <a:pt x="382" y="404"/>
                </a:lnTo>
                <a:lnTo>
                  <a:pt x="376" y="406"/>
                </a:lnTo>
                <a:lnTo>
                  <a:pt x="372" y="409"/>
                </a:lnTo>
                <a:lnTo>
                  <a:pt x="369" y="412"/>
                </a:lnTo>
                <a:lnTo>
                  <a:pt x="367" y="415"/>
                </a:lnTo>
                <a:lnTo>
                  <a:pt x="365" y="420"/>
                </a:lnTo>
                <a:lnTo>
                  <a:pt x="365" y="422"/>
                </a:lnTo>
                <a:lnTo>
                  <a:pt x="367" y="424"/>
                </a:lnTo>
                <a:lnTo>
                  <a:pt x="368" y="426"/>
                </a:lnTo>
                <a:lnTo>
                  <a:pt x="370" y="429"/>
                </a:lnTo>
                <a:lnTo>
                  <a:pt x="376" y="433"/>
                </a:lnTo>
                <a:lnTo>
                  <a:pt x="385" y="438"/>
                </a:lnTo>
                <a:lnTo>
                  <a:pt x="376" y="443"/>
                </a:lnTo>
                <a:lnTo>
                  <a:pt x="371" y="447"/>
                </a:lnTo>
                <a:lnTo>
                  <a:pt x="367" y="451"/>
                </a:lnTo>
                <a:lnTo>
                  <a:pt x="363" y="455"/>
                </a:lnTo>
                <a:lnTo>
                  <a:pt x="359" y="463"/>
                </a:lnTo>
                <a:lnTo>
                  <a:pt x="352" y="475"/>
                </a:lnTo>
                <a:lnTo>
                  <a:pt x="146" y="475"/>
                </a:lnTo>
                <a:lnTo>
                  <a:pt x="146" y="487"/>
                </a:lnTo>
                <a:lnTo>
                  <a:pt x="146" y="500"/>
                </a:lnTo>
                <a:lnTo>
                  <a:pt x="116" y="501"/>
                </a:lnTo>
                <a:lnTo>
                  <a:pt x="90" y="503"/>
                </a:lnTo>
                <a:lnTo>
                  <a:pt x="78" y="505"/>
                </a:lnTo>
                <a:lnTo>
                  <a:pt x="68" y="508"/>
                </a:lnTo>
                <a:lnTo>
                  <a:pt x="64" y="510"/>
                </a:lnTo>
                <a:lnTo>
                  <a:pt x="59" y="512"/>
                </a:lnTo>
                <a:lnTo>
                  <a:pt x="56" y="515"/>
                </a:lnTo>
                <a:lnTo>
                  <a:pt x="53" y="518"/>
                </a:lnTo>
                <a:lnTo>
                  <a:pt x="54" y="511"/>
                </a:lnTo>
                <a:lnTo>
                  <a:pt x="55" y="505"/>
                </a:lnTo>
                <a:lnTo>
                  <a:pt x="56" y="499"/>
                </a:lnTo>
                <a:lnTo>
                  <a:pt x="58" y="493"/>
                </a:lnTo>
                <a:lnTo>
                  <a:pt x="61" y="488"/>
                </a:lnTo>
                <a:lnTo>
                  <a:pt x="64" y="484"/>
                </a:lnTo>
                <a:lnTo>
                  <a:pt x="68" y="480"/>
                </a:lnTo>
                <a:lnTo>
                  <a:pt x="71" y="476"/>
                </a:lnTo>
                <a:lnTo>
                  <a:pt x="81" y="470"/>
                </a:lnTo>
                <a:lnTo>
                  <a:pt x="91" y="465"/>
                </a:lnTo>
                <a:lnTo>
                  <a:pt x="102" y="462"/>
                </a:lnTo>
                <a:lnTo>
                  <a:pt x="114" y="458"/>
                </a:lnTo>
                <a:lnTo>
                  <a:pt x="136" y="453"/>
                </a:lnTo>
                <a:lnTo>
                  <a:pt x="157" y="448"/>
                </a:lnTo>
                <a:lnTo>
                  <a:pt x="165" y="444"/>
                </a:lnTo>
                <a:lnTo>
                  <a:pt x="172" y="439"/>
                </a:lnTo>
                <a:lnTo>
                  <a:pt x="174" y="436"/>
                </a:lnTo>
                <a:lnTo>
                  <a:pt x="177" y="433"/>
                </a:lnTo>
                <a:lnTo>
                  <a:pt x="179" y="429"/>
                </a:lnTo>
                <a:lnTo>
                  <a:pt x="179" y="426"/>
                </a:lnTo>
                <a:lnTo>
                  <a:pt x="179" y="428"/>
                </a:lnTo>
                <a:lnTo>
                  <a:pt x="177" y="430"/>
                </a:lnTo>
                <a:lnTo>
                  <a:pt x="174" y="432"/>
                </a:lnTo>
                <a:lnTo>
                  <a:pt x="171" y="434"/>
                </a:lnTo>
                <a:lnTo>
                  <a:pt x="162" y="437"/>
                </a:lnTo>
                <a:lnTo>
                  <a:pt x="152" y="438"/>
                </a:lnTo>
                <a:lnTo>
                  <a:pt x="137" y="437"/>
                </a:lnTo>
                <a:lnTo>
                  <a:pt x="111" y="432"/>
                </a:lnTo>
                <a:lnTo>
                  <a:pt x="96" y="429"/>
                </a:lnTo>
                <a:lnTo>
                  <a:pt x="84" y="425"/>
                </a:lnTo>
                <a:lnTo>
                  <a:pt x="80" y="423"/>
                </a:lnTo>
                <a:lnTo>
                  <a:pt x="76" y="420"/>
                </a:lnTo>
                <a:lnTo>
                  <a:pt x="73" y="417"/>
                </a:lnTo>
                <a:lnTo>
                  <a:pt x="73" y="414"/>
                </a:lnTo>
                <a:lnTo>
                  <a:pt x="73" y="407"/>
                </a:lnTo>
                <a:lnTo>
                  <a:pt x="77" y="402"/>
                </a:lnTo>
                <a:lnTo>
                  <a:pt x="80" y="398"/>
                </a:lnTo>
                <a:lnTo>
                  <a:pt x="84" y="395"/>
                </a:lnTo>
                <a:lnTo>
                  <a:pt x="90" y="392"/>
                </a:lnTo>
                <a:lnTo>
                  <a:pt x="95" y="391"/>
                </a:lnTo>
                <a:lnTo>
                  <a:pt x="101" y="390"/>
                </a:lnTo>
                <a:lnTo>
                  <a:pt x="106" y="389"/>
                </a:lnTo>
                <a:lnTo>
                  <a:pt x="106" y="352"/>
                </a:lnTo>
                <a:lnTo>
                  <a:pt x="87" y="352"/>
                </a:lnTo>
                <a:lnTo>
                  <a:pt x="90" y="345"/>
                </a:lnTo>
                <a:lnTo>
                  <a:pt x="94" y="339"/>
                </a:lnTo>
                <a:lnTo>
                  <a:pt x="100" y="334"/>
                </a:lnTo>
                <a:lnTo>
                  <a:pt x="105" y="329"/>
                </a:lnTo>
                <a:lnTo>
                  <a:pt x="117" y="323"/>
                </a:lnTo>
                <a:lnTo>
                  <a:pt x="129" y="319"/>
                </a:lnTo>
                <a:lnTo>
                  <a:pt x="142" y="315"/>
                </a:lnTo>
                <a:lnTo>
                  <a:pt x="154" y="309"/>
                </a:lnTo>
                <a:lnTo>
                  <a:pt x="159" y="306"/>
                </a:lnTo>
                <a:lnTo>
                  <a:pt x="163" y="302"/>
                </a:lnTo>
                <a:lnTo>
                  <a:pt x="169" y="297"/>
                </a:lnTo>
                <a:lnTo>
                  <a:pt x="172" y="291"/>
                </a:lnTo>
                <a:lnTo>
                  <a:pt x="166" y="286"/>
                </a:lnTo>
                <a:lnTo>
                  <a:pt x="159" y="281"/>
                </a:lnTo>
                <a:lnTo>
                  <a:pt x="154" y="277"/>
                </a:lnTo>
                <a:lnTo>
                  <a:pt x="148" y="271"/>
                </a:lnTo>
                <a:lnTo>
                  <a:pt x="145" y="265"/>
                </a:lnTo>
                <a:lnTo>
                  <a:pt x="142" y="260"/>
                </a:lnTo>
                <a:lnTo>
                  <a:pt x="140" y="254"/>
                </a:lnTo>
                <a:lnTo>
                  <a:pt x="139" y="247"/>
                </a:lnTo>
                <a:lnTo>
                  <a:pt x="125" y="247"/>
                </a:lnTo>
                <a:lnTo>
                  <a:pt x="113" y="245"/>
                </a:lnTo>
                <a:lnTo>
                  <a:pt x="103" y="242"/>
                </a:lnTo>
                <a:lnTo>
                  <a:pt x="94" y="239"/>
                </a:lnTo>
                <a:lnTo>
                  <a:pt x="88" y="235"/>
                </a:lnTo>
                <a:lnTo>
                  <a:pt x="83" y="229"/>
                </a:lnTo>
                <a:lnTo>
                  <a:pt x="80" y="224"/>
                </a:lnTo>
                <a:lnTo>
                  <a:pt x="80" y="216"/>
                </a:lnTo>
                <a:lnTo>
                  <a:pt x="80" y="209"/>
                </a:lnTo>
                <a:lnTo>
                  <a:pt x="82" y="203"/>
                </a:lnTo>
                <a:lnTo>
                  <a:pt x="86" y="198"/>
                </a:lnTo>
                <a:lnTo>
                  <a:pt x="90" y="192"/>
                </a:lnTo>
                <a:lnTo>
                  <a:pt x="93" y="186"/>
                </a:lnTo>
                <a:lnTo>
                  <a:pt x="96" y="180"/>
                </a:lnTo>
                <a:lnTo>
                  <a:pt x="99" y="174"/>
                </a:lnTo>
                <a:lnTo>
                  <a:pt x="100" y="168"/>
                </a:lnTo>
                <a:lnTo>
                  <a:pt x="92" y="171"/>
                </a:lnTo>
                <a:lnTo>
                  <a:pt x="86" y="175"/>
                </a:lnTo>
                <a:lnTo>
                  <a:pt x="80" y="180"/>
                </a:lnTo>
                <a:lnTo>
                  <a:pt x="73" y="186"/>
                </a:lnTo>
                <a:lnTo>
                  <a:pt x="64" y="199"/>
                </a:lnTo>
                <a:lnTo>
                  <a:pt x="53" y="210"/>
                </a:lnTo>
                <a:lnTo>
                  <a:pt x="31" y="179"/>
                </a:lnTo>
                <a:lnTo>
                  <a:pt x="22" y="162"/>
                </a:lnTo>
                <a:lnTo>
                  <a:pt x="20" y="157"/>
                </a:lnTo>
                <a:lnTo>
                  <a:pt x="20" y="153"/>
                </a:lnTo>
                <a:lnTo>
                  <a:pt x="20" y="148"/>
                </a:lnTo>
                <a:lnTo>
                  <a:pt x="20" y="142"/>
                </a:lnTo>
                <a:lnTo>
                  <a:pt x="17" y="141"/>
                </a:lnTo>
                <a:lnTo>
                  <a:pt x="16" y="138"/>
                </a:lnTo>
                <a:lnTo>
                  <a:pt x="15" y="135"/>
                </a:lnTo>
                <a:lnTo>
                  <a:pt x="14" y="131"/>
                </a:lnTo>
                <a:lnTo>
                  <a:pt x="14" y="121"/>
                </a:lnTo>
                <a:lnTo>
                  <a:pt x="15" y="110"/>
                </a:lnTo>
                <a:lnTo>
                  <a:pt x="17" y="84"/>
                </a:lnTo>
                <a:lnTo>
                  <a:pt x="20" y="63"/>
                </a:lnTo>
                <a:lnTo>
                  <a:pt x="21" y="59"/>
                </a:lnTo>
                <a:lnTo>
                  <a:pt x="21" y="55"/>
                </a:lnTo>
                <a:lnTo>
                  <a:pt x="20" y="51"/>
                </a:lnTo>
                <a:lnTo>
                  <a:pt x="19" y="49"/>
                </a:lnTo>
                <a:lnTo>
                  <a:pt x="15" y="45"/>
                </a:lnTo>
                <a:lnTo>
                  <a:pt x="11" y="43"/>
                </a:lnTo>
                <a:lnTo>
                  <a:pt x="6" y="41"/>
                </a:lnTo>
                <a:lnTo>
                  <a:pt x="4" y="40"/>
                </a:lnTo>
                <a:lnTo>
                  <a:pt x="3" y="39"/>
                </a:lnTo>
                <a:lnTo>
                  <a:pt x="6" y="37"/>
                </a:lnTo>
                <a:lnTo>
                  <a:pt x="13" y="28"/>
                </a:lnTo>
                <a:lnTo>
                  <a:pt x="20" y="19"/>
                </a:lnTo>
                <a:lnTo>
                  <a:pt x="20" y="13"/>
                </a:lnTo>
                <a:lnTo>
                  <a:pt x="11" y="11"/>
                </a:lnTo>
                <a:lnTo>
                  <a:pt x="5" y="10"/>
                </a:lnTo>
                <a:lnTo>
                  <a:pt x="3" y="9"/>
                </a:lnTo>
                <a:lnTo>
                  <a:pt x="1" y="7"/>
                </a:lnTo>
                <a:lnTo>
                  <a:pt x="0" y="5"/>
                </a:lnTo>
                <a:lnTo>
                  <a:pt x="0" y="1"/>
                </a:lnTo>
              </a:path>
            </a:pathLst>
          </a:custGeom>
          <a:solidFill>
            <a:srgbClr val="007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061" name="Freeform 13"/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4227515" y="1588294"/>
            <a:ext cx="169862" cy="57150"/>
          </a:xfrm>
          <a:custGeom>
            <a:avLst/>
            <a:gdLst/>
            <a:ahLst/>
            <a:cxnLst>
              <a:cxn ang="0">
                <a:pos x="190" y="21"/>
              </a:cxn>
              <a:cxn ang="0">
                <a:pos x="177" y="31"/>
              </a:cxn>
              <a:cxn ang="0">
                <a:pos x="174" y="45"/>
              </a:cxn>
              <a:cxn ang="0">
                <a:pos x="168" y="53"/>
              </a:cxn>
              <a:cxn ang="0">
                <a:pos x="166" y="61"/>
              </a:cxn>
              <a:cxn ang="0">
                <a:pos x="177" y="74"/>
              </a:cxn>
              <a:cxn ang="0">
                <a:pos x="155" y="86"/>
              </a:cxn>
              <a:cxn ang="0">
                <a:pos x="108" y="96"/>
              </a:cxn>
              <a:cxn ang="0">
                <a:pos x="77" y="97"/>
              </a:cxn>
              <a:cxn ang="0">
                <a:pos x="52" y="95"/>
              </a:cxn>
              <a:cxn ang="0">
                <a:pos x="4" y="111"/>
              </a:cxn>
              <a:cxn ang="0">
                <a:pos x="0" y="129"/>
              </a:cxn>
              <a:cxn ang="0">
                <a:pos x="4" y="131"/>
              </a:cxn>
              <a:cxn ang="0">
                <a:pos x="12" y="131"/>
              </a:cxn>
              <a:cxn ang="0">
                <a:pos x="51" y="129"/>
              </a:cxn>
              <a:cxn ang="0">
                <a:pos x="114" y="127"/>
              </a:cxn>
              <a:cxn ang="0">
                <a:pos x="123" y="134"/>
              </a:cxn>
              <a:cxn ang="0">
                <a:pos x="137" y="141"/>
              </a:cxn>
              <a:cxn ang="0">
                <a:pos x="159" y="147"/>
              </a:cxn>
              <a:cxn ang="0">
                <a:pos x="185" y="148"/>
              </a:cxn>
              <a:cxn ang="0">
                <a:pos x="210" y="148"/>
              </a:cxn>
              <a:cxn ang="0">
                <a:pos x="233" y="148"/>
              </a:cxn>
              <a:cxn ang="0">
                <a:pos x="255" y="148"/>
              </a:cxn>
              <a:cxn ang="0">
                <a:pos x="275" y="143"/>
              </a:cxn>
              <a:cxn ang="0">
                <a:pos x="301" y="134"/>
              </a:cxn>
              <a:cxn ang="0">
                <a:pos x="334" y="121"/>
              </a:cxn>
              <a:cxn ang="0">
                <a:pos x="353" y="103"/>
              </a:cxn>
              <a:cxn ang="0">
                <a:pos x="372" y="72"/>
              </a:cxn>
              <a:cxn ang="0">
                <a:pos x="376" y="52"/>
              </a:cxn>
              <a:cxn ang="0">
                <a:pos x="363" y="44"/>
              </a:cxn>
              <a:cxn ang="0">
                <a:pos x="357" y="32"/>
              </a:cxn>
              <a:cxn ang="0">
                <a:pos x="347" y="22"/>
              </a:cxn>
              <a:cxn ang="0">
                <a:pos x="334" y="17"/>
              </a:cxn>
              <a:cxn ang="0">
                <a:pos x="319" y="8"/>
              </a:cxn>
              <a:cxn ang="0">
                <a:pos x="203" y="18"/>
              </a:cxn>
            </a:cxnLst>
            <a:rect l="0" t="0" r="r" b="b"/>
            <a:pathLst>
              <a:path w="382" h="148">
                <a:moveTo>
                  <a:pt x="203" y="18"/>
                </a:moveTo>
                <a:lnTo>
                  <a:pt x="190" y="21"/>
                </a:lnTo>
                <a:lnTo>
                  <a:pt x="177" y="24"/>
                </a:lnTo>
                <a:lnTo>
                  <a:pt x="177" y="31"/>
                </a:lnTo>
                <a:lnTo>
                  <a:pt x="175" y="40"/>
                </a:lnTo>
                <a:lnTo>
                  <a:pt x="174" y="45"/>
                </a:lnTo>
                <a:lnTo>
                  <a:pt x="172" y="49"/>
                </a:lnTo>
                <a:lnTo>
                  <a:pt x="168" y="53"/>
                </a:lnTo>
                <a:lnTo>
                  <a:pt x="164" y="55"/>
                </a:lnTo>
                <a:lnTo>
                  <a:pt x="166" y="61"/>
                </a:lnTo>
                <a:lnTo>
                  <a:pt x="170" y="67"/>
                </a:lnTo>
                <a:lnTo>
                  <a:pt x="177" y="74"/>
                </a:lnTo>
                <a:lnTo>
                  <a:pt x="184" y="80"/>
                </a:lnTo>
                <a:lnTo>
                  <a:pt x="155" y="86"/>
                </a:lnTo>
                <a:lnTo>
                  <a:pt x="125" y="93"/>
                </a:lnTo>
                <a:lnTo>
                  <a:pt x="108" y="96"/>
                </a:lnTo>
                <a:lnTo>
                  <a:pt x="88" y="97"/>
                </a:lnTo>
                <a:lnTo>
                  <a:pt x="77" y="97"/>
                </a:lnTo>
                <a:lnTo>
                  <a:pt x="65" y="96"/>
                </a:lnTo>
                <a:lnTo>
                  <a:pt x="52" y="95"/>
                </a:lnTo>
                <a:lnTo>
                  <a:pt x="38" y="93"/>
                </a:lnTo>
                <a:lnTo>
                  <a:pt x="4" y="111"/>
                </a:lnTo>
                <a:lnTo>
                  <a:pt x="1" y="122"/>
                </a:lnTo>
                <a:lnTo>
                  <a:pt x="0" y="129"/>
                </a:lnTo>
                <a:lnTo>
                  <a:pt x="1" y="130"/>
                </a:lnTo>
                <a:lnTo>
                  <a:pt x="4" y="131"/>
                </a:lnTo>
                <a:lnTo>
                  <a:pt x="7" y="131"/>
                </a:lnTo>
                <a:lnTo>
                  <a:pt x="12" y="131"/>
                </a:lnTo>
                <a:lnTo>
                  <a:pt x="28" y="131"/>
                </a:lnTo>
                <a:lnTo>
                  <a:pt x="51" y="129"/>
                </a:lnTo>
                <a:lnTo>
                  <a:pt x="110" y="123"/>
                </a:lnTo>
                <a:lnTo>
                  <a:pt x="114" y="127"/>
                </a:lnTo>
                <a:lnTo>
                  <a:pt x="119" y="131"/>
                </a:lnTo>
                <a:lnTo>
                  <a:pt x="123" y="134"/>
                </a:lnTo>
                <a:lnTo>
                  <a:pt x="128" y="137"/>
                </a:lnTo>
                <a:lnTo>
                  <a:pt x="137" y="141"/>
                </a:lnTo>
                <a:lnTo>
                  <a:pt x="148" y="144"/>
                </a:lnTo>
                <a:lnTo>
                  <a:pt x="159" y="147"/>
                </a:lnTo>
                <a:lnTo>
                  <a:pt x="172" y="148"/>
                </a:lnTo>
                <a:lnTo>
                  <a:pt x="185" y="148"/>
                </a:lnTo>
                <a:lnTo>
                  <a:pt x="197" y="148"/>
                </a:lnTo>
                <a:lnTo>
                  <a:pt x="210" y="148"/>
                </a:lnTo>
                <a:lnTo>
                  <a:pt x="222" y="148"/>
                </a:lnTo>
                <a:lnTo>
                  <a:pt x="233" y="148"/>
                </a:lnTo>
                <a:lnTo>
                  <a:pt x="243" y="148"/>
                </a:lnTo>
                <a:lnTo>
                  <a:pt x="255" y="148"/>
                </a:lnTo>
                <a:lnTo>
                  <a:pt x="265" y="145"/>
                </a:lnTo>
                <a:lnTo>
                  <a:pt x="275" y="143"/>
                </a:lnTo>
                <a:lnTo>
                  <a:pt x="284" y="140"/>
                </a:lnTo>
                <a:lnTo>
                  <a:pt x="301" y="134"/>
                </a:lnTo>
                <a:lnTo>
                  <a:pt x="323" y="129"/>
                </a:lnTo>
                <a:lnTo>
                  <a:pt x="334" y="121"/>
                </a:lnTo>
                <a:lnTo>
                  <a:pt x="344" y="113"/>
                </a:lnTo>
                <a:lnTo>
                  <a:pt x="353" y="103"/>
                </a:lnTo>
                <a:lnTo>
                  <a:pt x="360" y="93"/>
                </a:lnTo>
                <a:lnTo>
                  <a:pt x="372" y="72"/>
                </a:lnTo>
                <a:lnTo>
                  <a:pt x="382" y="55"/>
                </a:lnTo>
                <a:lnTo>
                  <a:pt x="376" y="52"/>
                </a:lnTo>
                <a:lnTo>
                  <a:pt x="367" y="47"/>
                </a:lnTo>
                <a:lnTo>
                  <a:pt x="363" y="44"/>
                </a:lnTo>
                <a:lnTo>
                  <a:pt x="359" y="39"/>
                </a:lnTo>
                <a:lnTo>
                  <a:pt x="357" y="32"/>
                </a:lnTo>
                <a:lnTo>
                  <a:pt x="356" y="24"/>
                </a:lnTo>
                <a:lnTo>
                  <a:pt x="347" y="22"/>
                </a:lnTo>
                <a:lnTo>
                  <a:pt x="341" y="20"/>
                </a:lnTo>
                <a:lnTo>
                  <a:pt x="334" y="17"/>
                </a:lnTo>
                <a:lnTo>
                  <a:pt x="330" y="14"/>
                </a:lnTo>
                <a:lnTo>
                  <a:pt x="319" y="8"/>
                </a:lnTo>
                <a:lnTo>
                  <a:pt x="303" y="0"/>
                </a:lnTo>
                <a:lnTo>
                  <a:pt x="203" y="18"/>
                </a:lnTo>
              </a:path>
            </a:pathLst>
          </a:custGeom>
          <a:solidFill>
            <a:srgbClr val="007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062" name="Freeform 14"/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5719763" y="1475192"/>
            <a:ext cx="1281112" cy="778669"/>
          </a:xfrm>
          <a:custGeom>
            <a:avLst/>
            <a:gdLst/>
            <a:ahLst/>
            <a:cxnLst>
              <a:cxn ang="0">
                <a:pos x="373" y="1071"/>
              </a:cxn>
              <a:cxn ang="0">
                <a:pos x="385" y="1182"/>
              </a:cxn>
              <a:cxn ang="0">
                <a:pos x="478" y="1358"/>
              </a:cxn>
              <a:cxn ang="0">
                <a:pos x="768" y="1492"/>
              </a:cxn>
              <a:cxn ang="0">
                <a:pos x="1036" y="1552"/>
              </a:cxn>
              <a:cxn ang="0">
                <a:pos x="1124" y="1529"/>
              </a:cxn>
              <a:cxn ang="0">
                <a:pos x="1401" y="1448"/>
              </a:cxn>
              <a:cxn ang="0">
                <a:pos x="1547" y="1542"/>
              </a:cxn>
              <a:cxn ang="0">
                <a:pos x="1577" y="1697"/>
              </a:cxn>
              <a:cxn ang="0">
                <a:pos x="1607" y="1773"/>
              </a:cxn>
              <a:cxn ang="0">
                <a:pos x="1706" y="1912"/>
              </a:cxn>
              <a:cxn ang="0">
                <a:pos x="1842" y="1859"/>
              </a:cxn>
              <a:cxn ang="0">
                <a:pos x="2072" y="1854"/>
              </a:cxn>
              <a:cxn ang="0">
                <a:pos x="2265" y="1983"/>
              </a:cxn>
              <a:cxn ang="0">
                <a:pos x="2357" y="1910"/>
              </a:cxn>
              <a:cxn ang="0">
                <a:pos x="2457" y="1866"/>
              </a:cxn>
              <a:cxn ang="0">
                <a:pos x="2546" y="1826"/>
              </a:cxn>
              <a:cxn ang="0">
                <a:pos x="2683" y="1732"/>
              </a:cxn>
              <a:cxn ang="0">
                <a:pos x="2719" y="1616"/>
              </a:cxn>
              <a:cxn ang="0">
                <a:pos x="2794" y="1420"/>
              </a:cxn>
              <a:cxn ang="0">
                <a:pos x="2705" y="1375"/>
              </a:cxn>
              <a:cxn ang="0">
                <a:pos x="2640" y="1273"/>
              </a:cxn>
              <a:cxn ang="0">
                <a:pos x="2669" y="1227"/>
              </a:cxn>
              <a:cxn ang="0">
                <a:pos x="2532" y="1061"/>
              </a:cxn>
              <a:cxn ang="0">
                <a:pos x="2583" y="993"/>
              </a:cxn>
              <a:cxn ang="0">
                <a:pos x="2453" y="962"/>
              </a:cxn>
              <a:cxn ang="0">
                <a:pos x="2333" y="887"/>
              </a:cxn>
              <a:cxn ang="0">
                <a:pos x="2368" y="836"/>
              </a:cxn>
              <a:cxn ang="0">
                <a:pos x="2443" y="756"/>
              </a:cxn>
              <a:cxn ang="0">
                <a:pos x="2496" y="780"/>
              </a:cxn>
              <a:cxn ang="0">
                <a:pos x="2532" y="853"/>
              </a:cxn>
              <a:cxn ang="0">
                <a:pos x="2689" y="763"/>
              </a:cxn>
              <a:cxn ang="0">
                <a:pos x="2828" y="673"/>
              </a:cxn>
              <a:cxn ang="0">
                <a:pos x="2886" y="564"/>
              </a:cxn>
              <a:cxn ang="0">
                <a:pos x="2928" y="494"/>
              </a:cxn>
              <a:cxn ang="0">
                <a:pos x="2893" y="307"/>
              </a:cxn>
              <a:cxn ang="0">
                <a:pos x="2722" y="341"/>
              </a:cxn>
              <a:cxn ang="0">
                <a:pos x="2461" y="205"/>
              </a:cxn>
              <a:cxn ang="0">
                <a:pos x="2300" y="89"/>
              </a:cxn>
              <a:cxn ang="0">
                <a:pos x="1980" y="53"/>
              </a:cxn>
              <a:cxn ang="0">
                <a:pos x="2007" y="155"/>
              </a:cxn>
              <a:cxn ang="0">
                <a:pos x="1952" y="227"/>
              </a:cxn>
              <a:cxn ang="0">
                <a:pos x="2025" y="350"/>
              </a:cxn>
              <a:cxn ang="0">
                <a:pos x="2146" y="370"/>
              </a:cxn>
              <a:cxn ang="0">
                <a:pos x="2041" y="455"/>
              </a:cxn>
              <a:cxn ang="0">
                <a:pos x="1891" y="570"/>
              </a:cxn>
              <a:cxn ang="0">
                <a:pos x="1630" y="713"/>
              </a:cxn>
              <a:cxn ang="0">
                <a:pos x="1228" y="659"/>
              </a:cxn>
              <a:cxn ang="0">
                <a:pos x="1036" y="560"/>
              </a:cxn>
              <a:cxn ang="0">
                <a:pos x="752" y="495"/>
              </a:cxn>
              <a:cxn ang="0">
                <a:pos x="686" y="379"/>
              </a:cxn>
              <a:cxn ang="0">
                <a:pos x="512" y="299"/>
              </a:cxn>
              <a:cxn ang="0">
                <a:pos x="430" y="311"/>
              </a:cxn>
              <a:cxn ang="0">
                <a:pos x="423" y="388"/>
              </a:cxn>
              <a:cxn ang="0">
                <a:pos x="305" y="382"/>
              </a:cxn>
              <a:cxn ang="0">
                <a:pos x="227" y="507"/>
              </a:cxn>
              <a:cxn ang="0">
                <a:pos x="260" y="595"/>
              </a:cxn>
              <a:cxn ang="0">
                <a:pos x="252" y="716"/>
              </a:cxn>
              <a:cxn ang="0">
                <a:pos x="118" y="781"/>
              </a:cxn>
              <a:cxn ang="0">
                <a:pos x="40" y="894"/>
              </a:cxn>
            </a:cxnLst>
            <a:rect l="0" t="0" r="r" b="b"/>
            <a:pathLst>
              <a:path w="2936" h="1983">
                <a:moveTo>
                  <a:pt x="98" y="954"/>
                </a:moveTo>
                <a:lnTo>
                  <a:pt x="129" y="989"/>
                </a:lnTo>
                <a:lnTo>
                  <a:pt x="157" y="1017"/>
                </a:lnTo>
                <a:lnTo>
                  <a:pt x="170" y="1029"/>
                </a:lnTo>
                <a:lnTo>
                  <a:pt x="182" y="1041"/>
                </a:lnTo>
                <a:lnTo>
                  <a:pt x="194" y="1050"/>
                </a:lnTo>
                <a:lnTo>
                  <a:pt x="205" y="1059"/>
                </a:lnTo>
                <a:lnTo>
                  <a:pt x="216" y="1066"/>
                </a:lnTo>
                <a:lnTo>
                  <a:pt x="227" y="1072"/>
                </a:lnTo>
                <a:lnTo>
                  <a:pt x="238" y="1076"/>
                </a:lnTo>
                <a:lnTo>
                  <a:pt x="248" y="1080"/>
                </a:lnTo>
                <a:lnTo>
                  <a:pt x="259" y="1082"/>
                </a:lnTo>
                <a:lnTo>
                  <a:pt x="270" y="1084"/>
                </a:lnTo>
                <a:lnTo>
                  <a:pt x="281" y="1084"/>
                </a:lnTo>
                <a:lnTo>
                  <a:pt x="292" y="1084"/>
                </a:lnTo>
                <a:lnTo>
                  <a:pt x="364" y="1065"/>
                </a:lnTo>
                <a:lnTo>
                  <a:pt x="373" y="1071"/>
                </a:lnTo>
                <a:lnTo>
                  <a:pt x="383" y="1079"/>
                </a:lnTo>
                <a:lnTo>
                  <a:pt x="393" y="1090"/>
                </a:lnTo>
                <a:lnTo>
                  <a:pt x="401" y="1102"/>
                </a:lnTo>
                <a:lnTo>
                  <a:pt x="410" y="1114"/>
                </a:lnTo>
                <a:lnTo>
                  <a:pt x="418" y="1127"/>
                </a:lnTo>
                <a:lnTo>
                  <a:pt x="420" y="1133"/>
                </a:lnTo>
                <a:lnTo>
                  <a:pt x="422" y="1139"/>
                </a:lnTo>
                <a:lnTo>
                  <a:pt x="423" y="1145"/>
                </a:lnTo>
                <a:lnTo>
                  <a:pt x="425" y="1151"/>
                </a:lnTo>
                <a:lnTo>
                  <a:pt x="423" y="1157"/>
                </a:lnTo>
                <a:lnTo>
                  <a:pt x="420" y="1162"/>
                </a:lnTo>
                <a:lnTo>
                  <a:pt x="416" y="1167"/>
                </a:lnTo>
                <a:lnTo>
                  <a:pt x="409" y="1172"/>
                </a:lnTo>
                <a:lnTo>
                  <a:pt x="403" y="1176"/>
                </a:lnTo>
                <a:lnTo>
                  <a:pt x="396" y="1179"/>
                </a:lnTo>
                <a:lnTo>
                  <a:pt x="390" y="1182"/>
                </a:lnTo>
                <a:lnTo>
                  <a:pt x="385" y="1182"/>
                </a:lnTo>
                <a:lnTo>
                  <a:pt x="399" y="1200"/>
                </a:lnTo>
                <a:lnTo>
                  <a:pt x="412" y="1217"/>
                </a:lnTo>
                <a:lnTo>
                  <a:pt x="419" y="1226"/>
                </a:lnTo>
                <a:lnTo>
                  <a:pt x="423" y="1235"/>
                </a:lnTo>
                <a:lnTo>
                  <a:pt x="428" y="1245"/>
                </a:lnTo>
                <a:lnTo>
                  <a:pt x="431" y="1256"/>
                </a:lnTo>
                <a:lnTo>
                  <a:pt x="385" y="1256"/>
                </a:lnTo>
                <a:lnTo>
                  <a:pt x="385" y="1287"/>
                </a:lnTo>
                <a:lnTo>
                  <a:pt x="390" y="1300"/>
                </a:lnTo>
                <a:lnTo>
                  <a:pt x="397" y="1311"/>
                </a:lnTo>
                <a:lnTo>
                  <a:pt x="405" y="1321"/>
                </a:lnTo>
                <a:lnTo>
                  <a:pt x="414" y="1328"/>
                </a:lnTo>
                <a:lnTo>
                  <a:pt x="423" y="1335"/>
                </a:lnTo>
                <a:lnTo>
                  <a:pt x="434" y="1340"/>
                </a:lnTo>
                <a:lnTo>
                  <a:pt x="444" y="1345"/>
                </a:lnTo>
                <a:lnTo>
                  <a:pt x="456" y="1349"/>
                </a:lnTo>
                <a:lnTo>
                  <a:pt x="478" y="1358"/>
                </a:lnTo>
                <a:lnTo>
                  <a:pt x="500" y="1367"/>
                </a:lnTo>
                <a:lnTo>
                  <a:pt x="510" y="1373"/>
                </a:lnTo>
                <a:lnTo>
                  <a:pt x="520" y="1381"/>
                </a:lnTo>
                <a:lnTo>
                  <a:pt x="529" y="1389"/>
                </a:lnTo>
                <a:lnTo>
                  <a:pt x="538" y="1398"/>
                </a:lnTo>
                <a:lnTo>
                  <a:pt x="617" y="1404"/>
                </a:lnTo>
                <a:lnTo>
                  <a:pt x="620" y="1408"/>
                </a:lnTo>
                <a:lnTo>
                  <a:pt x="623" y="1411"/>
                </a:lnTo>
                <a:lnTo>
                  <a:pt x="628" y="1414"/>
                </a:lnTo>
                <a:lnTo>
                  <a:pt x="633" y="1417"/>
                </a:lnTo>
                <a:lnTo>
                  <a:pt x="644" y="1422"/>
                </a:lnTo>
                <a:lnTo>
                  <a:pt x="656" y="1427"/>
                </a:lnTo>
                <a:lnTo>
                  <a:pt x="678" y="1436"/>
                </a:lnTo>
                <a:lnTo>
                  <a:pt x="690" y="1441"/>
                </a:lnTo>
                <a:lnTo>
                  <a:pt x="723" y="1462"/>
                </a:lnTo>
                <a:lnTo>
                  <a:pt x="754" y="1481"/>
                </a:lnTo>
                <a:lnTo>
                  <a:pt x="768" y="1492"/>
                </a:lnTo>
                <a:lnTo>
                  <a:pt x="784" y="1501"/>
                </a:lnTo>
                <a:lnTo>
                  <a:pt x="798" y="1509"/>
                </a:lnTo>
                <a:lnTo>
                  <a:pt x="814" y="1517"/>
                </a:lnTo>
                <a:lnTo>
                  <a:pt x="830" y="1525"/>
                </a:lnTo>
                <a:lnTo>
                  <a:pt x="847" y="1531"/>
                </a:lnTo>
                <a:lnTo>
                  <a:pt x="866" y="1537"/>
                </a:lnTo>
                <a:lnTo>
                  <a:pt x="886" y="1543"/>
                </a:lnTo>
                <a:lnTo>
                  <a:pt x="907" y="1547"/>
                </a:lnTo>
                <a:lnTo>
                  <a:pt x="930" y="1550"/>
                </a:lnTo>
                <a:lnTo>
                  <a:pt x="955" y="1552"/>
                </a:lnTo>
                <a:lnTo>
                  <a:pt x="982" y="1552"/>
                </a:lnTo>
                <a:lnTo>
                  <a:pt x="982" y="1521"/>
                </a:lnTo>
                <a:lnTo>
                  <a:pt x="1015" y="1521"/>
                </a:lnTo>
                <a:lnTo>
                  <a:pt x="1021" y="1532"/>
                </a:lnTo>
                <a:lnTo>
                  <a:pt x="1025" y="1539"/>
                </a:lnTo>
                <a:lnTo>
                  <a:pt x="1031" y="1545"/>
                </a:lnTo>
                <a:lnTo>
                  <a:pt x="1036" y="1552"/>
                </a:lnTo>
                <a:lnTo>
                  <a:pt x="1042" y="1552"/>
                </a:lnTo>
                <a:lnTo>
                  <a:pt x="1046" y="1551"/>
                </a:lnTo>
                <a:lnTo>
                  <a:pt x="1050" y="1548"/>
                </a:lnTo>
                <a:lnTo>
                  <a:pt x="1054" y="1546"/>
                </a:lnTo>
                <a:lnTo>
                  <a:pt x="1058" y="1538"/>
                </a:lnTo>
                <a:lnTo>
                  <a:pt x="1062" y="1530"/>
                </a:lnTo>
                <a:lnTo>
                  <a:pt x="1066" y="1522"/>
                </a:lnTo>
                <a:lnTo>
                  <a:pt x="1071" y="1516"/>
                </a:lnTo>
                <a:lnTo>
                  <a:pt x="1075" y="1513"/>
                </a:lnTo>
                <a:lnTo>
                  <a:pt x="1078" y="1511"/>
                </a:lnTo>
                <a:lnTo>
                  <a:pt x="1083" y="1510"/>
                </a:lnTo>
                <a:lnTo>
                  <a:pt x="1089" y="1509"/>
                </a:lnTo>
                <a:lnTo>
                  <a:pt x="1092" y="1512"/>
                </a:lnTo>
                <a:lnTo>
                  <a:pt x="1096" y="1516"/>
                </a:lnTo>
                <a:lnTo>
                  <a:pt x="1102" y="1519"/>
                </a:lnTo>
                <a:lnTo>
                  <a:pt x="1109" y="1522"/>
                </a:lnTo>
                <a:lnTo>
                  <a:pt x="1124" y="1529"/>
                </a:lnTo>
                <a:lnTo>
                  <a:pt x="1142" y="1534"/>
                </a:lnTo>
                <a:lnTo>
                  <a:pt x="1159" y="1539"/>
                </a:lnTo>
                <a:lnTo>
                  <a:pt x="1178" y="1543"/>
                </a:lnTo>
                <a:lnTo>
                  <a:pt x="1194" y="1546"/>
                </a:lnTo>
                <a:lnTo>
                  <a:pt x="1208" y="1546"/>
                </a:lnTo>
                <a:lnTo>
                  <a:pt x="1217" y="1535"/>
                </a:lnTo>
                <a:lnTo>
                  <a:pt x="1227" y="1526"/>
                </a:lnTo>
                <a:lnTo>
                  <a:pt x="1236" y="1518"/>
                </a:lnTo>
                <a:lnTo>
                  <a:pt x="1247" y="1510"/>
                </a:lnTo>
                <a:lnTo>
                  <a:pt x="1258" y="1502"/>
                </a:lnTo>
                <a:lnTo>
                  <a:pt x="1269" y="1496"/>
                </a:lnTo>
                <a:lnTo>
                  <a:pt x="1280" y="1489"/>
                </a:lnTo>
                <a:lnTo>
                  <a:pt x="1292" y="1482"/>
                </a:lnTo>
                <a:lnTo>
                  <a:pt x="1317" y="1472"/>
                </a:lnTo>
                <a:lnTo>
                  <a:pt x="1344" y="1463"/>
                </a:lnTo>
                <a:lnTo>
                  <a:pt x="1372" y="1455"/>
                </a:lnTo>
                <a:lnTo>
                  <a:pt x="1401" y="1448"/>
                </a:lnTo>
                <a:lnTo>
                  <a:pt x="1408" y="1456"/>
                </a:lnTo>
                <a:lnTo>
                  <a:pt x="1418" y="1465"/>
                </a:lnTo>
                <a:lnTo>
                  <a:pt x="1431" y="1476"/>
                </a:lnTo>
                <a:lnTo>
                  <a:pt x="1446" y="1487"/>
                </a:lnTo>
                <a:lnTo>
                  <a:pt x="1453" y="1492"/>
                </a:lnTo>
                <a:lnTo>
                  <a:pt x="1461" y="1496"/>
                </a:lnTo>
                <a:lnTo>
                  <a:pt x="1469" y="1499"/>
                </a:lnTo>
                <a:lnTo>
                  <a:pt x="1475" y="1502"/>
                </a:lnTo>
                <a:lnTo>
                  <a:pt x="1483" y="1504"/>
                </a:lnTo>
                <a:lnTo>
                  <a:pt x="1490" y="1505"/>
                </a:lnTo>
                <a:lnTo>
                  <a:pt x="1495" y="1505"/>
                </a:lnTo>
                <a:lnTo>
                  <a:pt x="1501" y="1503"/>
                </a:lnTo>
                <a:lnTo>
                  <a:pt x="1512" y="1510"/>
                </a:lnTo>
                <a:lnTo>
                  <a:pt x="1521" y="1518"/>
                </a:lnTo>
                <a:lnTo>
                  <a:pt x="1530" y="1526"/>
                </a:lnTo>
                <a:lnTo>
                  <a:pt x="1538" y="1534"/>
                </a:lnTo>
                <a:lnTo>
                  <a:pt x="1547" y="1542"/>
                </a:lnTo>
                <a:lnTo>
                  <a:pt x="1555" y="1547"/>
                </a:lnTo>
                <a:lnTo>
                  <a:pt x="1561" y="1550"/>
                </a:lnTo>
                <a:lnTo>
                  <a:pt x="1566" y="1551"/>
                </a:lnTo>
                <a:lnTo>
                  <a:pt x="1573" y="1552"/>
                </a:lnTo>
                <a:lnTo>
                  <a:pt x="1581" y="1552"/>
                </a:lnTo>
                <a:lnTo>
                  <a:pt x="1586" y="1578"/>
                </a:lnTo>
                <a:lnTo>
                  <a:pt x="1593" y="1602"/>
                </a:lnTo>
                <a:lnTo>
                  <a:pt x="1596" y="1613"/>
                </a:lnTo>
                <a:lnTo>
                  <a:pt x="1598" y="1625"/>
                </a:lnTo>
                <a:lnTo>
                  <a:pt x="1599" y="1637"/>
                </a:lnTo>
                <a:lnTo>
                  <a:pt x="1600" y="1650"/>
                </a:lnTo>
                <a:lnTo>
                  <a:pt x="1599" y="1658"/>
                </a:lnTo>
                <a:lnTo>
                  <a:pt x="1598" y="1664"/>
                </a:lnTo>
                <a:lnTo>
                  <a:pt x="1596" y="1670"/>
                </a:lnTo>
                <a:lnTo>
                  <a:pt x="1593" y="1676"/>
                </a:lnTo>
                <a:lnTo>
                  <a:pt x="1585" y="1686"/>
                </a:lnTo>
                <a:lnTo>
                  <a:pt x="1577" y="1697"/>
                </a:lnTo>
                <a:lnTo>
                  <a:pt x="1569" y="1707"/>
                </a:lnTo>
                <a:lnTo>
                  <a:pt x="1561" y="1719"/>
                </a:lnTo>
                <a:lnTo>
                  <a:pt x="1558" y="1724"/>
                </a:lnTo>
                <a:lnTo>
                  <a:pt x="1555" y="1730"/>
                </a:lnTo>
                <a:lnTo>
                  <a:pt x="1554" y="1736"/>
                </a:lnTo>
                <a:lnTo>
                  <a:pt x="1553" y="1743"/>
                </a:lnTo>
                <a:lnTo>
                  <a:pt x="1554" y="1748"/>
                </a:lnTo>
                <a:lnTo>
                  <a:pt x="1555" y="1753"/>
                </a:lnTo>
                <a:lnTo>
                  <a:pt x="1558" y="1756"/>
                </a:lnTo>
                <a:lnTo>
                  <a:pt x="1561" y="1759"/>
                </a:lnTo>
                <a:lnTo>
                  <a:pt x="1565" y="1761"/>
                </a:lnTo>
                <a:lnTo>
                  <a:pt x="1570" y="1764"/>
                </a:lnTo>
                <a:lnTo>
                  <a:pt x="1574" y="1765"/>
                </a:lnTo>
                <a:lnTo>
                  <a:pt x="1580" y="1767"/>
                </a:lnTo>
                <a:lnTo>
                  <a:pt x="1591" y="1769"/>
                </a:lnTo>
                <a:lnTo>
                  <a:pt x="1602" y="1771"/>
                </a:lnTo>
                <a:lnTo>
                  <a:pt x="1607" y="1773"/>
                </a:lnTo>
                <a:lnTo>
                  <a:pt x="1611" y="1775"/>
                </a:lnTo>
                <a:lnTo>
                  <a:pt x="1616" y="1777"/>
                </a:lnTo>
                <a:lnTo>
                  <a:pt x="1620" y="1780"/>
                </a:lnTo>
                <a:lnTo>
                  <a:pt x="1627" y="1787"/>
                </a:lnTo>
                <a:lnTo>
                  <a:pt x="1632" y="1794"/>
                </a:lnTo>
                <a:lnTo>
                  <a:pt x="1636" y="1801"/>
                </a:lnTo>
                <a:lnTo>
                  <a:pt x="1639" y="1807"/>
                </a:lnTo>
                <a:lnTo>
                  <a:pt x="1645" y="1822"/>
                </a:lnTo>
                <a:lnTo>
                  <a:pt x="1653" y="1836"/>
                </a:lnTo>
                <a:lnTo>
                  <a:pt x="1659" y="1848"/>
                </a:lnTo>
                <a:lnTo>
                  <a:pt x="1666" y="1862"/>
                </a:lnTo>
                <a:lnTo>
                  <a:pt x="1674" y="1877"/>
                </a:lnTo>
                <a:lnTo>
                  <a:pt x="1683" y="1890"/>
                </a:lnTo>
                <a:lnTo>
                  <a:pt x="1688" y="1897"/>
                </a:lnTo>
                <a:lnTo>
                  <a:pt x="1694" y="1903"/>
                </a:lnTo>
                <a:lnTo>
                  <a:pt x="1699" y="1908"/>
                </a:lnTo>
                <a:lnTo>
                  <a:pt x="1706" y="1912"/>
                </a:lnTo>
                <a:lnTo>
                  <a:pt x="1712" y="1916"/>
                </a:lnTo>
                <a:lnTo>
                  <a:pt x="1719" y="1919"/>
                </a:lnTo>
                <a:lnTo>
                  <a:pt x="1726" y="1921"/>
                </a:lnTo>
                <a:lnTo>
                  <a:pt x="1733" y="1921"/>
                </a:lnTo>
                <a:lnTo>
                  <a:pt x="1741" y="1921"/>
                </a:lnTo>
                <a:lnTo>
                  <a:pt x="1752" y="1918"/>
                </a:lnTo>
                <a:lnTo>
                  <a:pt x="1762" y="1916"/>
                </a:lnTo>
                <a:lnTo>
                  <a:pt x="1766" y="1915"/>
                </a:lnTo>
                <a:lnTo>
                  <a:pt x="1777" y="1910"/>
                </a:lnTo>
                <a:lnTo>
                  <a:pt x="1787" y="1904"/>
                </a:lnTo>
                <a:lnTo>
                  <a:pt x="1795" y="1898"/>
                </a:lnTo>
                <a:lnTo>
                  <a:pt x="1803" y="1891"/>
                </a:lnTo>
                <a:lnTo>
                  <a:pt x="1809" y="1884"/>
                </a:lnTo>
                <a:lnTo>
                  <a:pt x="1816" y="1878"/>
                </a:lnTo>
                <a:lnTo>
                  <a:pt x="1823" y="1871"/>
                </a:lnTo>
                <a:lnTo>
                  <a:pt x="1833" y="1866"/>
                </a:lnTo>
                <a:lnTo>
                  <a:pt x="1842" y="1859"/>
                </a:lnTo>
                <a:lnTo>
                  <a:pt x="1852" y="1853"/>
                </a:lnTo>
                <a:lnTo>
                  <a:pt x="1863" y="1848"/>
                </a:lnTo>
                <a:lnTo>
                  <a:pt x="1874" y="1844"/>
                </a:lnTo>
                <a:lnTo>
                  <a:pt x="1896" y="1838"/>
                </a:lnTo>
                <a:lnTo>
                  <a:pt x="1919" y="1834"/>
                </a:lnTo>
                <a:lnTo>
                  <a:pt x="1941" y="1831"/>
                </a:lnTo>
                <a:lnTo>
                  <a:pt x="1960" y="1827"/>
                </a:lnTo>
                <a:lnTo>
                  <a:pt x="1968" y="1824"/>
                </a:lnTo>
                <a:lnTo>
                  <a:pt x="1975" y="1821"/>
                </a:lnTo>
                <a:lnTo>
                  <a:pt x="1981" y="1816"/>
                </a:lnTo>
                <a:lnTo>
                  <a:pt x="1986" y="1811"/>
                </a:lnTo>
                <a:lnTo>
                  <a:pt x="1996" y="1820"/>
                </a:lnTo>
                <a:lnTo>
                  <a:pt x="2008" y="1827"/>
                </a:lnTo>
                <a:lnTo>
                  <a:pt x="2019" y="1832"/>
                </a:lnTo>
                <a:lnTo>
                  <a:pt x="2031" y="1837"/>
                </a:lnTo>
                <a:lnTo>
                  <a:pt x="2054" y="1846"/>
                </a:lnTo>
                <a:lnTo>
                  <a:pt x="2072" y="1854"/>
                </a:lnTo>
                <a:lnTo>
                  <a:pt x="2091" y="1869"/>
                </a:lnTo>
                <a:lnTo>
                  <a:pt x="2109" y="1887"/>
                </a:lnTo>
                <a:lnTo>
                  <a:pt x="2119" y="1896"/>
                </a:lnTo>
                <a:lnTo>
                  <a:pt x="2129" y="1903"/>
                </a:lnTo>
                <a:lnTo>
                  <a:pt x="2140" y="1910"/>
                </a:lnTo>
                <a:lnTo>
                  <a:pt x="2152" y="1915"/>
                </a:lnTo>
                <a:lnTo>
                  <a:pt x="2245" y="1921"/>
                </a:lnTo>
                <a:lnTo>
                  <a:pt x="2238" y="1935"/>
                </a:lnTo>
                <a:lnTo>
                  <a:pt x="2232" y="1947"/>
                </a:lnTo>
                <a:lnTo>
                  <a:pt x="2232" y="1953"/>
                </a:lnTo>
                <a:lnTo>
                  <a:pt x="2235" y="1957"/>
                </a:lnTo>
                <a:lnTo>
                  <a:pt x="2238" y="1961"/>
                </a:lnTo>
                <a:lnTo>
                  <a:pt x="2243" y="1965"/>
                </a:lnTo>
                <a:lnTo>
                  <a:pt x="2248" y="1968"/>
                </a:lnTo>
                <a:lnTo>
                  <a:pt x="2254" y="1972"/>
                </a:lnTo>
                <a:lnTo>
                  <a:pt x="2259" y="1977"/>
                </a:lnTo>
                <a:lnTo>
                  <a:pt x="2265" y="1983"/>
                </a:lnTo>
                <a:lnTo>
                  <a:pt x="2266" y="1980"/>
                </a:lnTo>
                <a:lnTo>
                  <a:pt x="2267" y="1972"/>
                </a:lnTo>
                <a:lnTo>
                  <a:pt x="2268" y="1968"/>
                </a:lnTo>
                <a:lnTo>
                  <a:pt x="2267" y="1963"/>
                </a:lnTo>
                <a:lnTo>
                  <a:pt x="2267" y="1957"/>
                </a:lnTo>
                <a:lnTo>
                  <a:pt x="2265" y="1953"/>
                </a:lnTo>
                <a:lnTo>
                  <a:pt x="2275" y="1947"/>
                </a:lnTo>
                <a:lnTo>
                  <a:pt x="2293" y="1935"/>
                </a:lnTo>
                <a:lnTo>
                  <a:pt x="2303" y="1927"/>
                </a:lnTo>
                <a:lnTo>
                  <a:pt x="2313" y="1921"/>
                </a:lnTo>
                <a:lnTo>
                  <a:pt x="2319" y="1919"/>
                </a:lnTo>
                <a:lnTo>
                  <a:pt x="2323" y="1917"/>
                </a:lnTo>
                <a:lnTo>
                  <a:pt x="2327" y="1916"/>
                </a:lnTo>
                <a:lnTo>
                  <a:pt x="2331" y="1915"/>
                </a:lnTo>
                <a:lnTo>
                  <a:pt x="2341" y="1915"/>
                </a:lnTo>
                <a:lnTo>
                  <a:pt x="2349" y="1913"/>
                </a:lnTo>
                <a:lnTo>
                  <a:pt x="2357" y="1910"/>
                </a:lnTo>
                <a:lnTo>
                  <a:pt x="2364" y="1906"/>
                </a:lnTo>
                <a:lnTo>
                  <a:pt x="2370" y="1901"/>
                </a:lnTo>
                <a:lnTo>
                  <a:pt x="2376" y="1895"/>
                </a:lnTo>
                <a:lnTo>
                  <a:pt x="2382" y="1889"/>
                </a:lnTo>
                <a:lnTo>
                  <a:pt x="2388" y="1882"/>
                </a:lnTo>
                <a:lnTo>
                  <a:pt x="2399" y="1867"/>
                </a:lnTo>
                <a:lnTo>
                  <a:pt x="2412" y="1853"/>
                </a:lnTo>
                <a:lnTo>
                  <a:pt x="2418" y="1847"/>
                </a:lnTo>
                <a:lnTo>
                  <a:pt x="2426" y="1840"/>
                </a:lnTo>
                <a:lnTo>
                  <a:pt x="2435" y="1835"/>
                </a:lnTo>
                <a:lnTo>
                  <a:pt x="2444" y="1830"/>
                </a:lnTo>
                <a:lnTo>
                  <a:pt x="2449" y="1838"/>
                </a:lnTo>
                <a:lnTo>
                  <a:pt x="2454" y="1846"/>
                </a:lnTo>
                <a:lnTo>
                  <a:pt x="2455" y="1850"/>
                </a:lnTo>
                <a:lnTo>
                  <a:pt x="2456" y="1854"/>
                </a:lnTo>
                <a:lnTo>
                  <a:pt x="2457" y="1860"/>
                </a:lnTo>
                <a:lnTo>
                  <a:pt x="2457" y="1866"/>
                </a:lnTo>
                <a:lnTo>
                  <a:pt x="2462" y="1860"/>
                </a:lnTo>
                <a:lnTo>
                  <a:pt x="2468" y="1857"/>
                </a:lnTo>
                <a:lnTo>
                  <a:pt x="2474" y="1855"/>
                </a:lnTo>
                <a:lnTo>
                  <a:pt x="2481" y="1855"/>
                </a:lnTo>
                <a:lnTo>
                  <a:pt x="2487" y="1856"/>
                </a:lnTo>
                <a:lnTo>
                  <a:pt x="2493" y="1858"/>
                </a:lnTo>
                <a:lnTo>
                  <a:pt x="2499" y="1862"/>
                </a:lnTo>
                <a:lnTo>
                  <a:pt x="2504" y="1866"/>
                </a:lnTo>
                <a:lnTo>
                  <a:pt x="2505" y="1856"/>
                </a:lnTo>
                <a:lnTo>
                  <a:pt x="2507" y="1847"/>
                </a:lnTo>
                <a:lnTo>
                  <a:pt x="2511" y="1841"/>
                </a:lnTo>
                <a:lnTo>
                  <a:pt x="2514" y="1836"/>
                </a:lnTo>
                <a:lnTo>
                  <a:pt x="2517" y="1832"/>
                </a:lnTo>
                <a:lnTo>
                  <a:pt x="2522" y="1829"/>
                </a:lnTo>
                <a:lnTo>
                  <a:pt x="2527" y="1828"/>
                </a:lnTo>
                <a:lnTo>
                  <a:pt x="2533" y="1827"/>
                </a:lnTo>
                <a:lnTo>
                  <a:pt x="2546" y="1826"/>
                </a:lnTo>
                <a:lnTo>
                  <a:pt x="2561" y="1827"/>
                </a:lnTo>
                <a:lnTo>
                  <a:pt x="2569" y="1827"/>
                </a:lnTo>
                <a:lnTo>
                  <a:pt x="2578" y="1826"/>
                </a:lnTo>
                <a:lnTo>
                  <a:pt x="2588" y="1825"/>
                </a:lnTo>
                <a:lnTo>
                  <a:pt x="2596" y="1824"/>
                </a:lnTo>
                <a:lnTo>
                  <a:pt x="2604" y="1821"/>
                </a:lnTo>
                <a:lnTo>
                  <a:pt x="2611" y="1816"/>
                </a:lnTo>
                <a:lnTo>
                  <a:pt x="2616" y="1810"/>
                </a:lnTo>
                <a:lnTo>
                  <a:pt x="2622" y="1804"/>
                </a:lnTo>
                <a:lnTo>
                  <a:pt x="2633" y="1790"/>
                </a:lnTo>
                <a:lnTo>
                  <a:pt x="2642" y="1774"/>
                </a:lnTo>
                <a:lnTo>
                  <a:pt x="2648" y="1766"/>
                </a:lnTo>
                <a:lnTo>
                  <a:pt x="2653" y="1758"/>
                </a:lnTo>
                <a:lnTo>
                  <a:pt x="2660" y="1750"/>
                </a:lnTo>
                <a:lnTo>
                  <a:pt x="2667" y="1743"/>
                </a:lnTo>
                <a:lnTo>
                  <a:pt x="2674" y="1737"/>
                </a:lnTo>
                <a:lnTo>
                  <a:pt x="2683" y="1732"/>
                </a:lnTo>
                <a:lnTo>
                  <a:pt x="2693" y="1728"/>
                </a:lnTo>
                <a:lnTo>
                  <a:pt x="2703" y="1725"/>
                </a:lnTo>
                <a:lnTo>
                  <a:pt x="2704" y="1716"/>
                </a:lnTo>
                <a:lnTo>
                  <a:pt x="2706" y="1707"/>
                </a:lnTo>
                <a:lnTo>
                  <a:pt x="2711" y="1699"/>
                </a:lnTo>
                <a:lnTo>
                  <a:pt x="2715" y="1691"/>
                </a:lnTo>
                <a:lnTo>
                  <a:pt x="2726" y="1677"/>
                </a:lnTo>
                <a:lnTo>
                  <a:pt x="2737" y="1663"/>
                </a:lnTo>
                <a:lnTo>
                  <a:pt x="2733" y="1658"/>
                </a:lnTo>
                <a:lnTo>
                  <a:pt x="2730" y="1651"/>
                </a:lnTo>
                <a:lnTo>
                  <a:pt x="2729" y="1645"/>
                </a:lnTo>
                <a:lnTo>
                  <a:pt x="2729" y="1638"/>
                </a:lnTo>
                <a:lnTo>
                  <a:pt x="2728" y="1631"/>
                </a:lnTo>
                <a:lnTo>
                  <a:pt x="2726" y="1625"/>
                </a:lnTo>
                <a:lnTo>
                  <a:pt x="2725" y="1622"/>
                </a:lnTo>
                <a:lnTo>
                  <a:pt x="2723" y="1619"/>
                </a:lnTo>
                <a:lnTo>
                  <a:pt x="2719" y="1616"/>
                </a:lnTo>
                <a:lnTo>
                  <a:pt x="2716" y="1614"/>
                </a:lnTo>
                <a:lnTo>
                  <a:pt x="2728" y="1602"/>
                </a:lnTo>
                <a:lnTo>
                  <a:pt x="2739" y="1588"/>
                </a:lnTo>
                <a:lnTo>
                  <a:pt x="2750" y="1573"/>
                </a:lnTo>
                <a:lnTo>
                  <a:pt x="2760" y="1558"/>
                </a:lnTo>
                <a:lnTo>
                  <a:pt x="2780" y="1521"/>
                </a:lnTo>
                <a:lnTo>
                  <a:pt x="2803" y="1478"/>
                </a:lnTo>
                <a:lnTo>
                  <a:pt x="2798" y="1475"/>
                </a:lnTo>
                <a:lnTo>
                  <a:pt x="2796" y="1471"/>
                </a:lnTo>
                <a:lnTo>
                  <a:pt x="2795" y="1467"/>
                </a:lnTo>
                <a:lnTo>
                  <a:pt x="2794" y="1462"/>
                </a:lnTo>
                <a:lnTo>
                  <a:pt x="2795" y="1451"/>
                </a:lnTo>
                <a:lnTo>
                  <a:pt x="2796" y="1441"/>
                </a:lnTo>
                <a:lnTo>
                  <a:pt x="2790" y="1428"/>
                </a:lnTo>
                <a:lnTo>
                  <a:pt x="2790" y="1426"/>
                </a:lnTo>
                <a:lnTo>
                  <a:pt x="2792" y="1423"/>
                </a:lnTo>
                <a:lnTo>
                  <a:pt x="2794" y="1420"/>
                </a:lnTo>
                <a:lnTo>
                  <a:pt x="2797" y="1417"/>
                </a:lnTo>
                <a:lnTo>
                  <a:pt x="2801" y="1414"/>
                </a:lnTo>
                <a:lnTo>
                  <a:pt x="2804" y="1412"/>
                </a:lnTo>
                <a:lnTo>
                  <a:pt x="2807" y="1411"/>
                </a:lnTo>
                <a:lnTo>
                  <a:pt x="2809" y="1410"/>
                </a:lnTo>
                <a:lnTo>
                  <a:pt x="2809" y="1386"/>
                </a:lnTo>
                <a:lnTo>
                  <a:pt x="2801" y="1389"/>
                </a:lnTo>
                <a:lnTo>
                  <a:pt x="2793" y="1391"/>
                </a:lnTo>
                <a:lnTo>
                  <a:pt x="2785" y="1393"/>
                </a:lnTo>
                <a:lnTo>
                  <a:pt x="2778" y="1394"/>
                </a:lnTo>
                <a:lnTo>
                  <a:pt x="2763" y="1395"/>
                </a:lnTo>
                <a:lnTo>
                  <a:pt x="2750" y="1394"/>
                </a:lnTo>
                <a:lnTo>
                  <a:pt x="2738" y="1392"/>
                </a:lnTo>
                <a:lnTo>
                  <a:pt x="2725" y="1389"/>
                </a:lnTo>
                <a:lnTo>
                  <a:pt x="2711" y="1384"/>
                </a:lnTo>
                <a:lnTo>
                  <a:pt x="2696" y="1380"/>
                </a:lnTo>
                <a:lnTo>
                  <a:pt x="2705" y="1375"/>
                </a:lnTo>
                <a:lnTo>
                  <a:pt x="2713" y="1369"/>
                </a:lnTo>
                <a:lnTo>
                  <a:pt x="2719" y="1363"/>
                </a:lnTo>
                <a:lnTo>
                  <a:pt x="2726" y="1356"/>
                </a:lnTo>
                <a:lnTo>
                  <a:pt x="2737" y="1342"/>
                </a:lnTo>
                <a:lnTo>
                  <a:pt x="2750" y="1324"/>
                </a:lnTo>
                <a:lnTo>
                  <a:pt x="2730" y="1316"/>
                </a:lnTo>
                <a:lnTo>
                  <a:pt x="2712" y="1310"/>
                </a:lnTo>
                <a:lnTo>
                  <a:pt x="2695" y="1305"/>
                </a:lnTo>
                <a:lnTo>
                  <a:pt x="2679" y="1300"/>
                </a:lnTo>
                <a:lnTo>
                  <a:pt x="2662" y="1294"/>
                </a:lnTo>
                <a:lnTo>
                  <a:pt x="2647" y="1287"/>
                </a:lnTo>
                <a:lnTo>
                  <a:pt x="2639" y="1282"/>
                </a:lnTo>
                <a:lnTo>
                  <a:pt x="2632" y="1277"/>
                </a:lnTo>
                <a:lnTo>
                  <a:pt x="2624" y="1270"/>
                </a:lnTo>
                <a:lnTo>
                  <a:pt x="2617" y="1262"/>
                </a:lnTo>
                <a:lnTo>
                  <a:pt x="2626" y="1268"/>
                </a:lnTo>
                <a:lnTo>
                  <a:pt x="2640" y="1273"/>
                </a:lnTo>
                <a:lnTo>
                  <a:pt x="2657" y="1278"/>
                </a:lnTo>
                <a:lnTo>
                  <a:pt x="2675" y="1283"/>
                </a:lnTo>
                <a:lnTo>
                  <a:pt x="2715" y="1293"/>
                </a:lnTo>
                <a:lnTo>
                  <a:pt x="2750" y="1299"/>
                </a:lnTo>
                <a:lnTo>
                  <a:pt x="2749" y="1293"/>
                </a:lnTo>
                <a:lnTo>
                  <a:pt x="2746" y="1288"/>
                </a:lnTo>
                <a:lnTo>
                  <a:pt x="2742" y="1283"/>
                </a:lnTo>
                <a:lnTo>
                  <a:pt x="2737" y="1279"/>
                </a:lnTo>
                <a:lnTo>
                  <a:pt x="2725" y="1272"/>
                </a:lnTo>
                <a:lnTo>
                  <a:pt x="2709" y="1266"/>
                </a:lnTo>
                <a:lnTo>
                  <a:pt x="2695" y="1259"/>
                </a:lnTo>
                <a:lnTo>
                  <a:pt x="2682" y="1252"/>
                </a:lnTo>
                <a:lnTo>
                  <a:pt x="2678" y="1248"/>
                </a:lnTo>
                <a:lnTo>
                  <a:pt x="2673" y="1244"/>
                </a:lnTo>
                <a:lnTo>
                  <a:pt x="2671" y="1238"/>
                </a:lnTo>
                <a:lnTo>
                  <a:pt x="2670" y="1232"/>
                </a:lnTo>
                <a:lnTo>
                  <a:pt x="2669" y="1227"/>
                </a:lnTo>
                <a:lnTo>
                  <a:pt x="2668" y="1224"/>
                </a:lnTo>
                <a:lnTo>
                  <a:pt x="2666" y="1220"/>
                </a:lnTo>
                <a:lnTo>
                  <a:pt x="2662" y="1217"/>
                </a:lnTo>
                <a:lnTo>
                  <a:pt x="2656" y="1212"/>
                </a:lnTo>
                <a:lnTo>
                  <a:pt x="2650" y="1208"/>
                </a:lnTo>
                <a:lnTo>
                  <a:pt x="2626" y="1186"/>
                </a:lnTo>
                <a:lnTo>
                  <a:pt x="2581" y="1145"/>
                </a:lnTo>
                <a:lnTo>
                  <a:pt x="2557" y="1124"/>
                </a:lnTo>
                <a:lnTo>
                  <a:pt x="2537" y="1105"/>
                </a:lnTo>
                <a:lnTo>
                  <a:pt x="2523" y="1090"/>
                </a:lnTo>
                <a:lnTo>
                  <a:pt x="2517" y="1084"/>
                </a:lnTo>
                <a:lnTo>
                  <a:pt x="2517" y="1078"/>
                </a:lnTo>
                <a:lnTo>
                  <a:pt x="2520" y="1074"/>
                </a:lnTo>
                <a:lnTo>
                  <a:pt x="2522" y="1070"/>
                </a:lnTo>
                <a:lnTo>
                  <a:pt x="2525" y="1068"/>
                </a:lnTo>
                <a:lnTo>
                  <a:pt x="2528" y="1065"/>
                </a:lnTo>
                <a:lnTo>
                  <a:pt x="2532" y="1061"/>
                </a:lnTo>
                <a:lnTo>
                  <a:pt x="2534" y="1055"/>
                </a:lnTo>
                <a:lnTo>
                  <a:pt x="2537" y="1047"/>
                </a:lnTo>
                <a:lnTo>
                  <a:pt x="2535" y="1046"/>
                </a:lnTo>
                <a:lnTo>
                  <a:pt x="2530" y="1043"/>
                </a:lnTo>
                <a:lnTo>
                  <a:pt x="2528" y="1042"/>
                </a:lnTo>
                <a:lnTo>
                  <a:pt x="2526" y="1039"/>
                </a:lnTo>
                <a:lnTo>
                  <a:pt x="2524" y="1036"/>
                </a:lnTo>
                <a:lnTo>
                  <a:pt x="2524" y="1034"/>
                </a:lnTo>
                <a:lnTo>
                  <a:pt x="2557" y="1034"/>
                </a:lnTo>
                <a:lnTo>
                  <a:pt x="2558" y="1028"/>
                </a:lnTo>
                <a:lnTo>
                  <a:pt x="2559" y="1022"/>
                </a:lnTo>
                <a:lnTo>
                  <a:pt x="2561" y="1016"/>
                </a:lnTo>
                <a:lnTo>
                  <a:pt x="2565" y="1011"/>
                </a:lnTo>
                <a:lnTo>
                  <a:pt x="2569" y="1006"/>
                </a:lnTo>
                <a:lnTo>
                  <a:pt x="2573" y="1002"/>
                </a:lnTo>
                <a:lnTo>
                  <a:pt x="2578" y="997"/>
                </a:lnTo>
                <a:lnTo>
                  <a:pt x="2583" y="993"/>
                </a:lnTo>
                <a:lnTo>
                  <a:pt x="2607" y="977"/>
                </a:lnTo>
                <a:lnTo>
                  <a:pt x="2630" y="960"/>
                </a:lnTo>
                <a:lnTo>
                  <a:pt x="2617" y="958"/>
                </a:lnTo>
                <a:lnTo>
                  <a:pt x="2603" y="954"/>
                </a:lnTo>
                <a:lnTo>
                  <a:pt x="2590" y="949"/>
                </a:lnTo>
                <a:lnTo>
                  <a:pt x="2577" y="944"/>
                </a:lnTo>
                <a:lnTo>
                  <a:pt x="2563" y="938"/>
                </a:lnTo>
                <a:lnTo>
                  <a:pt x="2552" y="932"/>
                </a:lnTo>
                <a:lnTo>
                  <a:pt x="2544" y="924"/>
                </a:lnTo>
                <a:lnTo>
                  <a:pt x="2537" y="917"/>
                </a:lnTo>
                <a:lnTo>
                  <a:pt x="2498" y="917"/>
                </a:lnTo>
                <a:lnTo>
                  <a:pt x="2498" y="926"/>
                </a:lnTo>
                <a:lnTo>
                  <a:pt x="2498" y="938"/>
                </a:lnTo>
                <a:lnTo>
                  <a:pt x="2498" y="950"/>
                </a:lnTo>
                <a:lnTo>
                  <a:pt x="2498" y="967"/>
                </a:lnTo>
                <a:lnTo>
                  <a:pt x="2457" y="967"/>
                </a:lnTo>
                <a:lnTo>
                  <a:pt x="2453" y="962"/>
                </a:lnTo>
                <a:lnTo>
                  <a:pt x="2449" y="956"/>
                </a:lnTo>
                <a:lnTo>
                  <a:pt x="2447" y="949"/>
                </a:lnTo>
                <a:lnTo>
                  <a:pt x="2444" y="942"/>
                </a:lnTo>
                <a:lnTo>
                  <a:pt x="2442" y="936"/>
                </a:lnTo>
                <a:lnTo>
                  <a:pt x="2438" y="928"/>
                </a:lnTo>
                <a:lnTo>
                  <a:pt x="2435" y="922"/>
                </a:lnTo>
                <a:lnTo>
                  <a:pt x="2431" y="917"/>
                </a:lnTo>
                <a:lnTo>
                  <a:pt x="2426" y="914"/>
                </a:lnTo>
                <a:lnTo>
                  <a:pt x="2421" y="911"/>
                </a:lnTo>
                <a:lnTo>
                  <a:pt x="2413" y="909"/>
                </a:lnTo>
                <a:lnTo>
                  <a:pt x="2404" y="907"/>
                </a:lnTo>
                <a:lnTo>
                  <a:pt x="2387" y="903"/>
                </a:lnTo>
                <a:lnTo>
                  <a:pt x="2367" y="899"/>
                </a:lnTo>
                <a:lnTo>
                  <a:pt x="2357" y="897"/>
                </a:lnTo>
                <a:lnTo>
                  <a:pt x="2348" y="894"/>
                </a:lnTo>
                <a:lnTo>
                  <a:pt x="2339" y="890"/>
                </a:lnTo>
                <a:lnTo>
                  <a:pt x="2333" y="887"/>
                </a:lnTo>
                <a:lnTo>
                  <a:pt x="2326" y="882"/>
                </a:lnTo>
                <a:lnTo>
                  <a:pt x="2322" y="876"/>
                </a:lnTo>
                <a:lnTo>
                  <a:pt x="2320" y="872"/>
                </a:lnTo>
                <a:lnTo>
                  <a:pt x="2319" y="869"/>
                </a:lnTo>
                <a:lnTo>
                  <a:pt x="2319" y="866"/>
                </a:lnTo>
                <a:lnTo>
                  <a:pt x="2317" y="862"/>
                </a:lnTo>
                <a:lnTo>
                  <a:pt x="2319" y="858"/>
                </a:lnTo>
                <a:lnTo>
                  <a:pt x="2319" y="855"/>
                </a:lnTo>
                <a:lnTo>
                  <a:pt x="2321" y="853"/>
                </a:lnTo>
                <a:lnTo>
                  <a:pt x="2322" y="850"/>
                </a:lnTo>
                <a:lnTo>
                  <a:pt x="2327" y="846"/>
                </a:lnTo>
                <a:lnTo>
                  <a:pt x="2334" y="843"/>
                </a:lnTo>
                <a:lnTo>
                  <a:pt x="2341" y="840"/>
                </a:lnTo>
                <a:lnTo>
                  <a:pt x="2348" y="839"/>
                </a:lnTo>
                <a:lnTo>
                  <a:pt x="2357" y="838"/>
                </a:lnTo>
                <a:lnTo>
                  <a:pt x="2365" y="837"/>
                </a:lnTo>
                <a:lnTo>
                  <a:pt x="2368" y="836"/>
                </a:lnTo>
                <a:lnTo>
                  <a:pt x="2372" y="833"/>
                </a:lnTo>
                <a:lnTo>
                  <a:pt x="2378" y="828"/>
                </a:lnTo>
                <a:lnTo>
                  <a:pt x="2383" y="822"/>
                </a:lnTo>
                <a:lnTo>
                  <a:pt x="2393" y="811"/>
                </a:lnTo>
                <a:lnTo>
                  <a:pt x="2398" y="806"/>
                </a:lnTo>
                <a:lnTo>
                  <a:pt x="2410" y="798"/>
                </a:lnTo>
                <a:lnTo>
                  <a:pt x="2423" y="789"/>
                </a:lnTo>
                <a:lnTo>
                  <a:pt x="2428" y="783"/>
                </a:lnTo>
                <a:lnTo>
                  <a:pt x="2433" y="776"/>
                </a:lnTo>
                <a:lnTo>
                  <a:pt x="2435" y="773"/>
                </a:lnTo>
                <a:lnTo>
                  <a:pt x="2436" y="768"/>
                </a:lnTo>
                <a:lnTo>
                  <a:pt x="2437" y="763"/>
                </a:lnTo>
                <a:lnTo>
                  <a:pt x="2437" y="757"/>
                </a:lnTo>
                <a:lnTo>
                  <a:pt x="2438" y="758"/>
                </a:lnTo>
                <a:lnTo>
                  <a:pt x="2439" y="758"/>
                </a:lnTo>
                <a:lnTo>
                  <a:pt x="2442" y="757"/>
                </a:lnTo>
                <a:lnTo>
                  <a:pt x="2443" y="756"/>
                </a:lnTo>
                <a:lnTo>
                  <a:pt x="2445" y="752"/>
                </a:lnTo>
                <a:lnTo>
                  <a:pt x="2448" y="747"/>
                </a:lnTo>
                <a:lnTo>
                  <a:pt x="2451" y="742"/>
                </a:lnTo>
                <a:lnTo>
                  <a:pt x="2455" y="737"/>
                </a:lnTo>
                <a:lnTo>
                  <a:pt x="2457" y="735"/>
                </a:lnTo>
                <a:lnTo>
                  <a:pt x="2459" y="734"/>
                </a:lnTo>
                <a:lnTo>
                  <a:pt x="2461" y="733"/>
                </a:lnTo>
                <a:lnTo>
                  <a:pt x="2464" y="733"/>
                </a:lnTo>
                <a:lnTo>
                  <a:pt x="2471" y="733"/>
                </a:lnTo>
                <a:lnTo>
                  <a:pt x="2478" y="735"/>
                </a:lnTo>
                <a:lnTo>
                  <a:pt x="2484" y="737"/>
                </a:lnTo>
                <a:lnTo>
                  <a:pt x="2491" y="741"/>
                </a:lnTo>
                <a:lnTo>
                  <a:pt x="2503" y="751"/>
                </a:lnTo>
                <a:lnTo>
                  <a:pt x="2517" y="764"/>
                </a:lnTo>
                <a:lnTo>
                  <a:pt x="2511" y="769"/>
                </a:lnTo>
                <a:lnTo>
                  <a:pt x="2504" y="775"/>
                </a:lnTo>
                <a:lnTo>
                  <a:pt x="2496" y="780"/>
                </a:lnTo>
                <a:lnTo>
                  <a:pt x="2491" y="782"/>
                </a:lnTo>
                <a:lnTo>
                  <a:pt x="2493" y="789"/>
                </a:lnTo>
                <a:lnTo>
                  <a:pt x="2496" y="795"/>
                </a:lnTo>
                <a:lnTo>
                  <a:pt x="2501" y="800"/>
                </a:lnTo>
                <a:lnTo>
                  <a:pt x="2504" y="805"/>
                </a:lnTo>
                <a:lnTo>
                  <a:pt x="2510" y="809"/>
                </a:lnTo>
                <a:lnTo>
                  <a:pt x="2514" y="813"/>
                </a:lnTo>
                <a:lnTo>
                  <a:pt x="2518" y="816"/>
                </a:lnTo>
                <a:lnTo>
                  <a:pt x="2524" y="819"/>
                </a:lnTo>
                <a:lnTo>
                  <a:pt x="2524" y="837"/>
                </a:lnTo>
                <a:lnTo>
                  <a:pt x="2523" y="840"/>
                </a:lnTo>
                <a:lnTo>
                  <a:pt x="2523" y="842"/>
                </a:lnTo>
                <a:lnTo>
                  <a:pt x="2525" y="844"/>
                </a:lnTo>
                <a:lnTo>
                  <a:pt x="2527" y="847"/>
                </a:lnTo>
                <a:lnTo>
                  <a:pt x="2529" y="849"/>
                </a:lnTo>
                <a:lnTo>
                  <a:pt x="2532" y="851"/>
                </a:lnTo>
                <a:lnTo>
                  <a:pt x="2532" y="853"/>
                </a:lnTo>
                <a:lnTo>
                  <a:pt x="2530" y="856"/>
                </a:lnTo>
                <a:lnTo>
                  <a:pt x="2561" y="830"/>
                </a:lnTo>
                <a:lnTo>
                  <a:pt x="2585" y="810"/>
                </a:lnTo>
                <a:lnTo>
                  <a:pt x="2596" y="803"/>
                </a:lnTo>
                <a:lnTo>
                  <a:pt x="2605" y="797"/>
                </a:lnTo>
                <a:lnTo>
                  <a:pt x="2613" y="793"/>
                </a:lnTo>
                <a:lnTo>
                  <a:pt x="2621" y="790"/>
                </a:lnTo>
                <a:lnTo>
                  <a:pt x="2627" y="787"/>
                </a:lnTo>
                <a:lnTo>
                  <a:pt x="2633" y="786"/>
                </a:lnTo>
                <a:lnTo>
                  <a:pt x="2638" y="785"/>
                </a:lnTo>
                <a:lnTo>
                  <a:pt x="2645" y="785"/>
                </a:lnTo>
                <a:lnTo>
                  <a:pt x="2657" y="786"/>
                </a:lnTo>
                <a:lnTo>
                  <a:pt x="2670" y="788"/>
                </a:lnTo>
                <a:lnTo>
                  <a:pt x="2674" y="781"/>
                </a:lnTo>
                <a:lnTo>
                  <a:pt x="2679" y="774"/>
                </a:lnTo>
                <a:lnTo>
                  <a:pt x="2683" y="768"/>
                </a:lnTo>
                <a:lnTo>
                  <a:pt x="2689" y="763"/>
                </a:lnTo>
                <a:lnTo>
                  <a:pt x="2701" y="753"/>
                </a:lnTo>
                <a:lnTo>
                  <a:pt x="2713" y="745"/>
                </a:lnTo>
                <a:lnTo>
                  <a:pt x="2724" y="738"/>
                </a:lnTo>
                <a:lnTo>
                  <a:pt x="2735" y="730"/>
                </a:lnTo>
                <a:lnTo>
                  <a:pt x="2739" y="726"/>
                </a:lnTo>
                <a:lnTo>
                  <a:pt x="2743" y="721"/>
                </a:lnTo>
                <a:lnTo>
                  <a:pt x="2747" y="715"/>
                </a:lnTo>
                <a:lnTo>
                  <a:pt x="2750" y="708"/>
                </a:lnTo>
                <a:lnTo>
                  <a:pt x="2758" y="708"/>
                </a:lnTo>
                <a:lnTo>
                  <a:pt x="2765" y="706"/>
                </a:lnTo>
                <a:lnTo>
                  <a:pt x="2773" y="705"/>
                </a:lnTo>
                <a:lnTo>
                  <a:pt x="2780" y="704"/>
                </a:lnTo>
                <a:lnTo>
                  <a:pt x="2792" y="700"/>
                </a:lnTo>
                <a:lnTo>
                  <a:pt x="2803" y="694"/>
                </a:lnTo>
                <a:lnTo>
                  <a:pt x="2812" y="688"/>
                </a:lnTo>
                <a:lnTo>
                  <a:pt x="2820" y="681"/>
                </a:lnTo>
                <a:lnTo>
                  <a:pt x="2828" y="673"/>
                </a:lnTo>
                <a:lnTo>
                  <a:pt x="2836" y="665"/>
                </a:lnTo>
                <a:lnTo>
                  <a:pt x="2842" y="657"/>
                </a:lnTo>
                <a:lnTo>
                  <a:pt x="2850" y="649"/>
                </a:lnTo>
                <a:lnTo>
                  <a:pt x="2858" y="641"/>
                </a:lnTo>
                <a:lnTo>
                  <a:pt x="2866" y="635"/>
                </a:lnTo>
                <a:lnTo>
                  <a:pt x="2876" y="630"/>
                </a:lnTo>
                <a:lnTo>
                  <a:pt x="2887" y="625"/>
                </a:lnTo>
                <a:lnTo>
                  <a:pt x="2901" y="623"/>
                </a:lnTo>
                <a:lnTo>
                  <a:pt x="2916" y="622"/>
                </a:lnTo>
                <a:lnTo>
                  <a:pt x="2915" y="611"/>
                </a:lnTo>
                <a:lnTo>
                  <a:pt x="2914" y="602"/>
                </a:lnTo>
                <a:lnTo>
                  <a:pt x="2910" y="593"/>
                </a:lnTo>
                <a:lnTo>
                  <a:pt x="2906" y="586"/>
                </a:lnTo>
                <a:lnTo>
                  <a:pt x="2902" y="580"/>
                </a:lnTo>
                <a:lnTo>
                  <a:pt x="2897" y="574"/>
                </a:lnTo>
                <a:lnTo>
                  <a:pt x="2892" y="569"/>
                </a:lnTo>
                <a:lnTo>
                  <a:pt x="2886" y="564"/>
                </a:lnTo>
                <a:lnTo>
                  <a:pt x="2875" y="554"/>
                </a:lnTo>
                <a:lnTo>
                  <a:pt x="2865" y="543"/>
                </a:lnTo>
                <a:lnTo>
                  <a:pt x="2861" y="536"/>
                </a:lnTo>
                <a:lnTo>
                  <a:pt x="2859" y="529"/>
                </a:lnTo>
                <a:lnTo>
                  <a:pt x="2857" y="520"/>
                </a:lnTo>
                <a:lnTo>
                  <a:pt x="2855" y="511"/>
                </a:lnTo>
                <a:lnTo>
                  <a:pt x="2857" y="505"/>
                </a:lnTo>
                <a:lnTo>
                  <a:pt x="2860" y="499"/>
                </a:lnTo>
                <a:lnTo>
                  <a:pt x="2862" y="497"/>
                </a:lnTo>
                <a:lnTo>
                  <a:pt x="2864" y="495"/>
                </a:lnTo>
                <a:lnTo>
                  <a:pt x="2866" y="493"/>
                </a:lnTo>
                <a:lnTo>
                  <a:pt x="2870" y="493"/>
                </a:lnTo>
                <a:lnTo>
                  <a:pt x="2885" y="493"/>
                </a:lnTo>
                <a:lnTo>
                  <a:pt x="2903" y="495"/>
                </a:lnTo>
                <a:lnTo>
                  <a:pt x="2911" y="495"/>
                </a:lnTo>
                <a:lnTo>
                  <a:pt x="2919" y="495"/>
                </a:lnTo>
                <a:lnTo>
                  <a:pt x="2928" y="494"/>
                </a:lnTo>
                <a:lnTo>
                  <a:pt x="2936" y="493"/>
                </a:lnTo>
                <a:lnTo>
                  <a:pt x="2936" y="412"/>
                </a:lnTo>
                <a:lnTo>
                  <a:pt x="2930" y="407"/>
                </a:lnTo>
                <a:lnTo>
                  <a:pt x="2926" y="402"/>
                </a:lnTo>
                <a:lnTo>
                  <a:pt x="2921" y="396"/>
                </a:lnTo>
                <a:lnTo>
                  <a:pt x="2917" y="389"/>
                </a:lnTo>
                <a:lnTo>
                  <a:pt x="2914" y="382"/>
                </a:lnTo>
                <a:lnTo>
                  <a:pt x="2911" y="375"/>
                </a:lnTo>
                <a:lnTo>
                  <a:pt x="2909" y="365"/>
                </a:lnTo>
                <a:lnTo>
                  <a:pt x="2909" y="357"/>
                </a:lnTo>
                <a:lnTo>
                  <a:pt x="2909" y="348"/>
                </a:lnTo>
                <a:lnTo>
                  <a:pt x="2909" y="341"/>
                </a:lnTo>
                <a:lnTo>
                  <a:pt x="2909" y="332"/>
                </a:lnTo>
                <a:lnTo>
                  <a:pt x="2909" y="320"/>
                </a:lnTo>
                <a:lnTo>
                  <a:pt x="2904" y="316"/>
                </a:lnTo>
                <a:lnTo>
                  <a:pt x="2897" y="310"/>
                </a:lnTo>
                <a:lnTo>
                  <a:pt x="2893" y="307"/>
                </a:lnTo>
                <a:lnTo>
                  <a:pt x="2888" y="304"/>
                </a:lnTo>
                <a:lnTo>
                  <a:pt x="2883" y="302"/>
                </a:lnTo>
                <a:lnTo>
                  <a:pt x="2876" y="301"/>
                </a:lnTo>
                <a:lnTo>
                  <a:pt x="2866" y="302"/>
                </a:lnTo>
                <a:lnTo>
                  <a:pt x="2858" y="303"/>
                </a:lnTo>
                <a:lnTo>
                  <a:pt x="2849" y="305"/>
                </a:lnTo>
                <a:lnTo>
                  <a:pt x="2841" y="308"/>
                </a:lnTo>
                <a:lnTo>
                  <a:pt x="2827" y="314"/>
                </a:lnTo>
                <a:lnTo>
                  <a:pt x="2813" y="323"/>
                </a:lnTo>
                <a:lnTo>
                  <a:pt x="2798" y="331"/>
                </a:lnTo>
                <a:lnTo>
                  <a:pt x="2784" y="338"/>
                </a:lnTo>
                <a:lnTo>
                  <a:pt x="2776" y="341"/>
                </a:lnTo>
                <a:lnTo>
                  <a:pt x="2768" y="343"/>
                </a:lnTo>
                <a:lnTo>
                  <a:pt x="2759" y="344"/>
                </a:lnTo>
                <a:lnTo>
                  <a:pt x="2750" y="344"/>
                </a:lnTo>
                <a:lnTo>
                  <a:pt x="2735" y="343"/>
                </a:lnTo>
                <a:lnTo>
                  <a:pt x="2722" y="341"/>
                </a:lnTo>
                <a:lnTo>
                  <a:pt x="2708" y="336"/>
                </a:lnTo>
                <a:lnTo>
                  <a:pt x="2696" y="331"/>
                </a:lnTo>
                <a:lnTo>
                  <a:pt x="2684" y="324"/>
                </a:lnTo>
                <a:lnTo>
                  <a:pt x="2672" y="315"/>
                </a:lnTo>
                <a:lnTo>
                  <a:pt x="2661" y="307"/>
                </a:lnTo>
                <a:lnTo>
                  <a:pt x="2650" y="298"/>
                </a:lnTo>
                <a:lnTo>
                  <a:pt x="2627" y="280"/>
                </a:lnTo>
                <a:lnTo>
                  <a:pt x="2604" y="261"/>
                </a:lnTo>
                <a:lnTo>
                  <a:pt x="2592" y="253"/>
                </a:lnTo>
                <a:lnTo>
                  <a:pt x="2579" y="245"/>
                </a:lnTo>
                <a:lnTo>
                  <a:pt x="2565" y="239"/>
                </a:lnTo>
                <a:lnTo>
                  <a:pt x="2550" y="233"/>
                </a:lnTo>
                <a:lnTo>
                  <a:pt x="2525" y="227"/>
                </a:lnTo>
                <a:lnTo>
                  <a:pt x="2499" y="219"/>
                </a:lnTo>
                <a:lnTo>
                  <a:pt x="2487" y="215"/>
                </a:lnTo>
                <a:lnTo>
                  <a:pt x="2473" y="211"/>
                </a:lnTo>
                <a:lnTo>
                  <a:pt x="2461" y="205"/>
                </a:lnTo>
                <a:lnTo>
                  <a:pt x="2450" y="199"/>
                </a:lnTo>
                <a:lnTo>
                  <a:pt x="2438" y="193"/>
                </a:lnTo>
                <a:lnTo>
                  <a:pt x="2428" y="187"/>
                </a:lnTo>
                <a:lnTo>
                  <a:pt x="2418" y="179"/>
                </a:lnTo>
                <a:lnTo>
                  <a:pt x="2410" y="171"/>
                </a:lnTo>
                <a:lnTo>
                  <a:pt x="2401" y="162"/>
                </a:lnTo>
                <a:lnTo>
                  <a:pt x="2394" y="152"/>
                </a:lnTo>
                <a:lnTo>
                  <a:pt x="2389" y="141"/>
                </a:lnTo>
                <a:lnTo>
                  <a:pt x="2384" y="129"/>
                </a:lnTo>
                <a:lnTo>
                  <a:pt x="2370" y="128"/>
                </a:lnTo>
                <a:lnTo>
                  <a:pt x="2357" y="126"/>
                </a:lnTo>
                <a:lnTo>
                  <a:pt x="2346" y="122"/>
                </a:lnTo>
                <a:lnTo>
                  <a:pt x="2335" y="117"/>
                </a:lnTo>
                <a:lnTo>
                  <a:pt x="2325" y="111"/>
                </a:lnTo>
                <a:lnTo>
                  <a:pt x="2316" y="105"/>
                </a:lnTo>
                <a:lnTo>
                  <a:pt x="2308" y="98"/>
                </a:lnTo>
                <a:lnTo>
                  <a:pt x="2300" y="89"/>
                </a:lnTo>
                <a:lnTo>
                  <a:pt x="2283" y="74"/>
                </a:lnTo>
                <a:lnTo>
                  <a:pt x="2267" y="59"/>
                </a:lnTo>
                <a:lnTo>
                  <a:pt x="2257" y="52"/>
                </a:lnTo>
                <a:lnTo>
                  <a:pt x="2247" y="46"/>
                </a:lnTo>
                <a:lnTo>
                  <a:pt x="2236" y="41"/>
                </a:lnTo>
                <a:lnTo>
                  <a:pt x="2225" y="36"/>
                </a:lnTo>
                <a:lnTo>
                  <a:pt x="2190" y="25"/>
                </a:lnTo>
                <a:lnTo>
                  <a:pt x="2160" y="18"/>
                </a:lnTo>
                <a:lnTo>
                  <a:pt x="2131" y="10"/>
                </a:lnTo>
                <a:lnTo>
                  <a:pt x="2092" y="0"/>
                </a:lnTo>
                <a:lnTo>
                  <a:pt x="1973" y="18"/>
                </a:lnTo>
                <a:lnTo>
                  <a:pt x="1973" y="27"/>
                </a:lnTo>
                <a:lnTo>
                  <a:pt x="1973" y="36"/>
                </a:lnTo>
                <a:lnTo>
                  <a:pt x="1973" y="42"/>
                </a:lnTo>
                <a:lnTo>
                  <a:pt x="1975" y="46"/>
                </a:lnTo>
                <a:lnTo>
                  <a:pt x="1977" y="50"/>
                </a:lnTo>
                <a:lnTo>
                  <a:pt x="1980" y="53"/>
                </a:lnTo>
                <a:lnTo>
                  <a:pt x="1989" y="58"/>
                </a:lnTo>
                <a:lnTo>
                  <a:pt x="1999" y="62"/>
                </a:lnTo>
                <a:lnTo>
                  <a:pt x="2009" y="66"/>
                </a:lnTo>
                <a:lnTo>
                  <a:pt x="2018" y="72"/>
                </a:lnTo>
                <a:lnTo>
                  <a:pt x="2021" y="75"/>
                </a:lnTo>
                <a:lnTo>
                  <a:pt x="2023" y="80"/>
                </a:lnTo>
                <a:lnTo>
                  <a:pt x="2025" y="85"/>
                </a:lnTo>
                <a:lnTo>
                  <a:pt x="2025" y="91"/>
                </a:lnTo>
                <a:lnTo>
                  <a:pt x="2024" y="101"/>
                </a:lnTo>
                <a:lnTo>
                  <a:pt x="2022" y="108"/>
                </a:lnTo>
                <a:lnTo>
                  <a:pt x="2019" y="114"/>
                </a:lnTo>
                <a:lnTo>
                  <a:pt x="2016" y="120"/>
                </a:lnTo>
                <a:lnTo>
                  <a:pt x="2012" y="125"/>
                </a:lnTo>
                <a:lnTo>
                  <a:pt x="2009" y="131"/>
                </a:lnTo>
                <a:lnTo>
                  <a:pt x="2007" y="138"/>
                </a:lnTo>
                <a:lnTo>
                  <a:pt x="2006" y="147"/>
                </a:lnTo>
                <a:lnTo>
                  <a:pt x="2007" y="155"/>
                </a:lnTo>
                <a:lnTo>
                  <a:pt x="2009" y="161"/>
                </a:lnTo>
                <a:lnTo>
                  <a:pt x="2012" y="168"/>
                </a:lnTo>
                <a:lnTo>
                  <a:pt x="2018" y="174"/>
                </a:lnTo>
                <a:lnTo>
                  <a:pt x="2022" y="179"/>
                </a:lnTo>
                <a:lnTo>
                  <a:pt x="2028" y="184"/>
                </a:lnTo>
                <a:lnTo>
                  <a:pt x="2033" y="187"/>
                </a:lnTo>
                <a:lnTo>
                  <a:pt x="2039" y="190"/>
                </a:lnTo>
                <a:lnTo>
                  <a:pt x="2033" y="197"/>
                </a:lnTo>
                <a:lnTo>
                  <a:pt x="2025" y="204"/>
                </a:lnTo>
                <a:lnTo>
                  <a:pt x="2017" y="211"/>
                </a:lnTo>
                <a:lnTo>
                  <a:pt x="2008" y="216"/>
                </a:lnTo>
                <a:lnTo>
                  <a:pt x="1999" y="221"/>
                </a:lnTo>
                <a:lnTo>
                  <a:pt x="1989" y="224"/>
                </a:lnTo>
                <a:lnTo>
                  <a:pt x="1980" y="227"/>
                </a:lnTo>
                <a:lnTo>
                  <a:pt x="1973" y="227"/>
                </a:lnTo>
                <a:lnTo>
                  <a:pt x="1962" y="227"/>
                </a:lnTo>
                <a:lnTo>
                  <a:pt x="1952" y="227"/>
                </a:lnTo>
                <a:lnTo>
                  <a:pt x="1940" y="227"/>
                </a:lnTo>
                <a:lnTo>
                  <a:pt x="1925" y="227"/>
                </a:lnTo>
                <a:lnTo>
                  <a:pt x="1919" y="258"/>
                </a:lnTo>
                <a:lnTo>
                  <a:pt x="1924" y="278"/>
                </a:lnTo>
                <a:lnTo>
                  <a:pt x="1930" y="296"/>
                </a:lnTo>
                <a:lnTo>
                  <a:pt x="1933" y="304"/>
                </a:lnTo>
                <a:lnTo>
                  <a:pt x="1938" y="311"/>
                </a:lnTo>
                <a:lnTo>
                  <a:pt x="1942" y="319"/>
                </a:lnTo>
                <a:lnTo>
                  <a:pt x="1947" y="326"/>
                </a:lnTo>
                <a:lnTo>
                  <a:pt x="1953" y="331"/>
                </a:lnTo>
                <a:lnTo>
                  <a:pt x="1961" y="336"/>
                </a:lnTo>
                <a:lnTo>
                  <a:pt x="1968" y="340"/>
                </a:lnTo>
                <a:lnTo>
                  <a:pt x="1977" y="344"/>
                </a:lnTo>
                <a:lnTo>
                  <a:pt x="1987" y="347"/>
                </a:lnTo>
                <a:lnTo>
                  <a:pt x="1999" y="349"/>
                </a:lnTo>
                <a:lnTo>
                  <a:pt x="2011" y="350"/>
                </a:lnTo>
                <a:lnTo>
                  <a:pt x="2025" y="350"/>
                </a:lnTo>
                <a:lnTo>
                  <a:pt x="2036" y="350"/>
                </a:lnTo>
                <a:lnTo>
                  <a:pt x="2043" y="349"/>
                </a:lnTo>
                <a:lnTo>
                  <a:pt x="2048" y="347"/>
                </a:lnTo>
                <a:lnTo>
                  <a:pt x="2053" y="344"/>
                </a:lnTo>
                <a:lnTo>
                  <a:pt x="2057" y="342"/>
                </a:lnTo>
                <a:lnTo>
                  <a:pt x="2064" y="340"/>
                </a:lnTo>
                <a:lnTo>
                  <a:pt x="2073" y="339"/>
                </a:lnTo>
                <a:lnTo>
                  <a:pt x="2086" y="338"/>
                </a:lnTo>
                <a:lnTo>
                  <a:pt x="2092" y="339"/>
                </a:lnTo>
                <a:lnTo>
                  <a:pt x="2098" y="340"/>
                </a:lnTo>
                <a:lnTo>
                  <a:pt x="2103" y="341"/>
                </a:lnTo>
                <a:lnTo>
                  <a:pt x="2109" y="343"/>
                </a:lnTo>
                <a:lnTo>
                  <a:pt x="2122" y="349"/>
                </a:lnTo>
                <a:lnTo>
                  <a:pt x="2138" y="357"/>
                </a:lnTo>
                <a:lnTo>
                  <a:pt x="2140" y="361"/>
                </a:lnTo>
                <a:lnTo>
                  <a:pt x="2142" y="366"/>
                </a:lnTo>
                <a:lnTo>
                  <a:pt x="2146" y="370"/>
                </a:lnTo>
                <a:lnTo>
                  <a:pt x="2151" y="375"/>
                </a:lnTo>
                <a:lnTo>
                  <a:pt x="2157" y="379"/>
                </a:lnTo>
                <a:lnTo>
                  <a:pt x="2164" y="382"/>
                </a:lnTo>
                <a:lnTo>
                  <a:pt x="2170" y="385"/>
                </a:lnTo>
                <a:lnTo>
                  <a:pt x="2178" y="388"/>
                </a:lnTo>
                <a:lnTo>
                  <a:pt x="2175" y="393"/>
                </a:lnTo>
                <a:lnTo>
                  <a:pt x="2169" y="399"/>
                </a:lnTo>
                <a:lnTo>
                  <a:pt x="2160" y="405"/>
                </a:lnTo>
                <a:lnTo>
                  <a:pt x="2152" y="410"/>
                </a:lnTo>
                <a:lnTo>
                  <a:pt x="2141" y="416"/>
                </a:lnTo>
                <a:lnTo>
                  <a:pt x="2130" y="420"/>
                </a:lnTo>
                <a:lnTo>
                  <a:pt x="2118" y="423"/>
                </a:lnTo>
                <a:lnTo>
                  <a:pt x="2106" y="424"/>
                </a:lnTo>
                <a:lnTo>
                  <a:pt x="2098" y="426"/>
                </a:lnTo>
                <a:lnTo>
                  <a:pt x="2084" y="434"/>
                </a:lnTo>
                <a:lnTo>
                  <a:pt x="2064" y="443"/>
                </a:lnTo>
                <a:lnTo>
                  <a:pt x="2041" y="455"/>
                </a:lnTo>
                <a:lnTo>
                  <a:pt x="2019" y="467"/>
                </a:lnTo>
                <a:lnTo>
                  <a:pt x="1998" y="479"/>
                </a:lnTo>
                <a:lnTo>
                  <a:pt x="1989" y="485"/>
                </a:lnTo>
                <a:lnTo>
                  <a:pt x="1981" y="490"/>
                </a:lnTo>
                <a:lnTo>
                  <a:pt x="1976" y="495"/>
                </a:lnTo>
                <a:lnTo>
                  <a:pt x="1973" y="499"/>
                </a:lnTo>
                <a:lnTo>
                  <a:pt x="1860" y="499"/>
                </a:lnTo>
                <a:lnTo>
                  <a:pt x="1860" y="506"/>
                </a:lnTo>
                <a:lnTo>
                  <a:pt x="1861" y="513"/>
                </a:lnTo>
                <a:lnTo>
                  <a:pt x="1863" y="520"/>
                </a:lnTo>
                <a:lnTo>
                  <a:pt x="1864" y="525"/>
                </a:lnTo>
                <a:lnTo>
                  <a:pt x="1869" y="536"/>
                </a:lnTo>
                <a:lnTo>
                  <a:pt x="1876" y="546"/>
                </a:lnTo>
                <a:lnTo>
                  <a:pt x="1882" y="554"/>
                </a:lnTo>
                <a:lnTo>
                  <a:pt x="1887" y="562"/>
                </a:lnTo>
                <a:lnTo>
                  <a:pt x="1889" y="566"/>
                </a:lnTo>
                <a:lnTo>
                  <a:pt x="1891" y="570"/>
                </a:lnTo>
                <a:lnTo>
                  <a:pt x="1893" y="574"/>
                </a:lnTo>
                <a:lnTo>
                  <a:pt x="1893" y="578"/>
                </a:lnTo>
                <a:lnTo>
                  <a:pt x="1893" y="583"/>
                </a:lnTo>
                <a:lnTo>
                  <a:pt x="1890" y="588"/>
                </a:lnTo>
                <a:lnTo>
                  <a:pt x="1888" y="594"/>
                </a:lnTo>
                <a:lnTo>
                  <a:pt x="1885" y="601"/>
                </a:lnTo>
                <a:lnTo>
                  <a:pt x="1877" y="613"/>
                </a:lnTo>
                <a:lnTo>
                  <a:pt x="1867" y="625"/>
                </a:lnTo>
                <a:lnTo>
                  <a:pt x="1856" y="637"/>
                </a:lnTo>
                <a:lnTo>
                  <a:pt x="1845" y="647"/>
                </a:lnTo>
                <a:lnTo>
                  <a:pt x="1834" y="655"/>
                </a:lnTo>
                <a:lnTo>
                  <a:pt x="1827" y="659"/>
                </a:lnTo>
                <a:lnTo>
                  <a:pt x="1727" y="659"/>
                </a:lnTo>
                <a:lnTo>
                  <a:pt x="1699" y="674"/>
                </a:lnTo>
                <a:lnTo>
                  <a:pt x="1664" y="694"/>
                </a:lnTo>
                <a:lnTo>
                  <a:pt x="1647" y="704"/>
                </a:lnTo>
                <a:lnTo>
                  <a:pt x="1630" y="713"/>
                </a:lnTo>
                <a:lnTo>
                  <a:pt x="1624" y="716"/>
                </a:lnTo>
                <a:lnTo>
                  <a:pt x="1617" y="718"/>
                </a:lnTo>
                <a:lnTo>
                  <a:pt x="1611" y="720"/>
                </a:lnTo>
                <a:lnTo>
                  <a:pt x="1607" y="721"/>
                </a:lnTo>
                <a:lnTo>
                  <a:pt x="1598" y="720"/>
                </a:lnTo>
                <a:lnTo>
                  <a:pt x="1587" y="719"/>
                </a:lnTo>
                <a:lnTo>
                  <a:pt x="1574" y="717"/>
                </a:lnTo>
                <a:lnTo>
                  <a:pt x="1560" y="714"/>
                </a:lnTo>
                <a:lnTo>
                  <a:pt x="1527" y="705"/>
                </a:lnTo>
                <a:lnTo>
                  <a:pt x="1493" y="696"/>
                </a:lnTo>
                <a:lnTo>
                  <a:pt x="1460" y="686"/>
                </a:lnTo>
                <a:lnTo>
                  <a:pt x="1430" y="676"/>
                </a:lnTo>
                <a:lnTo>
                  <a:pt x="1418" y="671"/>
                </a:lnTo>
                <a:lnTo>
                  <a:pt x="1407" y="667"/>
                </a:lnTo>
                <a:lnTo>
                  <a:pt x="1400" y="663"/>
                </a:lnTo>
                <a:lnTo>
                  <a:pt x="1394" y="659"/>
                </a:lnTo>
                <a:lnTo>
                  <a:pt x="1228" y="659"/>
                </a:lnTo>
                <a:lnTo>
                  <a:pt x="1169" y="646"/>
                </a:lnTo>
                <a:lnTo>
                  <a:pt x="1160" y="646"/>
                </a:lnTo>
                <a:lnTo>
                  <a:pt x="1151" y="646"/>
                </a:lnTo>
                <a:lnTo>
                  <a:pt x="1143" y="644"/>
                </a:lnTo>
                <a:lnTo>
                  <a:pt x="1133" y="641"/>
                </a:lnTo>
                <a:lnTo>
                  <a:pt x="1123" y="638"/>
                </a:lnTo>
                <a:lnTo>
                  <a:pt x="1112" y="633"/>
                </a:lnTo>
                <a:lnTo>
                  <a:pt x="1102" y="628"/>
                </a:lnTo>
                <a:lnTo>
                  <a:pt x="1092" y="622"/>
                </a:lnTo>
                <a:lnTo>
                  <a:pt x="1082" y="615"/>
                </a:lnTo>
                <a:lnTo>
                  <a:pt x="1073" y="608"/>
                </a:lnTo>
                <a:lnTo>
                  <a:pt x="1065" y="601"/>
                </a:lnTo>
                <a:lnTo>
                  <a:pt x="1056" y="592"/>
                </a:lnTo>
                <a:lnTo>
                  <a:pt x="1049" y="584"/>
                </a:lnTo>
                <a:lnTo>
                  <a:pt x="1044" y="576"/>
                </a:lnTo>
                <a:lnTo>
                  <a:pt x="1038" y="568"/>
                </a:lnTo>
                <a:lnTo>
                  <a:pt x="1036" y="560"/>
                </a:lnTo>
                <a:lnTo>
                  <a:pt x="1022" y="560"/>
                </a:lnTo>
                <a:lnTo>
                  <a:pt x="1008" y="558"/>
                </a:lnTo>
                <a:lnTo>
                  <a:pt x="994" y="555"/>
                </a:lnTo>
                <a:lnTo>
                  <a:pt x="980" y="552"/>
                </a:lnTo>
                <a:lnTo>
                  <a:pt x="953" y="543"/>
                </a:lnTo>
                <a:lnTo>
                  <a:pt x="923" y="532"/>
                </a:lnTo>
                <a:lnTo>
                  <a:pt x="893" y="522"/>
                </a:lnTo>
                <a:lnTo>
                  <a:pt x="863" y="513"/>
                </a:lnTo>
                <a:lnTo>
                  <a:pt x="846" y="510"/>
                </a:lnTo>
                <a:lnTo>
                  <a:pt x="831" y="507"/>
                </a:lnTo>
                <a:lnTo>
                  <a:pt x="813" y="505"/>
                </a:lnTo>
                <a:lnTo>
                  <a:pt x="797" y="505"/>
                </a:lnTo>
                <a:lnTo>
                  <a:pt x="786" y="504"/>
                </a:lnTo>
                <a:lnTo>
                  <a:pt x="770" y="501"/>
                </a:lnTo>
                <a:lnTo>
                  <a:pt x="763" y="499"/>
                </a:lnTo>
                <a:lnTo>
                  <a:pt x="756" y="497"/>
                </a:lnTo>
                <a:lnTo>
                  <a:pt x="752" y="495"/>
                </a:lnTo>
                <a:lnTo>
                  <a:pt x="750" y="493"/>
                </a:lnTo>
                <a:lnTo>
                  <a:pt x="746" y="485"/>
                </a:lnTo>
                <a:lnTo>
                  <a:pt x="744" y="477"/>
                </a:lnTo>
                <a:lnTo>
                  <a:pt x="743" y="470"/>
                </a:lnTo>
                <a:lnTo>
                  <a:pt x="743" y="461"/>
                </a:lnTo>
                <a:lnTo>
                  <a:pt x="743" y="456"/>
                </a:lnTo>
                <a:lnTo>
                  <a:pt x="743" y="449"/>
                </a:lnTo>
                <a:lnTo>
                  <a:pt x="743" y="440"/>
                </a:lnTo>
                <a:lnTo>
                  <a:pt x="743" y="431"/>
                </a:lnTo>
                <a:lnTo>
                  <a:pt x="741" y="431"/>
                </a:lnTo>
                <a:lnTo>
                  <a:pt x="736" y="428"/>
                </a:lnTo>
                <a:lnTo>
                  <a:pt x="732" y="426"/>
                </a:lnTo>
                <a:lnTo>
                  <a:pt x="728" y="422"/>
                </a:lnTo>
                <a:lnTo>
                  <a:pt x="717" y="414"/>
                </a:lnTo>
                <a:lnTo>
                  <a:pt x="705" y="403"/>
                </a:lnTo>
                <a:lnTo>
                  <a:pt x="695" y="391"/>
                </a:lnTo>
                <a:lnTo>
                  <a:pt x="686" y="379"/>
                </a:lnTo>
                <a:lnTo>
                  <a:pt x="681" y="372"/>
                </a:lnTo>
                <a:lnTo>
                  <a:pt x="679" y="367"/>
                </a:lnTo>
                <a:lnTo>
                  <a:pt x="677" y="361"/>
                </a:lnTo>
                <a:lnTo>
                  <a:pt x="677" y="357"/>
                </a:lnTo>
                <a:lnTo>
                  <a:pt x="661" y="356"/>
                </a:lnTo>
                <a:lnTo>
                  <a:pt x="645" y="355"/>
                </a:lnTo>
                <a:lnTo>
                  <a:pt x="630" y="353"/>
                </a:lnTo>
                <a:lnTo>
                  <a:pt x="616" y="351"/>
                </a:lnTo>
                <a:lnTo>
                  <a:pt x="602" y="348"/>
                </a:lnTo>
                <a:lnTo>
                  <a:pt x="589" y="344"/>
                </a:lnTo>
                <a:lnTo>
                  <a:pt x="576" y="340"/>
                </a:lnTo>
                <a:lnTo>
                  <a:pt x="564" y="335"/>
                </a:lnTo>
                <a:lnTo>
                  <a:pt x="552" y="329"/>
                </a:lnTo>
                <a:lnTo>
                  <a:pt x="541" y="323"/>
                </a:lnTo>
                <a:lnTo>
                  <a:pt x="531" y="315"/>
                </a:lnTo>
                <a:lnTo>
                  <a:pt x="522" y="307"/>
                </a:lnTo>
                <a:lnTo>
                  <a:pt x="512" y="299"/>
                </a:lnTo>
                <a:lnTo>
                  <a:pt x="505" y="290"/>
                </a:lnTo>
                <a:lnTo>
                  <a:pt x="497" y="281"/>
                </a:lnTo>
                <a:lnTo>
                  <a:pt x="490" y="271"/>
                </a:lnTo>
                <a:lnTo>
                  <a:pt x="475" y="268"/>
                </a:lnTo>
                <a:lnTo>
                  <a:pt x="463" y="267"/>
                </a:lnTo>
                <a:lnTo>
                  <a:pt x="454" y="267"/>
                </a:lnTo>
                <a:lnTo>
                  <a:pt x="449" y="268"/>
                </a:lnTo>
                <a:lnTo>
                  <a:pt x="444" y="270"/>
                </a:lnTo>
                <a:lnTo>
                  <a:pt x="442" y="273"/>
                </a:lnTo>
                <a:lnTo>
                  <a:pt x="441" y="277"/>
                </a:lnTo>
                <a:lnTo>
                  <a:pt x="441" y="281"/>
                </a:lnTo>
                <a:lnTo>
                  <a:pt x="441" y="286"/>
                </a:lnTo>
                <a:lnTo>
                  <a:pt x="441" y="291"/>
                </a:lnTo>
                <a:lnTo>
                  <a:pt x="440" y="296"/>
                </a:lnTo>
                <a:lnTo>
                  <a:pt x="439" y="301"/>
                </a:lnTo>
                <a:lnTo>
                  <a:pt x="436" y="307"/>
                </a:lnTo>
                <a:lnTo>
                  <a:pt x="430" y="311"/>
                </a:lnTo>
                <a:lnTo>
                  <a:pt x="422" y="316"/>
                </a:lnTo>
                <a:lnTo>
                  <a:pt x="411" y="320"/>
                </a:lnTo>
                <a:lnTo>
                  <a:pt x="407" y="320"/>
                </a:lnTo>
                <a:lnTo>
                  <a:pt x="403" y="321"/>
                </a:lnTo>
                <a:lnTo>
                  <a:pt x="400" y="322"/>
                </a:lnTo>
                <a:lnTo>
                  <a:pt x="398" y="323"/>
                </a:lnTo>
                <a:lnTo>
                  <a:pt x="397" y="325"/>
                </a:lnTo>
                <a:lnTo>
                  <a:pt x="396" y="327"/>
                </a:lnTo>
                <a:lnTo>
                  <a:pt x="396" y="329"/>
                </a:lnTo>
                <a:lnTo>
                  <a:pt x="396" y="332"/>
                </a:lnTo>
                <a:lnTo>
                  <a:pt x="401" y="344"/>
                </a:lnTo>
                <a:lnTo>
                  <a:pt x="410" y="357"/>
                </a:lnTo>
                <a:lnTo>
                  <a:pt x="415" y="364"/>
                </a:lnTo>
                <a:lnTo>
                  <a:pt x="419" y="371"/>
                </a:lnTo>
                <a:lnTo>
                  <a:pt x="421" y="379"/>
                </a:lnTo>
                <a:lnTo>
                  <a:pt x="423" y="385"/>
                </a:lnTo>
                <a:lnTo>
                  <a:pt x="423" y="388"/>
                </a:lnTo>
                <a:lnTo>
                  <a:pt x="422" y="390"/>
                </a:lnTo>
                <a:lnTo>
                  <a:pt x="421" y="393"/>
                </a:lnTo>
                <a:lnTo>
                  <a:pt x="420" y="395"/>
                </a:lnTo>
                <a:lnTo>
                  <a:pt x="417" y="397"/>
                </a:lnTo>
                <a:lnTo>
                  <a:pt x="414" y="398"/>
                </a:lnTo>
                <a:lnTo>
                  <a:pt x="409" y="399"/>
                </a:lnTo>
                <a:lnTo>
                  <a:pt x="405" y="400"/>
                </a:lnTo>
                <a:lnTo>
                  <a:pt x="392" y="400"/>
                </a:lnTo>
                <a:lnTo>
                  <a:pt x="377" y="400"/>
                </a:lnTo>
                <a:lnTo>
                  <a:pt x="370" y="400"/>
                </a:lnTo>
                <a:lnTo>
                  <a:pt x="361" y="399"/>
                </a:lnTo>
                <a:lnTo>
                  <a:pt x="351" y="397"/>
                </a:lnTo>
                <a:lnTo>
                  <a:pt x="341" y="395"/>
                </a:lnTo>
                <a:lnTo>
                  <a:pt x="331" y="393"/>
                </a:lnTo>
                <a:lnTo>
                  <a:pt x="321" y="390"/>
                </a:lnTo>
                <a:lnTo>
                  <a:pt x="313" y="386"/>
                </a:lnTo>
                <a:lnTo>
                  <a:pt x="305" y="382"/>
                </a:lnTo>
                <a:lnTo>
                  <a:pt x="303" y="387"/>
                </a:lnTo>
                <a:lnTo>
                  <a:pt x="302" y="393"/>
                </a:lnTo>
                <a:lnTo>
                  <a:pt x="303" y="401"/>
                </a:lnTo>
                <a:lnTo>
                  <a:pt x="303" y="409"/>
                </a:lnTo>
                <a:lnTo>
                  <a:pt x="307" y="427"/>
                </a:lnTo>
                <a:lnTo>
                  <a:pt x="311" y="448"/>
                </a:lnTo>
                <a:lnTo>
                  <a:pt x="316" y="467"/>
                </a:lnTo>
                <a:lnTo>
                  <a:pt x="320" y="483"/>
                </a:lnTo>
                <a:lnTo>
                  <a:pt x="320" y="491"/>
                </a:lnTo>
                <a:lnTo>
                  <a:pt x="320" y="497"/>
                </a:lnTo>
                <a:lnTo>
                  <a:pt x="320" y="502"/>
                </a:lnTo>
                <a:lnTo>
                  <a:pt x="318" y="505"/>
                </a:lnTo>
                <a:lnTo>
                  <a:pt x="292" y="503"/>
                </a:lnTo>
                <a:lnTo>
                  <a:pt x="254" y="503"/>
                </a:lnTo>
                <a:lnTo>
                  <a:pt x="244" y="504"/>
                </a:lnTo>
                <a:lnTo>
                  <a:pt x="236" y="505"/>
                </a:lnTo>
                <a:lnTo>
                  <a:pt x="227" y="507"/>
                </a:lnTo>
                <a:lnTo>
                  <a:pt x="220" y="510"/>
                </a:lnTo>
                <a:lnTo>
                  <a:pt x="214" y="513"/>
                </a:lnTo>
                <a:lnTo>
                  <a:pt x="209" y="517"/>
                </a:lnTo>
                <a:lnTo>
                  <a:pt x="207" y="520"/>
                </a:lnTo>
                <a:lnTo>
                  <a:pt x="206" y="523"/>
                </a:lnTo>
                <a:lnTo>
                  <a:pt x="205" y="526"/>
                </a:lnTo>
                <a:lnTo>
                  <a:pt x="205" y="529"/>
                </a:lnTo>
                <a:lnTo>
                  <a:pt x="216" y="531"/>
                </a:lnTo>
                <a:lnTo>
                  <a:pt x="226" y="534"/>
                </a:lnTo>
                <a:lnTo>
                  <a:pt x="233" y="538"/>
                </a:lnTo>
                <a:lnTo>
                  <a:pt x="239" y="544"/>
                </a:lnTo>
                <a:lnTo>
                  <a:pt x="243" y="550"/>
                </a:lnTo>
                <a:lnTo>
                  <a:pt x="247" y="556"/>
                </a:lnTo>
                <a:lnTo>
                  <a:pt x="250" y="563"/>
                </a:lnTo>
                <a:lnTo>
                  <a:pt x="252" y="569"/>
                </a:lnTo>
                <a:lnTo>
                  <a:pt x="255" y="583"/>
                </a:lnTo>
                <a:lnTo>
                  <a:pt x="260" y="595"/>
                </a:lnTo>
                <a:lnTo>
                  <a:pt x="262" y="601"/>
                </a:lnTo>
                <a:lnTo>
                  <a:pt x="266" y="605"/>
                </a:lnTo>
                <a:lnTo>
                  <a:pt x="272" y="608"/>
                </a:lnTo>
                <a:lnTo>
                  <a:pt x="278" y="610"/>
                </a:lnTo>
                <a:lnTo>
                  <a:pt x="276" y="614"/>
                </a:lnTo>
                <a:lnTo>
                  <a:pt x="275" y="618"/>
                </a:lnTo>
                <a:lnTo>
                  <a:pt x="275" y="621"/>
                </a:lnTo>
                <a:lnTo>
                  <a:pt x="275" y="625"/>
                </a:lnTo>
                <a:lnTo>
                  <a:pt x="277" y="632"/>
                </a:lnTo>
                <a:lnTo>
                  <a:pt x="278" y="640"/>
                </a:lnTo>
                <a:lnTo>
                  <a:pt x="277" y="658"/>
                </a:lnTo>
                <a:lnTo>
                  <a:pt x="274" y="674"/>
                </a:lnTo>
                <a:lnTo>
                  <a:pt x="270" y="688"/>
                </a:lnTo>
                <a:lnTo>
                  <a:pt x="264" y="700"/>
                </a:lnTo>
                <a:lnTo>
                  <a:pt x="261" y="705"/>
                </a:lnTo>
                <a:lnTo>
                  <a:pt x="257" y="711"/>
                </a:lnTo>
                <a:lnTo>
                  <a:pt x="252" y="716"/>
                </a:lnTo>
                <a:lnTo>
                  <a:pt x="248" y="720"/>
                </a:lnTo>
                <a:lnTo>
                  <a:pt x="242" y="724"/>
                </a:lnTo>
                <a:lnTo>
                  <a:pt x="237" y="727"/>
                </a:lnTo>
                <a:lnTo>
                  <a:pt x="231" y="730"/>
                </a:lnTo>
                <a:lnTo>
                  <a:pt x="225" y="733"/>
                </a:lnTo>
                <a:lnTo>
                  <a:pt x="206" y="735"/>
                </a:lnTo>
                <a:lnTo>
                  <a:pt x="182" y="737"/>
                </a:lnTo>
                <a:lnTo>
                  <a:pt x="170" y="739"/>
                </a:lnTo>
                <a:lnTo>
                  <a:pt x="158" y="741"/>
                </a:lnTo>
                <a:lnTo>
                  <a:pt x="152" y="743"/>
                </a:lnTo>
                <a:lnTo>
                  <a:pt x="147" y="745"/>
                </a:lnTo>
                <a:lnTo>
                  <a:pt x="142" y="748"/>
                </a:lnTo>
                <a:lnTo>
                  <a:pt x="139" y="751"/>
                </a:lnTo>
                <a:lnTo>
                  <a:pt x="134" y="758"/>
                </a:lnTo>
                <a:lnTo>
                  <a:pt x="127" y="770"/>
                </a:lnTo>
                <a:lnTo>
                  <a:pt x="123" y="776"/>
                </a:lnTo>
                <a:lnTo>
                  <a:pt x="118" y="781"/>
                </a:lnTo>
                <a:lnTo>
                  <a:pt x="113" y="785"/>
                </a:lnTo>
                <a:lnTo>
                  <a:pt x="105" y="788"/>
                </a:lnTo>
                <a:lnTo>
                  <a:pt x="81" y="794"/>
                </a:lnTo>
                <a:lnTo>
                  <a:pt x="45" y="800"/>
                </a:lnTo>
                <a:lnTo>
                  <a:pt x="27" y="804"/>
                </a:lnTo>
                <a:lnTo>
                  <a:pt x="13" y="807"/>
                </a:lnTo>
                <a:lnTo>
                  <a:pt x="3" y="810"/>
                </a:lnTo>
                <a:lnTo>
                  <a:pt x="0" y="812"/>
                </a:lnTo>
                <a:lnTo>
                  <a:pt x="0" y="824"/>
                </a:lnTo>
                <a:lnTo>
                  <a:pt x="3" y="833"/>
                </a:lnTo>
                <a:lnTo>
                  <a:pt x="6" y="842"/>
                </a:lnTo>
                <a:lnTo>
                  <a:pt x="9" y="850"/>
                </a:lnTo>
                <a:lnTo>
                  <a:pt x="14" y="859"/>
                </a:lnTo>
                <a:lnTo>
                  <a:pt x="18" y="869"/>
                </a:lnTo>
                <a:lnTo>
                  <a:pt x="23" y="880"/>
                </a:lnTo>
                <a:lnTo>
                  <a:pt x="26" y="893"/>
                </a:lnTo>
                <a:lnTo>
                  <a:pt x="40" y="894"/>
                </a:lnTo>
                <a:lnTo>
                  <a:pt x="53" y="896"/>
                </a:lnTo>
                <a:lnTo>
                  <a:pt x="59" y="897"/>
                </a:lnTo>
                <a:lnTo>
                  <a:pt x="64" y="899"/>
                </a:lnTo>
                <a:lnTo>
                  <a:pt x="70" y="902"/>
                </a:lnTo>
                <a:lnTo>
                  <a:pt x="74" y="905"/>
                </a:lnTo>
                <a:lnTo>
                  <a:pt x="79" y="909"/>
                </a:lnTo>
                <a:lnTo>
                  <a:pt x="83" y="913"/>
                </a:lnTo>
                <a:lnTo>
                  <a:pt x="87" y="918"/>
                </a:lnTo>
                <a:lnTo>
                  <a:pt x="90" y="924"/>
                </a:lnTo>
                <a:lnTo>
                  <a:pt x="93" y="931"/>
                </a:lnTo>
                <a:lnTo>
                  <a:pt x="95" y="938"/>
                </a:lnTo>
                <a:lnTo>
                  <a:pt x="97" y="946"/>
                </a:lnTo>
                <a:lnTo>
                  <a:pt x="98" y="954"/>
                </a:lnTo>
              </a:path>
            </a:pathLst>
          </a:custGeom>
          <a:solidFill>
            <a:srgbClr val="007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063" name="Freeform 15"/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4411663" y="1131096"/>
            <a:ext cx="220662" cy="204788"/>
          </a:xfrm>
          <a:custGeom>
            <a:avLst/>
            <a:gdLst/>
            <a:ahLst/>
            <a:cxnLst>
              <a:cxn ang="0">
                <a:pos x="345" y="493"/>
              </a:cxn>
              <a:cxn ang="0">
                <a:pos x="256" y="505"/>
              </a:cxn>
              <a:cxn ang="0">
                <a:pos x="235" y="517"/>
              </a:cxn>
              <a:cxn ang="0">
                <a:pos x="210" y="522"/>
              </a:cxn>
              <a:cxn ang="0">
                <a:pos x="155" y="524"/>
              </a:cxn>
              <a:cxn ang="0">
                <a:pos x="106" y="522"/>
              </a:cxn>
              <a:cxn ang="0">
                <a:pos x="94" y="516"/>
              </a:cxn>
              <a:cxn ang="0">
                <a:pos x="71" y="509"/>
              </a:cxn>
              <a:cxn ang="0">
                <a:pos x="36" y="496"/>
              </a:cxn>
              <a:cxn ang="0">
                <a:pos x="22" y="486"/>
              </a:cxn>
              <a:cxn ang="0">
                <a:pos x="20" y="477"/>
              </a:cxn>
              <a:cxn ang="0">
                <a:pos x="27" y="463"/>
              </a:cxn>
              <a:cxn ang="0">
                <a:pos x="32" y="445"/>
              </a:cxn>
              <a:cxn ang="0">
                <a:pos x="28" y="432"/>
              </a:cxn>
              <a:cxn ang="0">
                <a:pos x="10" y="417"/>
              </a:cxn>
              <a:cxn ang="0">
                <a:pos x="1" y="407"/>
              </a:cxn>
              <a:cxn ang="0">
                <a:pos x="1" y="391"/>
              </a:cxn>
              <a:cxn ang="0">
                <a:pos x="17" y="360"/>
              </a:cxn>
              <a:cxn ang="0">
                <a:pos x="48" y="328"/>
              </a:cxn>
              <a:cxn ang="0">
                <a:pos x="86" y="299"/>
              </a:cxn>
              <a:cxn ang="0">
                <a:pos x="124" y="279"/>
              </a:cxn>
              <a:cxn ang="0">
                <a:pos x="160" y="272"/>
              </a:cxn>
              <a:cxn ang="0">
                <a:pos x="155" y="264"/>
              </a:cxn>
              <a:cxn ang="0">
                <a:pos x="142" y="259"/>
              </a:cxn>
              <a:cxn ang="0">
                <a:pos x="133" y="251"/>
              </a:cxn>
              <a:cxn ang="0">
                <a:pos x="127" y="229"/>
              </a:cxn>
              <a:cxn ang="0">
                <a:pos x="124" y="195"/>
              </a:cxn>
              <a:cxn ang="0">
                <a:pos x="115" y="161"/>
              </a:cxn>
              <a:cxn ang="0">
                <a:pos x="100" y="134"/>
              </a:cxn>
              <a:cxn ang="0">
                <a:pos x="68" y="90"/>
              </a:cxn>
              <a:cxn ang="0">
                <a:pos x="86" y="60"/>
              </a:cxn>
              <a:cxn ang="0">
                <a:pos x="106" y="56"/>
              </a:cxn>
              <a:cxn ang="0">
                <a:pos x="130" y="58"/>
              </a:cxn>
              <a:cxn ang="0">
                <a:pos x="139" y="61"/>
              </a:cxn>
              <a:cxn ang="0">
                <a:pos x="160" y="56"/>
              </a:cxn>
              <a:cxn ang="0">
                <a:pos x="164" y="33"/>
              </a:cxn>
              <a:cxn ang="0">
                <a:pos x="171" y="13"/>
              </a:cxn>
              <a:cxn ang="0">
                <a:pos x="187" y="0"/>
              </a:cxn>
              <a:cxn ang="0">
                <a:pos x="225" y="0"/>
              </a:cxn>
              <a:cxn ang="0">
                <a:pos x="254" y="8"/>
              </a:cxn>
              <a:cxn ang="0">
                <a:pos x="280" y="21"/>
              </a:cxn>
              <a:cxn ang="0">
                <a:pos x="279" y="62"/>
              </a:cxn>
              <a:cxn ang="0">
                <a:pos x="292" y="77"/>
              </a:cxn>
              <a:cxn ang="0">
                <a:pos x="319" y="94"/>
              </a:cxn>
              <a:cxn ang="0">
                <a:pos x="356" y="119"/>
              </a:cxn>
              <a:cxn ang="0">
                <a:pos x="346" y="135"/>
              </a:cxn>
              <a:cxn ang="0">
                <a:pos x="340" y="153"/>
              </a:cxn>
              <a:cxn ang="0">
                <a:pos x="344" y="176"/>
              </a:cxn>
              <a:cxn ang="0">
                <a:pos x="363" y="200"/>
              </a:cxn>
              <a:cxn ang="0">
                <a:pos x="378" y="210"/>
              </a:cxn>
              <a:cxn ang="0">
                <a:pos x="386" y="256"/>
              </a:cxn>
              <a:cxn ang="0">
                <a:pos x="404" y="289"/>
              </a:cxn>
              <a:cxn ang="0">
                <a:pos x="432" y="315"/>
              </a:cxn>
              <a:cxn ang="0">
                <a:pos x="463" y="335"/>
              </a:cxn>
              <a:cxn ang="0">
                <a:pos x="466" y="390"/>
              </a:cxn>
              <a:cxn ang="0">
                <a:pos x="397" y="457"/>
              </a:cxn>
            </a:cxnLst>
            <a:rect l="0" t="0" r="r" b="b"/>
            <a:pathLst>
              <a:path w="504" h="524">
                <a:moveTo>
                  <a:pt x="365" y="493"/>
                </a:moveTo>
                <a:lnTo>
                  <a:pt x="355" y="493"/>
                </a:lnTo>
                <a:lnTo>
                  <a:pt x="345" y="493"/>
                </a:lnTo>
                <a:lnTo>
                  <a:pt x="266" y="493"/>
                </a:lnTo>
                <a:lnTo>
                  <a:pt x="262" y="500"/>
                </a:lnTo>
                <a:lnTo>
                  <a:pt x="256" y="505"/>
                </a:lnTo>
                <a:lnTo>
                  <a:pt x="250" y="510"/>
                </a:lnTo>
                <a:lnTo>
                  <a:pt x="243" y="513"/>
                </a:lnTo>
                <a:lnTo>
                  <a:pt x="235" y="517"/>
                </a:lnTo>
                <a:lnTo>
                  <a:pt x="228" y="519"/>
                </a:lnTo>
                <a:lnTo>
                  <a:pt x="219" y="521"/>
                </a:lnTo>
                <a:lnTo>
                  <a:pt x="210" y="522"/>
                </a:lnTo>
                <a:lnTo>
                  <a:pt x="191" y="524"/>
                </a:lnTo>
                <a:lnTo>
                  <a:pt x="173" y="524"/>
                </a:lnTo>
                <a:lnTo>
                  <a:pt x="155" y="524"/>
                </a:lnTo>
                <a:lnTo>
                  <a:pt x="140" y="524"/>
                </a:lnTo>
                <a:lnTo>
                  <a:pt x="121" y="523"/>
                </a:lnTo>
                <a:lnTo>
                  <a:pt x="106" y="522"/>
                </a:lnTo>
                <a:lnTo>
                  <a:pt x="100" y="521"/>
                </a:lnTo>
                <a:lnTo>
                  <a:pt x="96" y="519"/>
                </a:lnTo>
                <a:lnTo>
                  <a:pt x="94" y="516"/>
                </a:lnTo>
                <a:lnTo>
                  <a:pt x="93" y="512"/>
                </a:lnTo>
                <a:lnTo>
                  <a:pt x="82" y="511"/>
                </a:lnTo>
                <a:lnTo>
                  <a:pt x="71" y="509"/>
                </a:lnTo>
                <a:lnTo>
                  <a:pt x="59" y="505"/>
                </a:lnTo>
                <a:lnTo>
                  <a:pt x="47" y="501"/>
                </a:lnTo>
                <a:lnTo>
                  <a:pt x="36" y="496"/>
                </a:lnTo>
                <a:lnTo>
                  <a:pt x="28" y="491"/>
                </a:lnTo>
                <a:lnTo>
                  <a:pt x="25" y="489"/>
                </a:lnTo>
                <a:lnTo>
                  <a:pt x="22" y="486"/>
                </a:lnTo>
                <a:lnTo>
                  <a:pt x="20" y="484"/>
                </a:lnTo>
                <a:lnTo>
                  <a:pt x="20" y="481"/>
                </a:lnTo>
                <a:lnTo>
                  <a:pt x="20" y="477"/>
                </a:lnTo>
                <a:lnTo>
                  <a:pt x="22" y="472"/>
                </a:lnTo>
                <a:lnTo>
                  <a:pt x="25" y="467"/>
                </a:lnTo>
                <a:lnTo>
                  <a:pt x="27" y="463"/>
                </a:lnTo>
                <a:lnTo>
                  <a:pt x="31" y="456"/>
                </a:lnTo>
                <a:lnTo>
                  <a:pt x="33" y="450"/>
                </a:lnTo>
                <a:lnTo>
                  <a:pt x="32" y="445"/>
                </a:lnTo>
                <a:lnTo>
                  <a:pt x="31" y="440"/>
                </a:lnTo>
                <a:lnTo>
                  <a:pt x="30" y="436"/>
                </a:lnTo>
                <a:lnTo>
                  <a:pt x="28" y="432"/>
                </a:lnTo>
                <a:lnTo>
                  <a:pt x="22" y="426"/>
                </a:lnTo>
                <a:lnTo>
                  <a:pt x="17" y="421"/>
                </a:lnTo>
                <a:lnTo>
                  <a:pt x="10" y="417"/>
                </a:lnTo>
                <a:lnTo>
                  <a:pt x="5" y="412"/>
                </a:lnTo>
                <a:lnTo>
                  <a:pt x="3" y="409"/>
                </a:lnTo>
                <a:lnTo>
                  <a:pt x="1" y="407"/>
                </a:lnTo>
                <a:lnTo>
                  <a:pt x="0" y="404"/>
                </a:lnTo>
                <a:lnTo>
                  <a:pt x="0" y="401"/>
                </a:lnTo>
                <a:lnTo>
                  <a:pt x="1" y="391"/>
                </a:lnTo>
                <a:lnTo>
                  <a:pt x="5" y="381"/>
                </a:lnTo>
                <a:lnTo>
                  <a:pt x="10" y="371"/>
                </a:lnTo>
                <a:lnTo>
                  <a:pt x="17" y="360"/>
                </a:lnTo>
                <a:lnTo>
                  <a:pt x="26" y="349"/>
                </a:lnTo>
                <a:lnTo>
                  <a:pt x="37" y="338"/>
                </a:lnTo>
                <a:lnTo>
                  <a:pt x="48" y="328"/>
                </a:lnTo>
                <a:lnTo>
                  <a:pt x="60" y="318"/>
                </a:lnTo>
                <a:lnTo>
                  <a:pt x="73" y="309"/>
                </a:lnTo>
                <a:lnTo>
                  <a:pt x="86" y="299"/>
                </a:lnTo>
                <a:lnTo>
                  <a:pt x="99" y="291"/>
                </a:lnTo>
                <a:lnTo>
                  <a:pt x="112" y="285"/>
                </a:lnTo>
                <a:lnTo>
                  <a:pt x="124" y="279"/>
                </a:lnTo>
                <a:lnTo>
                  <a:pt x="138" y="275"/>
                </a:lnTo>
                <a:lnTo>
                  <a:pt x="149" y="272"/>
                </a:lnTo>
                <a:lnTo>
                  <a:pt x="160" y="272"/>
                </a:lnTo>
                <a:lnTo>
                  <a:pt x="166" y="266"/>
                </a:lnTo>
                <a:lnTo>
                  <a:pt x="160" y="265"/>
                </a:lnTo>
                <a:lnTo>
                  <a:pt x="155" y="264"/>
                </a:lnTo>
                <a:lnTo>
                  <a:pt x="150" y="263"/>
                </a:lnTo>
                <a:lnTo>
                  <a:pt x="145" y="261"/>
                </a:lnTo>
                <a:lnTo>
                  <a:pt x="142" y="259"/>
                </a:lnTo>
                <a:lnTo>
                  <a:pt x="139" y="257"/>
                </a:lnTo>
                <a:lnTo>
                  <a:pt x="135" y="254"/>
                </a:lnTo>
                <a:lnTo>
                  <a:pt x="133" y="251"/>
                </a:lnTo>
                <a:lnTo>
                  <a:pt x="130" y="244"/>
                </a:lnTo>
                <a:lnTo>
                  <a:pt x="128" y="236"/>
                </a:lnTo>
                <a:lnTo>
                  <a:pt x="127" y="229"/>
                </a:lnTo>
                <a:lnTo>
                  <a:pt x="127" y="222"/>
                </a:lnTo>
                <a:lnTo>
                  <a:pt x="126" y="208"/>
                </a:lnTo>
                <a:lnTo>
                  <a:pt x="124" y="195"/>
                </a:lnTo>
                <a:lnTo>
                  <a:pt x="121" y="182"/>
                </a:lnTo>
                <a:lnTo>
                  <a:pt x="119" y="171"/>
                </a:lnTo>
                <a:lnTo>
                  <a:pt x="115" y="161"/>
                </a:lnTo>
                <a:lnTo>
                  <a:pt x="110" y="152"/>
                </a:lnTo>
                <a:lnTo>
                  <a:pt x="106" y="143"/>
                </a:lnTo>
                <a:lnTo>
                  <a:pt x="100" y="134"/>
                </a:lnTo>
                <a:lnTo>
                  <a:pt x="89" y="119"/>
                </a:lnTo>
                <a:lnTo>
                  <a:pt x="78" y="104"/>
                </a:lnTo>
                <a:lnTo>
                  <a:pt x="68" y="90"/>
                </a:lnTo>
                <a:lnTo>
                  <a:pt x="60" y="74"/>
                </a:lnTo>
                <a:lnTo>
                  <a:pt x="74" y="66"/>
                </a:lnTo>
                <a:lnTo>
                  <a:pt x="86" y="60"/>
                </a:lnTo>
                <a:lnTo>
                  <a:pt x="93" y="58"/>
                </a:lnTo>
                <a:lnTo>
                  <a:pt x="99" y="57"/>
                </a:lnTo>
                <a:lnTo>
                  <a:pt x="106" y="56"/>
                </a:lnTo>
                <a:lnTo>
                  <a:pt x="112" y="56"/>
                </a:lnTo>
                <a:lnTo>
                  <a:pt x="123" y="56"/>
                </a:lnTo>
                <a:lnTo>
                  <a:pt x="130" y="58"/>
                </a:lnTo>
                <a:lnTo>
                  <a:pt x="133" y="59"/>
                </a:lnTo>
                <a:lnTo>
                  <a:pt x="137" y="60"/>
                </a:lnTo>
                <a:lnTo>
                  <a:pt x="139" y="61"/>
                </a:lnTo>
                <a:lnTo>
                  <a:pt x="143" y="61"/>
                </a:lnTo>
                <a:lnTo>
                  <a:pt x="149" y="59"/>
                </a:lnTo>
                <a:lnTo>
                  <a:pt x="160" y="56"/>
                </a:lnTo>
                <a:lnTo>
                  <a:pt x="160" y="47"/>
                </a:lnTo>
                <a:lnTo>
                  <a:pt x="162" y="40"/>
                </a:lnTo>
                <a:lnTo>
                  <a:pt x="164" y="33"/>
                </a:lnTo>
                <a:lnTo>
                  <a:pt x="166" y="25"/>
                </a:lnTo>
                <a:lnTo>
                  <a:pt x="168" y="19"/>
                </a:lnTo>
                <a:lnTo>
                  <a:pt x="171" y="13"/>
                </a:lnTo>
                <a:lnTo>
                  <a:pt x="172" y="7"/>
                </a:lnTo>
                <a:lnTo>
                  <a:pt x="173" y="0"/>
                </a:lnTo>
                <a:lnTo>
                  <a:pt x="187" y="0"/>
                </a:lnTo>
                <a:lnTo>
                  <a:pt x="201" y="0"/>
                </a:lnTo>
                <a:lnTo>
                  <a:pt x="214" y="0"/>
                </a:lnTo>
                <a:lnTo>
                  <a:pt x="225" y="0"/>
                </a:lnTo>
                <a:lnTo>
                  <a:pt x="235" y="1"/>
                </a:lnTo>
                <a:lnTo>
                  <a:pt x="244" y="4"/>
                </a:lnTo>
                <a:lnTo>
                  <a:pt x="254" y="8"/>
                </a:lnTo>
                <a:lnTo>
                  <a:pt x="263" y="12"/>
                </a:lnTo>
                <a:lnTo>
                  <a:pt x="270" y="17"/>
                </a:lnTo>
                <a:lnTo>
                  <a:pt x="280" y="21"/>
                </a:lnTo>
                <a:lnTo>
                  <a:pt x="289" y="24"/>
                </a:lnTo>
                <a:lnTo>
                  <a:pt x="299" y="25"/>
                </a:lnTo>
                <a:lnTo>
                  <a:pt x="279" y="62"/>
                </a:lnTo>
                <a:lnTo>
                  <a:pt x="283" y="67"/>
                </a:lnTo>
                <a:lnTo>
                  <a:pt x="287" y="72"/>
                </a:lnTo>
                <a:lnTo>
                  <a:pt x="292" y="77"/>
                </a:lnTo>
                <a:lnTo>
                  <a:pt x="297" y="82"/>
                </a:lnTo>
                <a:lnTo>
                  <a:pt x="308" y="88"/>
                </a:lnTo>
                <a:lnTo>
                  <a:pt x="319" y="94"/>
                </a:lnTo>
                <a:lnTo>
                  <a:pt x="341" y="103"/>
                </a:lnTo>
                <a:lnTo>
                  <a:pt x="358" y="111"/>
                </a:lnTo>
                <a:lnTo>
                  <a:pt x="356" y="119"/>
                </a:lnTo>
                <a:lnTo>
                  <a:pt x="353" y="126"/>
                </a:lnTo>
                <a:lnTo>
                  <a:pt x="350" y="131"/>
                </a:lnTo>
                <a:lnTo>
                  <a:pt x="346" y="135"/>
                </a:lnTo>
                <a:lnTo>
                  <a:pt x="343" y="141"/>
                </a:lnTo>
                <a:lnTo>
                  <a:pt x="341" y="146"/>
                </a:lnTo>
                <a:lnTo>
                  <a:pt x="340" y="153"/>
                </a:lnTo>
                <a:lnTo>
                  <a:pt x="339" y="161"/>
                </a:lnTo>
                <a:lnTo>
                  <a:pt x="340" y="168"/>
                </a:lnTo>
                <a:lnTo>
                  <a:pt x="344" y="176"/>
                </a:lnTo>
                <a:lnTo>
                  <a:pt x="350" y="184"/>
                </a:lnTo>
                <a:lnTo>
                  <a:pt x="356" y="193"/>
                </a:lnTo>
                <a:lnTo>
                  <a:pt x="363" y="200"/>
                </a:lnTo>
                <a:lnTo>
                  <a:pt x="369" y="205"/>
                </a:lnTo>
                <a:lnTo>
                  <a:pt x="375" y="209"/>
                </a:lnTo>
                <a:lnTo>
                  <a:pt x="378" y="210"/>
                </a:lnTo>
                <a:lnTo>
                  <a:pt x="379" y="226"/>
                </a:lnTo>
                <a:lnTo>
                  <a:pt x="381" y="241"/>
                </a:lnTo>
                <a:lnTo>
                  <a:pt x="386" y="256"/>
                </a:lnTo>
                <a:lnTo>
                  <a:pt x="391" y="268"/>
                </a:lnTo>
                <a:lnTo>
                  <a:pt x="397" y="279"/>
                </a:lnTo>
                <a:lnTo>
                  <a:pt x="404" y="289"/>
                </a:lnTo>
                <a:lnTo>
                  <a:pt x="413" y="298"/>
                </a:lnTo>
                <a:lnTo>
                  <a:pt x="422" y="307"/>
                </a:lnTo>
                <a:lnTo>
                  <a:pt x="432" y="315"/>
                </a:lnTo>
                <a:lnTo>
                  <a:pt x="442" y="322"/>
                </a:lnTo>
                <a:lnTo>
                  <a:pt x="452" y="329"/>
                </a:lnTo>
                <a:lnTo>
                  <a:pt x="463" y="335"/>
                </a:lnTo>
                <a:lnTo>
                  <a:pt x="485" y="346"/>
                </a:lnTo>
                <a:lnTo>
                  <a:pt x="504" y="357"/>
                </a:lnTo>
                <a:lnTo>
                  <a:pt x="466" y="390"/>
                </a:lnTo>
                <a:lnTo>
                  <a:pt x="430" y="424"/>
                </a:lnTo>
                <a:lnTo>
                  <a:pt x="413" y="440"/>
                </a:lnTo>
                <a:lnTo>
                  <a:pt x="397" y="457"/>
                </a:lnTo>
                <a:lnTo>
                  <a:pt x="380" y="476"/>
                </a:lnTo>
                <a:lnTo>
                  <a:pt x="365" y="493"/>
                </a:lnTo>
              </a:path>
            </a:pathLst>
          </a:custGeom>
          <a:solidFill>
            <a:srgbClr val="007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064" name="Freeform 16"/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4148138" y="1444230"/>
            <a:ext cx="182562" cy="178594"/>
          </a:xfrm>
          <a:custGeom>
            <a:avLst/>
            <a:gdLst/>
            <a:ahLst/>
            <a:cxnLst>
              <a:cxn ang="0">
                <a:pos x="426" y="190"/>
              </a:cxn>
              <a:cxn ang="0">
                <a:pos x="408" y="128"/>
              </a:cxn>
              <a:cxn ang="0">
                <a:pos x="387" y="85"/>
              </a:cxn>
              <a:cxn ang="0">
                <a:pos x="367" y="62"/>
              </a:cxn>
              <a:cxn ang="0">
                <a:pos x="356" y="58"/>
              </a:cxn>
              <a:cxn ang="0">
                <a:pos x="335" y="45"/>
              </a:cxn>
              <a:cxn ang="0">
                <a:pos x="314" y="38"/>
              </a:cxn>
              <a:cxn ang="0">
                <a:pos x="293" y="38"/>
              </a:cxn>
              <a:cxn ang="0">
                <a:pos x="276" y="42"/>
              </a:cxn>
              <a:cxn ang="0">
                <a:pos x="251" y="58"/>
              </a:cxn>
              <a:cxn ang="0">
                <a:pos x="235" y="67"/>
              </a:cxn>
              <a:cxn ang="0">
                <a:pos x="217" y="66"/>
              </a:cxn>
              <a:cxn ang="0">
                <a:pos x="174" y="37"/>
              </a:cxn>
              <a:cxn ang="0">
                <a:pos x="113" y="0"/>
              </a:cxn>
              <a:cxn ang="0">
                <a:pos x="95" y="23"/>
              </a:cxn>
              <a:cxn ang="0">
                <a:pos x="93" y="43"/>
              </a:cxn>
              <a:cxn ang="0">
                <a:pos x="98" y="52"/>
              </a:cxn>
              <a:cxn ang="0">
                <a:pos x="119" y="69"/>
              </a:cxn>
              <a:cxn ang="0">
                <a:pos x="99" y="73"/>
              </a:cxn>
              <a:cxn ang="0">
                <a:pos x="66" y="93"/>
              </a:cxn>
              <a:cxn ang="0">
                <a:pos x="58" y="119"/>
              </a:cxn>
              <a:cxn ang="0">
                <a:pos x="45" y="138"/>
              </a:cxn>
              <a:cxn ang="0">
                <a:pos x="35" y="156"/>
              </a:cxn>
              <a:cxn ang="0">
                <a:pos x="33" y="179"/>
              </a:cxn>
              <a:cxn ang="0">
                <a:pos x="7" y="238"/>
              </a:cxn>
              <a:cxn ang="0">
                <a:pos x="15" y="246"/>
              </a:cxn>
              <a:cxn ang="0">
                <a:pos x="26" y="247"/>
              </a:cxn>
              <a:cxn ang="0">
                <a:pos x="33" y="346"/>
              </a:cxn>
              <a:cxn ang="0">
                <a:pos x="93" y="353"/>
              </a:cxn>
              <a:cxn ang="0">
                <a:pos x="104" y="376"/>
              </a:cxn>
              <a:cxn ang="0">
                <a:pos x="89" y="425"/>
              </a:cxn>
              <a:cxn ang="0">
                <a:pos x="109" y="447"/>
              </a:cxn>
              <a:cxn ang="0">
                <a:pos x="152" y="447"/>
              </a:cxn>
              <a:cxn ang="0">
                <a:pos x="205" y="444"/>
              </a:cxn>
              <a:cxn ang="0">
                <a:pos x="276" y="446"/>
              </a:cxn>
              <a:cxn ang="0">
                <a:pos x="343" y="442"/>
              </a:cxn>
              <a:cxn ang="0">
                <a:pos x="372" y="432"/>
              </a:cxn>
              <a:cxn ang="0">
                <a:pos x="359" y="413"/>
              </a:cxn>
              <a:cxn ang="0">
                <a:pos x="369" y="403"/>
              </a:cxn>
              <a:cxn ang="0">
                <a:pos x="372" y="382"/>
              </a:cxn>
              <a:cxn ang="0">
                <a:pos x="380" y="367"/>
              </a:cxn>
              <a:cxn ang="0">
                <a:pos x="343" y="344"/>
              </a:cxn>
              <a:cxn ang="0">
                <a:pos x="325" y="323"/>
              </a:cxn>
              <a:cxn ang="0">
                <a:pos x="311" y="294"/>
              </a:cxn>
              <a:cxn ang="0">
                <a:pos x="294" y="277"/>
              </a:cxn>
              <a:cxn ang="0">
                <a:pos x="314" y="275"/>
              </a:cxn>
              <a:cxn ang="0">
                <a:pos x="346" y="271"/>
              </a:cxn>
              <a:cxn ang="0">
                <a:pos x="369" y="260"/>
              </a:cxn>
              <a:cxn ang="0">
                <a:pos x="407" y="240"/>
              </a:cxn>
              <a:cxn ang="0">
                <a:pos x="438" y="235"/>
              </a:cxn>
            </a:cxnLst>
            <a:rect l="0" t="0" r="r" b="b"/>
            <a:pathLst>
              <a:path w="438" h="451">
                <a:moveTo>
                  <a:pt x="438" y="235"/>
                </a:moveTo>
                <a:lnTo>
                  <a:pt x="431" y="212"/>
                </a:lnTo>
                <a:lnTo>
                  <a:pt x="426" y="190"/>
                </a:lnTo>
                <a:lnTo>
                  <a:pt x="420" y="169"/>
                </a:lnTo>
                <a:lnTo>
                  <a:pt x="415" y="148"/>
                </a:lnTo>
                <a:lnTo>
                  <a:pt x="408" y="128"/>
                </a:lnTo>
                <a:lnTo>
                  <a:pt x="398" y="106"/>
                </a:lnTo>
                <a:lnTo>
                  <a:pt x="393" y="95"/>
                </a:lnTo>
                <a:lnTo>
                  <a:pt x="387" y="85"/>
                </a:lnTo>
                <a:lnTo>
                  <a:pt x="380" y="74"/>
                </a:lnTo>
                <a:lnTo>
                  <a:pt x="372" y="62"/>
                </a:lnTo>
                <a:lnTo>
                  <a:pt x="367" y="62"/>
                </a:lnTo>
                <a:lnTo>
                  <a:pt x="363" y="61"/>
                </a:lnTo>
                <a:lnTo>
                  <a:pt x="359" y="60"/>
                </a:lnTo>
                <a:lnTo>
                  <a:pt x="356" y="58"/>
                </a:lnTo>
                <a:lnTo>
                  <a:pt x="349" y="54"/>
                </a:lnTo>
                <a:lnTo>
                  <a:pt x="342" y="49"/>
                </a:lnTo>
                <a:lnTo>
                  <a:pt x="335" y="45"/>
                </a:lnTo>
                <a:lnTo>
                  <a:pt x="326" y="41"/>
                </a:lnTo>
                <a:lnTo>
                  <a:pt x="320" y="40"/>
                </a:lnTo>
                <a:lnTo>
                  <a:pt x="314" y="38"/>
                </a:lnTo>
                <a:lnTo>
                  <a:pt x="307" y="38"/>
                </a:lnTo>
                <a:lnTo>
                  <a:pt x="298" y="37"/>
                </a:lnTo>
                <a:lnTo>
                  <a:pt x="293" y="38"/>
                </a:lnTo>
                <a:lnTo>
                  <a:pt x="287" y="39"/>
                </a:lnTo>
                <a:lnTo>
                  <a:pt x="282" y="40"/>
                </a:lnTo>
                <a:lnTo>
                  <a:pt x="276" y="42"/>
                </a:lnTo>
                <a:lnTo>
                  <a:pt x="268" y="47"/>
                </a:lnTo>
                <a:lnTo>
                  <a:pt x="260" y="52"/>
                </a:lnTo>
                <a:lnTo>
                  <a:pt x="251" y="58"/>
                </a:lnTo>
                <a:lnTo>
                  <a:pt x="244" y="64"/>
                </a:lnTo>
                <a:lnTo>
                  <a:pt x="239" y="66"/>
                </a:lnTo>
                <a:lnTo>
                  <a:pt x="235" y="67"/>
                </a:lnTo>
                <a:lnTo>
                  <a:pt x="230" y="68"/>
                </a:lnTo>
                <a:lnTo>
                  <a:pt x="226" y="69"/>
                </a:lnTo>
                <a:lnTo>
                  <a:pt x="217" y="66"/>
                </a:lnTo>
                <a:lnTo>
                  <a:pt x="205" y="58"/>
                </a:lnTo>
                <a:lnTo>
                  <a:pt x="190" y="48"/>
                </a:lnTo>
                <a:lnTo>
                  <a:pt x="174" y="37"/>
                </a:lnTo>
                <a:lnTo>
                  <a:pt x="145" y="16"/>
                </a:lnTo>
                <a:lnTo>
                  <a:pt x="133" y="7"/>
                </a:lnTo>
                <a:lnTo>
                  <a:pt x="113" y="0"/>
                </a:lnTo>
                <a:lnTo>
                  <a:pt x="104" y="9"/>
                </a:lnTo>
                <a:lnTo>
                  <a:pt x="98" y="18"/>
                </a:lnTo>
                <a:lnTo>
                  <a:pt x="95" y="23"/>
                </a:lnTo>
                <a:lnTo>
                  <a:pt x="94" y="28"/>
                </a:lnTo>
                <a:lnTo>
                  <a:pt x="93" y="35"/>
                </a:lnTo>
                <a:lnTo>
                  <a:pt x="93" y="43"/>
                </a:lnTo>
                <a:lnTo>
                  <a:pt x="93" y="46"/>
                </a:lnTo>
                <a:lnTo>
                  <a:pt x="95" y="49"/>
                </a:lnTo>
                <a:lnTo>
                  <a:pt x="98" y="52"/>
                </a:lnTo>
                <a:lnTo>
                  <a:pt x="101" y="55"/>
                </a:lnTo>
                <a:lnTo>
                  <a:pt x="110" y="63"/>
                </a:lnTo>
                <a:lnTo>
                  <a:pt x="119" y="69"/>
                </a:lnTo>
                <a:lnTo>
                  <a:pt x="112" y="69"/>
                </a:lnTo>
                <a:lnTo>
                  <a:pt x="105" y="71"/>
                </a:lnTo>
                <a:lnTo>
                  <a:pt x="99" y="73"/>
                </a:lnTo>
                <a:lnTo>
                  <a:pt x="93" y="76"/>
                </a:lnTo>
                <a:lnTo>
                  <a:pt x="80" y="84"/>
                </a:lnTo>
                <a:lnTo>
                  <a:pt x="66" y="93"/>
                </a:lnTo>
                <a:lnTo>
                  <a:pt x="63" y="103"/>
                </a:lnTo>
                <a:lnTo>
                  <a:pt x="61" y="112"/>
                </a:lnTo>
                <a:lnTo>
                  <a:pt x="58" y="119"/>
                </a:lnTo>
                <a:lnTo>
                  <a:pt x="56" y="125"/>
                </a:lnTo>
                <a:lnTo>
                  <a:pt x="49" y="133"/>
                </a:lnTo>
                <a:lnTo>
                  <a:pt x="45" y="138"/>
                </a:lnTo>
                <a:lnTo>
                  <a:pt x="39" y="144"/>
                </a:lnTo>
                <a:lnTo>
                  <a:pt x="36" y="151"/>
                </a:lnTo>
                <a:lnTo>
                  <a:pt x="35" y="156"/>
                </a:lnTo>
                <a:lnTo>
                  <a:pt x="34" y="162"/>
                </a:lnTo>
                <a:lnTo>
                  <a:pt x="33" y="169"/>
                </a:lnTo>
                <a:lnTo>
                  <a:pt x="33" y="179"/>
                </a:lnTo>
                <a:lnTo>
                  <a:pt x="0" y="235"/>
                </a:lnTo>
                <a:lnTo>
                  <a:pt x="4" y="236"/>
                </a:lnTo>
                <a:lnTo>
                  <a:pt x="7" y="238"/>
                </a:lnTo>
                <a:lnTo>
                  <a:pt x="11" y="240"/>
                </a:lnTo>
                <a:lnTo>
                  <a:pt x="13" y="243"/>
                </a:lnTo>
                <a:lnTo>
                  <a:pt x="15" y="246"/>
                </a:lnTo>
                <a:lnTo>
                  <a:pt x="18" y="248"/>
                </a:lnTo>
                <a:lnTo>
                  <a:pt x="22" y="248"/>
                </a:lnTo>
                <a:lnTo>
                  <a:pt x="26" y="247"/>
                </a:lnTo>
                <a:lnTo>
                  <a:pt x="39" y="277"/>
                </a:lnTo>
                <a:lnTo>
                  <a:pt x="33" y="308"/>
                </a:lnTo>
                <a:lnTo>
                  <a:pt x="33" y="346"/>
                </a:lnTo>
                <a:lnTo>
                  <a:pt x="53" y="347"/>
                </a:lnTo>
                <a:lnTo>
                  <a:pt x="72" y="350"/>
                </a:lnTo>
                <a:lnTo>
                  <a:pt x="93" y="353"/>
                </a:lnTo>
                <a:lnTo>
                  <a:pt x="113" y="358"/>
                </a:lnTo>
                <a:lnTo>
                  <a:pt x="107" y="366"/>
                </a:lnTo>
                <a:lnTo>
                  <a:pt x="104" y="376"/>
                </a:lnTo>
                <a:lnTo>
                  <a:pt x="100" y="387"/>
                </a:lnTo>
                <a:lnTo>
                  <a:pt x="96" y="400"/>
                </a:lnTo>
                <a:lnTo>
                  <a:pt x="89" y="425"/>
                </a:lnTo>
                <a:lnTo>
                  <a:pt x="79" y="451"/>
                </a:lnTo>
                <a:lnTo>
                  <a:pt x="94" y="449"/>
                </a:lnTo>
                <a:lnTo>
                  <a:pt x="109" y="447"/>
                </a:lnTo>
                <a:lnTo>
                  <a:pt x="123" y="447"/>
                </a:lnTo>
                <a:lnTo>
                  <a:pt x="137" y="447"/>
                </a:lnTo>
                <a:lnTo>
                  <a:pt x="152" y="447"/>
                </a:lnTo>
                <a:lnTo>
                  <a:pt x="169" y="446"/>
                </a:lnTo>
                <a:lnTo>
                  <a:pt x="186" y="445"/>
                </a:lnTo>
                <a:lnTo>
                  <a:pt x="205" y="444"/>
                </a:lnTo>
                <a:lnTo>
                  <a:pt x="228" y="445"/>
                </a:lnTo>
                <a:lnTo>
                  <a:pt x="252" y="446"/>
                </a:lnTo>
                <a:lnTo>
                  <a:pt x="276" y="446"/>
                </a:lnTo>
                <a:lnTo>
                  <a:pt x="300" y="445"/>
                </a:lnTo>
                <a:lnTo>
                  <a:pt x="322" y="444"/>
                </a:lnTo>
                <a:lnTo>
                  <a:pt x="343" y="442"/>
                </a:lnTo>
                <a:lnTo>
                  <a:pt x="362" y="440"/>
                </a:lnTo>
                <a:lnTo>
                  <a:pt x="379" y="438"/>
                </a:lnTo>
                <a:lnTo>
                  <a:pt x="372" y="432"/>
                </a:lnTo>
                <a:lnTo>
                  <a:pt x="365" y="425"/>
                </a:lnTo>
                <a:lnTo>
                  <a:pt x="361" y="419"/>
                </a:lnTo>
                <a:lnTo>
                  <a:pt x="359" y="413"/>
                </a:lnTo>
                <a:lnTo>
                  <a:pt x="363" y="411"/>
                </a:lnTo>
                <a:lnTo>
                  <a:pt x="367" y="407"/>
                </a:lnTo>
                <a:lnTo>
                  <a:pt x="369" y="403"/>
                </a:lnTo>
                <a:lnTo>
                  <a:pt x="370" y="398"/>
                </a:lnTo>
                <a:lnTo>
                  <a:pt x="372" y="389"/>
                </a:lnTo>
                <a:lnTo>
                  <a:pt x="372" y="382"/>
                </a:lnTo>
                <a:lnTo>
                  <a:pt x="385" y="379"/>
                </a:lnTo>
                <a:lnTo>
                  <a:pt x="398" y="376"/>
                </a:lnTo>
                <a:lnTo>
                  <a:pt x="380" y="367"/>
                </a:lnTo>
                <a:lnTo>
                  <a:pt x="365" y="359"/>
                </a:lnTo>
                <a:lnTo>
                  <a:pt x="353" y="351"/>
                </a:lnTo>
                <a:lnTo>
                  <a:pt x="343" y="344"/>
                </a:lnTo>
                <a:lnTo>
                  <a:pt x="336" y="336"/>
                </a:lnTo>
                <a:lnTo>
                  <a:pt x="330" y="329"/>
                </a:lnTo>
                <a:lnTo>
                  <a:pt x="325" y="323"/>
                </a:lnTo>
                <a:lnTo>
                  <a:pt x="322" y="317"/>
                </a:lnTo>
                <a:lnTo>
                  <a:pt x="316" y="305"/>
                </a:lnTo>
                <a:lnTo>
                  <a:pt x="311" y="294"/>
                </a:lnTo>
                <a:lnTo>
                  <a:pt x="306" y="289"/>
                </a:lnTo>
                <a:lnTo>
                  <a:pt x="301" y="283"/>
                </a:lnTo>
                <a:lnTo>
                  <a:pt x="294" y="277"/>
                </a:lnTo>
                <a:lnTo>
                  <a:pt x="285" y="271"/>
                </a:lnTo>
                <a:lnTo>
                  <a:pt x="301" y="274"/>
                </a:lnTo>
                <a:lnTo>
                  <a:pt x="314" y="275"/>
                </a:lnTo>
                <a:lnTo>
                  <a:pt x="326" y="275"/>
                </a:lnTo>
                <a:lnTo>
                  <a:pt x="336" y="273"/>
                </a:lnTo>
                <a:lnTo>
                  <a:pt x="346" y="271"/>
                </a:lnTo>
                <a:lnTo>
                  <a:pt x="354" y="268"/>
                </a:lnTo>
                <a:lnTo>
                  <a:pt x="362" y="264"/>
                </a:lnTo>
                <a:lnTo>
                  <a:pt x="369" y="260"/>
                </a:lnTo>
                <a:lnTo>
                  <a:pt x="383" y="251"/>
                </a:lnTo>
                <a:lnTo>
                  <a:pt x="398" y="243"/>
                </a:lnTo>
                <a:lnTo>
                  <a:pt x="407" y="240"/>
                </a:lnTo>
                <a:lnTo>
                  <a:pt x="416" y="237"/>
                </a:lnTo>
                <a:lnTo>
                  <a:pt x="427" y="236"/>
                </a:lnTo>
                <a:lnTo>
                  <a:pt x="438" y="235"/>
                </a:lnTo>
              </a:path>
            </a:pathLst>
          </a:custGeom>
          <a:solidFill>
            <a:srgbClr val="007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065" name="Freeform 17"/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4173545" y="1637117"/>
            <a:ext cx="250825" cy="205978"/>
          </a:xfrm>
          <a:custGeom>
            <a:avLst/>
            <a:gdLst/>
            <a:ahLst/>
            <a:cxnLst>
              <a:cxn ang="0">
                <a:pos x="327" y="88"/>
              </a:cxn>
              <a:cxn ang="0">
                <a:pos x="312" y="85"/>
              </a:cxn>
              <a:cxn ang="0">
                <a:pos x="301" y="79"/>
              </a:cxn>
              <a:cxn ang="0">
                <a:pos x="275" y="66"/>
              </a:cxn>
              <a:cxn ang="0">
                <a:pos x="251" y="78"/>
              </a:cxn>
              <a:cxn ang="0">
                <a:pos x="246" y="105"/>
              </a:cxn>
              <a:cxn ang="0">
                <a:pos x="253" y="153"/>
              </a:cxn>
              <a:cxn ang="0">
                <a:pos x="270" y="172"/>
              </a:cxn>
              <a:cxn ang="0">
                <a:pos x="287" y="178"/>
              </a:cxn>
              <a:cxn ang="0">
                <a:pos x="298" y="191"/>
              </a:cxn>
              <a:cxn ang="0">
                <a:pos x="351" y="225"/>
              </a:cxn>
              <a:cxn ang="0">
                <a:pos x="449" y="309"/>
              </a:cxn>
              <a:cxn ang="0">
                <a:pos x="477" y="322"/>
              </a:cxn>
              <a:cxn ang="0">
                <a:pos x="504" y="328"/>
              </a:cxn>
              <a:cxn ang="0">
                <a:pos x="536" y="356"/>
              </a:cxn>
              <a:cxn ang="0">
                <a:pos x="578" y="376"/>
              </a:cxn>
              <a:cxn ang="0">
                <a:pos x="565" y="407"/>
              </a:cxn>
              <a:cxn ang="0">
                <a:pos x="526" y="383"/>
              </a:cxn>
              <a:cxn ang="0">
                <a:pos x="508" y="376"/>
              </a:cxn>
              <a:cxn ang="0">
                <a:pos x="498" y="397"/>
              </a:cxn>
              <a:cxn ang="0">
                <a:pos x="506" y="426"/>
              </a:cxn>
              <a:cxn ang="0">
                <a:pos x="514" y="442"/>
              </a:cxn>
              <a:cxn ang="0">
                <a:pos x="500" y="468"/>
              </a:cxn>
              <a:cxn ang="0">
                <a:pos x="483" y="505"/>
              </a:cxn>
              <a:cxn ang="0">
                <a:pos x="465" y="522"/>
              </a:cxn>
              <a:cxn ang="0">
                <a:pos x="436" y="505"/>
              </a:cxn>
              <a:cxn ang="0">
                <a:pos x="456" y="484"/>
              </a:cxn>
              <a:cxn ang="0">
                <a:pos x="465" y="467"/>
              </a:cxn>
              <a:cxn ang="0">
                <a:pos x="461" y="441"/>
              </a:cxn>
              <a:cxn ang="0">
                <a:pos x="427" y="395"/>
              </a:cxn>
              <a:cxn ang="0">
                <a:pos x="385" y="369"/>
              </a:cxn>
              <a:cxn ang="0">
                <a:pos x="355" y="356"/>
              </a:cxn>
              <a:cxn ang="0">
                <a:pos x="318" y="330"/>
              </a:cxn>
              <a:cxn ang="0">
                <a:pos x="268" y="315"/>
              </a:cxn>
              <a:cxn ang="0">
                <a:pos x="218" y="285"/>
              </a:cxn>
              <a:cxn ang="0">
                <a:pos x="162" y="229"/>
              </a:cxn>
              <a:cxn ang="0">
                <a:pos x="126" y="168"/>
              </a:cxn>
              <a:cxn ang="0">
                <a:pos x="77" y="154"/>
              </a:cxn>
              <a:cxn ang="0">
                <a:pos x="51" y="157"/>
              </a:cxn>
              <a:cxn ang="0">
                <a:pos x="15" y="165"/>
              </a:cxn>
              <a:cxn ang="0">
                <a:pos x="3" y="133"/>
              </a:cxn>
              <a:cxn ang="0">
                <a:pos x="1" y="93"/>
              </a:cxn>
              <a:cxn ang="0">
                <a:pos x="6" y="49"/>
              </a:cxn>
              <a:cxn ang="0">
                <a:pos x="45" y="41"/>
              </a:cxn>
              <a:cxn ang="0">
                <a:pos x="68" y="33"/>
              </a:cxn>
              <a:cxn ang="0">
                <a:pos x="83" y="48"/>
              </a:cxn>
              <a:cxn ang="0">
                <a:pos x="104" y="44"/>
              </a:cxn>
              <a:cxn ang="0">
                <a:pos x="149" y="16"/>
              </a:cxn>
              <a:cxn ang="0">
                <a:pos x="239" y="0"/>
              </a:cxn>
              <a:cxn ang="0">
                <a:pos x="257" y="13"/>
              </a:cxn>
              <a:cxn ang="0">
                <a:pos x="332" y="19"/>
              </a:cxn>
              <a:cxn ang="0">
                <a:pos x="322" y="65"/>
              </a:cxn>
              <a:cxn ang="0">
                <a:pos x="325" y="90"/>
              </a:cxn>
            </a:cxnLst>
            <a:rect l="0" t="0" r="r" b="b"/>
            <a:pathLst>
              <a:path w="578" h="524">
                <a:moveTo>
                  <a:pt x="332" y="99"/>
                </a:moveTo>
                <a:lnTo>
                  <a:pt x="331" y="94"/>
                </a:lnTo>
                <a:lnTo>
                  <a:pt x="329" y="90"/>
                </a:lnTo>
                <a:lnTo>
                  <a:pt x="327" y="88"/>
                </a:lnTo>
                <a:lnTo>
                  <a:pt x="325" y="86"/>
                </a:lnTo>
                <a:lnTo>
                  <a:pt x="320" y="85"/>
                </a:lnTo>
                <a:lnTo>
                  <a:pt x="315" y="85"/>
                </a:lnTo>
                <a:lnTo>
                  <a:pt x="312" y="85"/>
                </a:lnTo>
                <a:lnTo>
                  <a:pt x="309" y="85"/>
                </a:lnTo>
                <a:lnTo>
                  <a:pt x="306" y="84"/>
                </a:lnTo>
                <a:lnTo>
                  <a:pt x="304" y="82"/>
                </a:lnTo>
                <a:lnTo>
                  <a:pt x="301" y="79"/>
                </a:lnTo>
                <a:lnTo>
                  <a:pt x="297" y="75"/>
                </a:lnTo>
                <a:lnTo>
                  <a:pt x="295" y="69"/>
                </a:lnTo>
                <a:lnTo>
                  <a:pt x="293" y="61"/>
                </a:lnTo>
                <a:lnTo>
                  <a:pt x="275" y="66"/>
                </a:lnTo>
                <a:lnTo>
                  <a:pt x="263" y="70"/>
                </a:lnTo>
                <a:lnTo>
                  <a:pt x="258" y="73"/>
                </a:lnTo>
                <a:lnTo>
                  <a:pt x="254" y="76"/>
                </a:lnTo>
                <a:lnTo>
                  <a:pt x="251" y="78"/>
                </a:lnTo>
                <a:lnTo>
                  <a:pt x="249" y="81"/>
                </a:lnTo>
                <a:lnTo>
                  <a:pt x="247" y="87"/>
                </a:lnTo>
                <a:lnTo>
                  <a:pt x="246" y="95"/>
                </a:lnTo>
                <a:lnTo>
                  <a:pt x="246" y="105"/>
                </a:lnTo>
                <a:lnTo>
                  <a:pt x="246" y="117"/>
                </a:lnTo>
                <a:lnTo>
                  <a:pt x="247" y="131"/>
                </a:lnTo>
                <a:lnTo>
                  <a:pt x="249" y="143"/>
                </a:lnTo>
                <a:lnTo>
                  <a:pt x="253" y="153"/>
                </a:lnTo>
                <a:lnTo>
                  <a:pt x="259" y="162"/>
                </a:lnTo>
                <a:lnTo>
                  <a:pt x="262" y="166"/>
                </a:lnTo>
                <a:lnTo>
                  <a:pt x="266" y="169"/>
                </a:lnTo>
                <a:lnTo>
                  <a:pt x="270" y="172"/>
                </a:lnTo>
                <a:lnTo>
                  <a:pt x="274" y="174"/>
                </a:lnTo>
                <a:lnTo>
                  <a:pt x="279" y="176"/>
                </a:lnTo>
                <a:lnTo>
                  <a:pt x="283" y="177"/>
                </a:lnTo>
                <a:lnTo>
                  <a:pt x="287" y="178"/>
                </a:lnTo>
                <a:lnTo>
                  <a:pt x="293" y="178"/>
                </a:lnTo>
                <a:lnTo>
                  <a:pt x="293" y="182"/>
                </a:lnTo>
                <a:lnTo>
                  <a:pt x="295" y="187"/>
                </a:lnTo>
                <a:lnTo>
                  <a:pt x="298" y="191"/>
                </a:lnTo>
                <a:lnTo>
                  <a:pt x="303" y="195"/>
                </a:lnTo>
                <a:lnTo>
                  <a:pt x="314" y="203"/>
                </a:lnTo>
                <a:lnTo>
                  <a:pt x="327" y="211"/>
                </a:lnTo>
                <a:lnTo>
                  <a:pt x="351" y="225"/>
                </a:lnTo>
                <a:lnTo>
                  <a:pt x="365" y="234"/>
                </a:lnTo>
                <a:lnTo>
                  <a:pt x="439" y="296"/>
                </a:lnTo>
                <a:lnTo>
                  <a:pt x="443" y="303"/>
                </a:lnTo>
                <a:lnTo>
                  <a:pt x="449" y="309"/>
                </a:lnTo>
                <a:lnTo>
                  <a:pt x="454" y="314"/>
                </a:lnTo>
                <a:lnTo>
                  <a:pt x="461" y="318"/>
                </a:lnTo>
                <a:lnTo>
                  <a:pt x="469" y="320"/>
                </a:lnTo>
                <a:lnTo>
                  <a:pt x="477" y="322"/>
                </a:lnTo>
                <a:lnTo>
                  <a:pt x="487" y="322"/>
                </a:lnTo>
                <a:lnTo>
                  <a:pt x="498" y="321"/>
                </a:lnTo>
                <a:lnTo>
                  <a:pt x="500" y="324"/>
                </a:lnTo>
                <a:lnTo>
                  <a:pt x="504" y="328"/>
                </a:lnTo>
                <a:lnTo>
                  <a:pt x="507" y="332"/>
                </a:lnTo>
                <a:lnTo>
                  <a:pt x="511" y="337"/>
                </a:lnTo>
                <a:lnTo>
                  <a:pt x="523" y="346"/>
                </a:lnTo>
                <a:lnTo>
                  <a:pt x="536" y="356"/>
                </a:lnTo>
                <a:lnTo>
                  <a:pt x="549" y="364"/>
                </a:lnTo>
                <a:lnTo>
                  <a:pt x="561" y="370"/>
                </a:lnTo>
                <a:lnTo>
                  <a:pt x="571" y="374"/>
                </a:lnTo>
                <a:lnTo>
                  <a:pt x="578" y="376"/>
                </a:lnTo>
                <a:lnTo>
                  <a:pt x="577" y="383"/>
                </a:lnTo>
                <a:lnTo>
                  <a:pt x="574" y="391"/>
                </a:lnTo>
                <a:lnTo>
                  <a:pt x="570" y="400"/>
                </a:lnTo>
                <a:lnTo>
                  <a:pt x="565" y="407"/>
                </a:lnTo>
                <a:lnTo>
                  <a:pt x="552" y="388"/>
                </a:lnTo>
                <a:lnTo>
                  <a:pt x="541" y="387"/>
                </a:lnTo>
                <a:lnTo>
                  <a:pt x="530" y="384"/>
                </a:lnTo>
                <a:lnTo>
                  <a:pt x="526" y="383"/>
                </a:lnTo>
                <a:lnTo>
                  <a:pt x="521" y="381"/>
                </a:lnTo>
                <a:lnTo>
                  <a:pt x="519" y="378"/>
                </a:lnTo>
                <a:lnTo>
                  <a:pt x="518" y="376"/>
                </a:lnTo>
                <a:lnTo>
                  <a:pt x="508" y="376"/>
                </a:lnTo>
                <a:lnTo>
                  <a:pt x="498" y="376"/>
                </a:lnTo>
                <a:lnTo>
                  <a:pt x="498" y="382"/>
                </a:lnTo>
                <a:lnTo>
                  <a:pt x="498" y="389"/>
                </a:lnTo>
                <a:lnTo>
                  <a:pt x="498" y="397"/>
                </a:lnTo>
                <a:lnTo>
                  <a:pt x="498" y="407"/>
                </a:lnTo>
                <a:lnTo>
                  <a:pt x="499" y="414"/>
                </a:lnTo>
                <a:lnTo>
                  <a:pt x="504" y="422"/>
                </a:lnTo>
                <a:lnTo>
                  <a:pt x="506" y="426"/>
                </a:lnTo>
                <a:lnTo>
                  <a:pt x="509" y="429"/>
                </a:lnTo>
                <a:lnTo>
                  <a:pt x="514" y="431"/>
                </a:lnTo>
                <a:lnTo>
                  <a:pt x="518" y="432"/>
                </a:lnTo>
                <a:lnTo>
                  <a:pt x="514" y="442"/>
                </a:lnTo>
                <a:lnTo>
                  <a:pt x="508" y="454"/>
                </a:lnTo>
                <a:lnTo>
                  <a:pt x="506" y="460"/>
                </a:lnTo>
                <a:lnTo>
                  <a:pt x="504" y="465"/>
                </a:lnTo>
                <a:lnTo>
                  <a:pt x="500" y="468"/>
                </a:lnTo>
                <a:lnTo>
                  <a:pt x="498" y="469"/>
                </a:lnTo>
                <a:lnTo>
                  <a:pt x="493" y="485"/>
                </a:lnTo>
                <a:lnTo>
                  <a:pt x="486" y="498"/>
                </a:lnTo>
                <a:lnTo>
                  <a:pt x="483" y="505"/>
                </a:lnTo>
                <a:lnTo>
                  <a:pt x="481" y="511"/>
                </a:lnTo>
                <a:lnTo>
                  <a:pt x="480" y="518"/>
                </a:lnTo>
                <a:lnTo>
                  <a:pt x="478" y="524"/>
                </a:lnTo>
                <a:lnTo>
                  <a:pt x="465" y="522"/>
                </a:lnTo>
                <a:lnTo>
                  <a:pt x="450" y="518"/>
                </a:lnTo>
                <a:lnTo>
                  <a:pt x="438" y="513"/>
                </a:lnTo>
                <a:lnTo>
                  <a:pt x="432" y="511"/>
                </a:lnTo>
                <a:lnTo>
                  <a:pt x="436" y="505"/>
                </a:lnTo>
                <a:lnTo>
                  <a:pt x="440" y="499"/>
                </a:lnTo>
                <a:lnTo>
                  <a:pt x="445" y="494"/>
                </a:lnTo>
                <a:lnTo>
                  <a:pt x="451" y="489"/>
                </a:lnTo>
                <a:lnTo>
                  <a:pt x="456" y="484"/>
                </a:lnTo>
                <a:lnTo>
                  <a:pt x="461" y="478"/>
                </a:lnTo>
                <a:lnTo>
                  <a:pt x="463" y="475"/>
                </a:lnTo>
                <a:lnTo>
                  <a:pt x="464" y="471"/>
                </a:lnTo>
                <a:lnTo>
                  <a:pt x="465" y="467"/>
                </a:lnTo>
                <a:lnTo>
                  <a:pt x="465" y="463"/>
                </a:lnTo>
                <a:lnTo>
                  <a:pt x="464" y="455"/>
                </a:lnTo>
                <a:lnTo>
                  <a:pt x="463" y="448"/>
                </a:lnTo>
                <a:lnTo>
                  <a:pt x="461" y="441"/>
                </a:lnTo>
                <a:lnTo>
                  <a:pt x="458" y="434"/>
                </a:lnTo>
                <a:lnTo>
                  <a:pt x="449" y="420"/>
                </a:lnTo>
                <a:lnTo>
                  <a:pt x="439" y="407"/>
                </a:lnTo>
                <a:lnTo>
                  <a:pt x="427" y="395"/>
                </a:lnTo>
                <a:lnTo>
                  <a:pt x="415" y="384"/>
                </a:lnTo>
                <a:lnTo>
                  <a:pt x="403" y="376"/>
                </a:lnTo>
                <a:lnTo>
                  <a:pt x="392" y="370"/>
                </a:lnTo>
                <a:lnTo>
                  <a:pt x="385" y="369"/>
                </a:lnTo>
                <a:lnTo>
                  <a:pt x="378" y="367"/>
                </a:lnTo>
                <a:lnTo>
                  <a:pt x="372" y="364"/>
                </a:lnTo>
                <a:lnTo>
                  <a:pt x="366" y="362"/>
                </a:lnTo>
                <a:lnTo>
                  <a:pt x="355" y="356"/>
                </a:lnTo>
                <a:lnTo>
                  <a:pt x="348" y="349"/>
                </a:lnTo>
                <a:lnTo>
                  <a:pt x="336" y="338"/>
                </a:lnTo>
                <a:lnTo>
                  <a:pt x="332" y="333"/>
                </a:lnTo>
                <a:lnTo>
                  <a:pt x="318" y="330"/>
                </a:lnTo>
                <a:lnTo>
                  <a:pt x="305" y="327"/>
                </a:lnTo>
                <a:lnTo>
                  <a:pt x="292" y="323"/>
                </a:lnTo>
                <a:lnTo>
                  <a:pt x="280" y="319"/>
                </a:lnTo>
                <a:lnTo>
                  <a:pt x="268" y="315"/>
                </a:lnTo>
                <a:lnTo>
                  <a:pt x="257" y="310"/>
                </a:lnTo>
                <a:lnTo>
                  <a:pt x="247" y="304"/>
                </a:lnTo>
                <a:lnTo>
                  <a:pt x="237" y="299"/>
                </a:lnTo>
                <a:lnTo>
                  <a:pt x="218" y="285"/>
                </a:lnTo>
                <a:lnTo>
                  <a:pt x="202" y="272"/>
                </a:lnTo>
                <a:lnTo>
                  <a:pt x="186" y="258"/>
                </a:lnTo>
                <a:lnTo>
                  <a:pt x="173" y="244"/>
                </a:lnTo>
                <a:lnTo>
                  <a:pt x="162" y="229"/>
                </a:lnTo>
                <a:lnTo>
                  <a:pt x="152" y="215"/>
                </a:lnTo>
                <a:lnTo>
                  <a:pt x="144" y="202"/>
                </a:lnTo>
                <a:lnTo>
                  <a:pt x="137" y="189"/>
                </a:lnTo>
                <a:lnTo>
                  <a:pt x="126" y="168"/>
                </a:lnTo>
                <a:lnTo>
                  <a:pt x="119" y="154"/>
                </a:lnTo>
                <a:lnTo>
                  <a:pt x="102" y="154"/>
                </a:lnTo>
                <a:lnTo>
                  <a:pt x="89" y="154"/>
                </a:lnTo>
                <a:lnTo>
                  <a:pt x="77" y="154"/>
                </a:lnTo>
                <a:lnTo>
                  <a:pt x="67" y="154"/>
                </a:lnTo>
                <a:lnTo>
                  <a:pt x="61" y="155"/>
                </a:lnTo>
                <a:lnTo>
                  <a:pt x="57" y="155"/>
                </a:lnTo>
                <a:lnTo>
                  <a:pt x="51" y="157"/>
                </a:lnTo>
                <a:lnTo>
                  <a:pt x="46" y="159"/>
                </a:lnTo>
                <a:lnTo>
                  <a:pt x="34" y="164"/>
                </a:lnTo>
                <a:lnTo>
                  <a:pt x="21" y="172"/>
                </a:lnTo>
                <a:lnTo>
                  <a:pt x="15" y="165"/>
                </a:lnTo>
                <a:lnTo>
                  <a:pt x="12" y="158"/>
                </a:lnTo>
                <a:lnTo>
                  <a:pt x="7" y="150"/>
                </a:lnTo>
                <a:lnTo>
                  <a:pt x="5" y="141"/>
                </a:lnTo>
                <a:lnTo>
                  <a:pt x="3" y="133"/>
                </a:lnTo>
                <a:lnTo>
                  <a:pt x="1" y="123"/>
                </a:lnTo>
                <a:lnTo>
                  <a:pt x="1" y="114"/>
                </a:lnTo>
                <a:lnTo>
                  <a:pt x="0" y="105"/>
                </a:lnTo>
                <a:lnTo>
                  <a:pt x="1" y="93"/>
                </a:lnTo>
                <a:lnTo>
                  <a:pt x="3" y="83"/>
                </a:lnTo>
                <a:lnTo>
                  <a:pt x="5" y="71"/>
                </a:lnTo>
                <a:lnTo>
                  <a:pt x="6" y="55"/>
                </a:lnTo>
                <a:lnTo>
                  <a:pt x="6" y="49"/>
                </a:lnTo>
                <a:lnTo>
                  <a:pt x="27" y="49"/>
                </a:lnTo>
                <a:lnTo>
                  <a:pt x="34" y="47"/>
                </a:lnTo>
                <a:lnTo>
                  <a:pt x="39" y="44"/>
                </a:lnTo>
                <a:lnTo>
                  <a:pt x="45" y="41"/>
                </a:lnTo>
                <a:lnTo>
                  <a:pt x="49" y="37"/>
                </a:lnTo>
                <a:lnTo>
                  <a:pt x="58" y="31"/>
                </a:lnTo>
                <a:lnTo>
                  <a:pt x="67" y="25"/>
                </a:lnTo>
                <a:lnTo>
                  <a:pt x="68" y="33"/>
                </a:lnTo>
                <a:lnTo>
                  <a:pt x="70" y="39"/>
                </a:lnTo>
                <a:lnTo>
                  <a:pt x="73" y="44"/>
                </a:lnTo>
                <a:lnTo>
                  <a:pt x="78" y="46"/>
                </a:lnTo>
                <a:lnTo>
                  <a:pt x="83" y="48"/>
                </a:lnTo>
                <a:lnTo>
                  <a:pt x="89" y="49"/>
                </a:lnTo>
                <a:lnTo>
                  <a:pt x="94" y="49"/>
                </a:lnTo>
                <a:lnTo>
                  <a:pt x="100" y="49"/>
                </a:lnTo>
                <a:lnTo>
                  <a:pt x="104" y="44"/>
                </a:lnTo>
                <a:lnTo>
                  <a:pt x="113" y="38"/>
                </a:lnTo>
                <a:lnTo>
                  <a:pt x="124" y="31"/>
                </a:lnTo>
                <a:lnTo>
                  <a:pt x="136" y="24"/>
                </a:lnTo>
                <a:lnTo>
                  <a:pt x="149" y="16"/>
                </a:lnTo>
                <a:lnTo>
                  <a:pt x="160" y="11"/>
                </a:lnTo>
                <a:lnTo>
                  <a:pt x="168" y="7"/>
                </a:lnTo>
                <a:lnTo>
                  <a:pt x="173" y="6"/>
                </a:lnTo>
                <a:lnTo>
                  <a:pt x="239" y="0"/>
                </a:lnTo>
                <a:lnTo>
                  <a:pt x="243" y="4"/>
                </a:lnTo>
                <a:lnTo>
                  <a:pt x="248" y="8"/>
                </a:lnTo>
                <a:lnTo>
                  <a:pt x="252" y="11"/>
                </a:lnTo>
                <a:lnTo>
                  <a:pt x="257" y="13"/>
                </a:lnTo>
                <a:lnTo>
                  <a:pt x="266" y="16"/>
                </a:lnTo>
                <a:lnTo>
                  <a:pt x="279" y="19"/>
                </a:lnTo>
                <a:lnTo>
                  <a:pt x="304" y="20"/>
                </a:lnTo>
                <a:lnTo>
                  <a:pt x="332" y="19"/>
                </a:lnTo>
                <a:lnTo>
                  <a:pt x="331" y="34"/>
                </a:lnTo>
                <a:lnTo>
                  <a:pt x="329" y="46"/>
                </a:lnTo>
                <a:lnTo>
                  <a:pt x="325" y="56"/>
                </a:lnTo>
                <a:lnTo>
                  <a:pt x="322" y="65"/>
                </a:lnTo>
                <a:lnTo>
                  <a:pt x="320" y="74"/>
                </a:lnTo>
                <a:lnTo>
                  <a:pt x="321" y="82"/>
                </a:lnTo>
                <a:lnTo>
                  <a:pt x="322" y="86"/>
                </a:lnTo>
                <a:lnTo>
                  <a:pt x="325" y="90"/>
                </a:lnTo>
                <a:lnTo>
                  <a:pt x="328" y="94"/>
                </a:lnTo>
                <a:lnTo>
                  <a:pt x="332" y="99"/>
                </a:lnTo>
              </a:path>
            </a:pathLst>
          </a:custGeom>
          <a:solidFill>
            <a:srgbClr val="007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066" name="Freeform 18"/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4191000" y="1763320"/>
            <a:ext cx="33338" cy="61913"/>
          </a:xfrm>
          <a:custGeom>
            <a:avLst/>
            <a:gdLst/>
            <a:ahLst/>
            <a:cxnLst>
              <a:cxn ang="0">
                <a:pos x="0" y="37"/>
              </a:cxn>
              <a:cxn ang="0">
                <a:pos x="6" y="37"/>
              </a:cxn>
              <a:cxn ang="0">
                <a:pos x="11" y="36"/>
              </a:cxn>
              <a:cxn ang="0">
                <a:pos x="16" y="35"/>
              </a:cxn>
              <a:cxn ang="0">
                <a:pos x="19" y="33"/>
              </a:cxn>
              <a:cxn ang="0">
                <a:pos x="26" y="28"/>
              </a:cxn>
              <a:cxn ang="0">
                <a:pos x="31" y="22"/>
              </a:cxn>
              <a:cxn ang="0">
                <a:pos x="37" y="16"/>
              </a:cxn>
              <a:cxn ang="0">
                <a:pos x="41" y="10"/>
              </a:cxn>
              <a:cxn ang="0">
                <a:pos x="46" y="5"/>
              </a:cxn>
              <a:cxn ang="0">
                <a:pos x="53" y="0"/>
              </a:cxn>
              <a:cxn ang="0">
                <a:pos x="57" y="3"/>
              </a:cxn>
              <a:cxn ang="0">
                <a:pos x="62" y="7"/>
              </a:cxn>
              <a:cxn ang="0">
                <a:pos x="64" y="10"/>
              </a:cxn>
              <a:cxn ang="0">
                <a:pos x="66" y="14"/>
              </a:cxn>
              <a:cxn ang="0">
                <a:pos x="69" y="22"/>
              </a:cxn>
              <a:cxn ang="0">
                <a:pos x="72" y="32"/>
              </a:cxn>
              <a:cxn ang="0">
                <a:pos x="73" y="40"/>
              </a:cxn>
              <a:cxn ang="0">
                <a:pos x="74" y="49"/>
              </a:cxn>
              <a:cxn ang="0">
                <a:pos x="76" y="58"/>
              </a:cxn>
              <a:cxn ang="0">
                <a:pos x="79" y="67"/>
              </a:cxn>
              <a:cxn ang="0">
                <a:pos x="79" y="98"/>
              </a:cxn>
              <a:cxn ang="0">
                <a:pos x="68" y="115"/>
              </a:cxn>
              <a:cxn ang="0">
                <a:pos x="59" y="129"/>
              </a:cxn>
              <a:cxn ang="0">
                <a:pos x="53" y="136"/>
              </a:cxn>
              <a:cxn ang="0">
                <a:pos x="50" y="144"/>
              </a:cxn>
              <a:cxn ang="0">
                <a:pos x="48" y="151"/>
              </a:cxn>
              <a:cxn ang="0">
                <a:pos x="46" y="160"/>
              </a:cxn>
              <a:cxn ang="0">
                <a:pos x="40" y="155"/>
              </a:cxn>
              <a:cxn ang="0">
                <a:pos x="33" y="150"/>
              </a:cxn>
              <a:cxn ang="0">
                <a:pos x="28" y="144"/>
              </a:cxn>
              <a:cxn ang="0">
                <a:pos x="22" y="137"/>
              </a:cxn>
              <a:cxn ang="0">
                <a:pos x="18" y="130"/>
              </a:cxn>
              <a:cxn ang="0">
                <a:pos x="15" y="123"/>
              </a:cxn>
              <a:cxn ang="0">
                <a:pos x="11" y="115"/>
              </a:cxn>
              <a:cxn ang="0">
                <a:pos x="8" y="108"/>
              </a:cxn>
              <a:cxn ang="0">
                <a:pos x="4" y="91"/>
              </a:cxn>
              <a:cxn ang="0">
                <a:pos x="1" y="73"/>
              </a:cxn>
              <a:cxn ang="0">
                <a:pos x="0" y="55"/>
              </a:cxn>
              <a:cxn ang="0">
                <a:pos x="0" y="37"/>
              </a:cxn>
            </a:cxnLst>
            <a:rect l="0" t="0" r="r" b="b"/>
            <a:pathLst>
              <a:path w="79" h="160">
                <a:moveTo>
                  <a:pt x="0" y="37"/>
                </a:moveTo>
                <a:lnTo>
                  <a:pt x="6" y="37"/>
                </a:lnTo>
                <a:lnTo>
                  <a:pt x="11" y="36"/>
                </a:lnTo>
                <a:lnTo>
                  <a:pt x="16" y="35"/>
                </a:lnTo>
                <a:lnTo>
                  <a:pt x="19" y="33"/>
                </a:lnTo>
                <a:lnTo>
                  <a:pt x="26" y="28"/>
                </a:lnTo>
                <a:lnTo>
                  <a:pt x="31" y="22"/>
                </a:lnTo>
                <a:lnTo>
                  <a:pt x="37" y="16"/>
                </a:lnTo>
                <a:lnTo>
                  <a:pt x="41" y="10"/>
                </a:lnTo>
                <a:lnTo>
                  <a:pt x="46" y="5"/>
                </a:lnTo>
                <a:lnTo>
                  <a:pt x="53" y="0"/>
                </a:lnTo>
                <a:lnTo>
                  <a:pt x="57" y="3"/>
                </a:lnTo>
                <a:lnTo>
                  <a:pt x="62" y="7"/>
                </a:lnTo>
                <a:lnTo>
                  <a:pt x="64" y="10"/>
                </a:lnTo>
                <a:lnTo>
                  <a:pt x="66" y="14"/>
                </a:lnTo>
                <a:lnTo>
                  <a:pt x="69" y="22"/>
                </a:lnTo>
                <a:lnTo>
                  <a:pt x="72" y="32"/>
                </a:lnTo>
                <a:lnTo>
                  <a:pt x="73" y="40"/>
                </a:lnTo>
                <a:lnTo>
                  <a:pt x="74" y="49"/>
                </a:lnTo>
                <a:lnTo>
                  <a:pt x="76" y="58"/>
                </a:lnTo>
                <a:lnTo>
                  <a:pt x="79" y="67"/>
                </a:lnTo>
                <a:lnTo>
                  <a:pt x="79" y="98"/>
                </a:lnTo>
                <a:lnTo>
                  <a:pt x="68" y="115"/>
                </a:lnTo>
                <a:lnTo>
                  <a:pt x="59" y="129"/>
                </a:lnTo>
                <a:lnTo>
                  <a:pt x="53" y="136"/>
                </a:lnTo>
                <a:lnTo>
                  <a:pt x="50" y="144"/>
                </a:lnTo>
                <a:lnTo>
                  <a:pt x="48" y="151"/>
                </a:lnTo>
                <a:lnTo>
                  <a:pt x="46" y="160"/>
                </a:lnTo>
                <a:lnTo>
                  <a:pt x="40" y="155"/>
                </a:lnTo>
                <a:lnTo>
                  <a:pt x="33" y="150"/>
                </a:lnTo>
                <a:lnTo>
                  <a:pt x="28" y="144"/>
                </a:lnTo>
                <a:lnTo>
                  <a:pt x="22" y="137"/>
                </a:lnTo>
                <a:lnTo>
                  <a:pt x="18" y="130"/>
                </a:lnTo>
                <a:lnTo>
                  <a:pt x="15" y="123"/>
                </a:lnTo>
                <a:lnTo>
                  <a:pt x="11" y="115"/>
                </a:lnTo>
                <a:lnTo>
                  <a:pt x="8" y="108"/>
                </a:lnTo>
                <a:lnTo>
                  <a:pt x="4" y="91"/>
                </a:lnTo>
                <a:lnTo>
                  <a:pt x="1" y="73"/>
                </a:lnTo>
                <a:lnTo>
                  <a:pt x="0" y="55"/>
                </a:lnTo>
                <a:lnTo>
                  <a:pt x="0" y="37"/>
                </a:lnTo>
              </a:path>
            </a:pathLst>
          </a:custGeom>
          <a:solidFill>
            <a:srgbClr val="007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grpSp>
        <p:nvGrpSpPr>
          <p:cNvPr id="2" name="Group 19"/>
          <p:cNvGrpSpPr>
            <a:grpSpLocks/>
          </p:cNvGrpSpPr>
          <p:nvPr>
            <p:custDataLst>
              <p:tags r:id="rId16"/>
            </p:custDataLst>
          </p:nvPr>
        </p:nvGrpSpPr>
        <p:grpSpPr bwMode="auto">
          <a:xfrm>
            <a:off x="6510343" y="2558655"/>
            <a:ext cx="473075" cy="159544"/>
            <a:chOff x="4488" y="2394"/>
            <a:chExt cx="358" cy="124"/>
          </a:xfrm>
        </p:grpSpPr>
        <p:sp>
          <p:nvSpPr>
            <p:cNvPr id="2068" name="Freeform 20"/>
            <p:cNvSpPr>
              <a:spLocks/>
            </p:cNvSpPr>
            <p:nvPr/>
          </p:nvSpPr>
          <p:spPr bwMode="auto">
            <a:xfrm>
              <a:off x="4675" y="2394"/>
              <a:ext cx="171" cy="124"/>
            </a:xfrm>
            <a:custGeom>
              <a:avLst/>
              <a:gdLst/>
              <a:ahLst/>
              <a:cxnLst>
                <a:cxn ang="0">
                  <a:pos x="424" y="198"/>
                </a:cxn>
                <a:cxn ang="0">
                  <a:pos x="387" y="193"/>
                </a:cxn>
                <a:cxn ang="0">
                  <a:pos x="367" y="203"/>
                </a:cxn>
                <a:cxn ang="0">
                  <a:pos x="354" y="217"/>
                </a:cxn>
                <a:cxn ang="0">
                  <a:pos x="347" y="254"/>
                </a:cxn>
                <a:cxn ang="0">
                  <a:pos x="327" y="306"/>
                </a:cxn>
                <a:cxn ang="0">
                  <a:pos x="305" y="335"/>
                </a:cxn>
                <a:cxn ang="0">
                  <a:pos x="289" y="350"/>
                </a:cxn>
                <a:cxn ang="0">
                  <a:pos x="271" y="359"/>
                </a:cxn>
                <a:cxn ang="0">
                  <a:pos x="256" y="368"/>
                </a:cxn>
                <a:cxn ang="0">
                  <a:pos x="253" y="376"/>
                </a:cxn>
                <a:cxn ang="0">
                  <a:pos x="215" y="370"/>
                </a:cxn>
                <a:cxn ang="0">
                  <a:pos x="183" y="367"/>
                </a:cxn>
                <a:cxn ang="0">
                  <a:pos x="155" y="373"/>
                </a:cxn>
                <a:cxn ang="0">
                  <a:pos x="138" y="388"/>
                </a:cxn>
                <a:cxn ang="0">
                  <a:pos x="97" y="405"/>
                </a:cxn>
                <a:cxn ang="0">
                  <a:pos x="62" y="407"/>
                </a:cxn>
                <a:cxn ang="0">
                  <a:pos x="45" y="400"/>
                </a:cxn>
                <a:cxn ang="0">
                  <a:pos x="15" y="368"/>
                </a:cxn>
                <a:cxn ang="0">
                  <a:pos x="2" y="344"/>
                </a:cxn>
                <a:cxn ang="0">
                  <a:pos x="8" y="335"/>
                </a:cxn>
                <a:cxn ang="0">
                  <a:pos x="34" y="344"/>
                </a:cxn>
                <a:cxn ang="0">
                  <a:pos x="53" y="336"/>
                </a:cxn>
                <a:cxn ang="0">
                  <a:pos x="56" y="314"/>
                </a:cxn>
                <a:cxn ang="0">
                  <a:pos x="71" y="300"/>
                </a:cxn>
                <a:cxn ang="0">
                  <a:pos x="82" y="286"/>
                </a:cxn>
                <a:cxn ang="0">
                  <a:pos x="89" y="272"/>
                </a:cxn>
                <a:cxn ang="0">
                  <a:pos x="101" y="262"/>
                </a:cxn>
                <a:cxn ang="0">
                  <a:pos x="137" y="246"/>
                </a:cxn>
                <a:cxn ang="0">
                  <a:pos x="175" y="232"/>
                </a:cxn>
                <a:cxn ang="0">
                  <a:pos x="202" y="217"/>
                </a:cxn>
                <a:cxn ang="0">
                  <a:pos x="213" y="205"/>
                </a:cxn>
                <a:cxn ang="0">
                  <a:pos x="219" y="191"/>
                </a:cxn>
                <a:cxn ang="0">
                  <a:pos x="227" y="161"/>
                </a:cxn>
                <a:cxn ang="0">
                  <a:pos x="229" y="149"/>
                </a:cxn>
                <a:cxn ang="0">
                  <a:pos x="231" y="152"/>
                </a:cxn>
                <a:cxn ang="0">
                  <a:pos x="239" y="143"/>
                </a:cxn>
                <a:cxn ang="0">
                  <a:pos x="237" y="155"/>
                </a:cxn>
                <a:cxn ang="0">
                  <a:pos x="240" y="174"/>
                </a:cxn>
                <a:cxn ang="0">
                  <a:pos x="251" y="193"/>
                </a:cxn>
                <a:cxn ang="0">
                  <a:pos x="272" y="205"/>
                </a:cxn>
                <a:cxn ang="0">
                  <a:pos x="306" y="204"/>
                </a:cxn>
                <a:cxn ang="0">
                  <a:pos x="320" y="205"/>
                </a:cxn>
                <a:cxn ang="0">
                  <a:pos x="327" y="198"/>
                </a:cxn>
                <a:cxn ang="0">
                  <a:pos x="324" y="176"/>
                </a:cxn>
                <a:cxn ang="0">
                  <a:pos x="299" y="130"/>
                </a:cxn>
                <a:cxn ang="0">
                  <a:pos x="319" y="109"/>
                </a:cxn>
                <a:cxn ang="0">
                  <a:pos x="344" y="66"/>
                </a:cxn>
                <a:cxn ang="0">
                  <a:pos x="374" y="22"/>
                </a:cxn>
                <a:cxn ang="0">
                  <a:pos x="399" y="0"/>
                </a:cxn>
                <a:cxn ang="0">
                  <a:pos x="401" y="23"/>
                </a:cxn>
                <a:cxn ang="0">
                  <a:pos x="413" y="50"/>
                </a:cxn>
                <a:cxn ang="0">
                  <a:pos x="439" y="75"/>
                </a:cxn>
                <a:cxn ang="0">
                  <a:pos x="486" y="106"/>
                </a:cxn>
                <a:cxn ang="0">
                  <a:pos x="508" y="132"/>
                </a:cxn>
                <a:cxn ang="0">
                  <a:pos x="499" y="149"/>
                </a:cxn>
                <a:cxn ang="0">
                  <a:pos x="478" y="152"/>
                </a:cxn>
                <a:cxn ang="0">
                  <a:pos x="458" y="180"/>
                </a:cxn>
              </a:cxnLst>
              <a:rect l="0" t="0" r="r" b="b"/>
              <a:pathLst>
                <a:path w="512" h="408">
                  <a:moveTo>
                    <a:pt x="452" y="204"/>
                  </a:moveTo>
                  <a:lnTo>
                    <a:pt x="442" y="202"/>
                  </a:lnTo>
                  <a:lnTo>
                    <a:pt x="424" y="198"/>
                  </a:lnTo>
                  <a:lnTo>
                    <a:pt x="407" y="194"/>
                  </a:lnTo>
                  <a:lnTo>
                    <a:pt x="392" y="192"/>
                  </a:lnTo>
                  <a:lnTo>
                    <a:pt x="387" y="193"/>
                  </a:lnTo>
                  <a:lnTo>
                    <a:pt x="380" y="195"/>
                  </a:lnTo>
                  <a:lnTo>
                    <a:pt x="374" y="198"/>
                  </a:lnTo>
                  <a:lnTo>
                    <a:pt x="367" y="203"/>
                  </a:lnTo>
                  <a:lnTo>
                    <a:pt x="362" y="207"/>
                  </a:lnTo>
                  <a:lnTo>
                    <a:pt x="356" y="212"/>
                  </a:lnTo>
                  <a:lnTo>
                    <a:pt x="354" y="217"/>
                  </a:lnTo>
                  <a:lnTo>
                    <a:pt x="353" y="222"/>
                  </a:lnTo>
                  <a:lnTo>
                    <a:pt x="351" y="238"/>
                  </a:lnTo>
                  <a:lnTo>
                    <a:pt x="347" y="254"/>
                  </a:lnTo>
                  <a:lnTo>
                    <a:pt x="342" y="271"/>
                  </a:lnTo>
                  <a:lnTo>
                    <a:pt x="335" y="289"/>
                  </a:lnTo>
                  <a:lnTo>
                    <a:pt x="327" y="306"/>
                  </a:lnTo>
                  <a:lnTo>
                    <a:pt x="316" y="321"/>
                  </a:lnTo>
                  <a:lnTo>
                    <a:pt x="310" y="328"/>
                  </a:lnTo>
                  <a:lnTo>
                    <a:pt x="305" y="335"/>
                  </a:lnTo>
                  <a:lnTo>
                    <a:pt x="299" y="341"/>
                  </a:lnTo>
                  <a:lnTo>
                    <a:pt x="293" y="346"/>
                  </a:lnTo>
                  <a:lnTo>
                    <a:pt x="289" y="350"/>
                  </a:lnTo>
                  <a:lnTo>
                    <a:pt x="284" y="354"/>
                  </a:lnTo>
                  <a:lnTo>
                    <a:pt x="277" y="356"/>
                  </a:lnTo>
                  <a:lnTo>
                    <a:pt x="271" y="359"/>
                  </a:lnTo>
                  <a:lnTo>
                    <a:pt x="264" y="362"/>
                  </a:lnTo>
                  <a:lnTo>
                    <a:pt x="258" y="366"/>
                  </a:lnTo>
                  <a:lnTo>
                    <a:pt x="256" y="368"/>
                  </a:lnTo>
                  <a:lnTo>
                    <a:pt x="254" y="370"/>
                  </a:lnTo>
                  <a:lnTo>
                    <a:pt x="253" y="373"/>
                  </a:lnTo>
                  <a:lnTo>
                    <a:pt x="253" y="376"/>
                  </a:lnTo>
                  <a:lnTo>
                    <a:pt x="227" y="376"/>
                  </a:lnTo>
                  <a:lnTo>
                    <a:pt x="221" y="373"/>
                  </a:lnTo>
                  <a:lnTo>
                    <a:pt x="215" y="370"/>
                  </a:lnTo>
                  <a:lnTo>
                    <a:pt x="208" y="369"/>
                  </a:lnTo>
                  <a:lnTo>
                    <a:pt x="200" y="368"/>
                  </a:lnTo>
                  <a:lnTo>
                    <a:pt x="183" y="367"/>
                  </a:lnTo>
                  <a:lnTo>
                    <a:pt x="160" y="364"/>
                  </a:lnTo>
                  <a:lnTo>
                    <a:pt x="157" y="369"/>
                  </a:lnTo>
                  <a:lnTo>
                    <a:pt x="155" y="373"/>
                  </a:lnTo>
                  <a:lnTo>
                    <a:pt x="152" y="377"/>
                  </a:lnTo>
                  <a:lnTo>
                    <a:pt x="148" y="381"/>
                  </a:lnTo>
                  <a:lnTo>
                    <a:pt x="138" y="388"/>
                  </a:lnTo>
                  <a:lnTo>
                    <a:pt x="126" y="396"/>
                  </a:lnTo>
                  <a:lnTo>
                    <a:pt x="111" y="401"/>
                  </a:lnTo>
                  <a:lnTo>
                    <a:pt x="97" y="405"/>
                  </a:lnTo>
                  <a:lnTo>
                    <a:pt x="82" y="407"/>
                  </a:lnTo>
                  <a:lnTo>
                    <a:pt x="66" y="408"/>
                  </a:lnTo>
                  <a:lnTo>
                    <a:pt x="62" y="407"/>
                  </a:lnTo>
                  <a:lnTo>
                    <a:pt x="56" y="406"/>
                  </a:lnTo>
                  <a:lnTo>
                    <a:pt x="51" y="403"/>
                  </a:lnTo>
                  <a:lnTo>
                    <a:pt x="45" y="400"/>
                  </a:lnTo>
                  <a:lnTo>
                    <a:pt x="34" y="390"/>
                  </a:lnTo>
                  <a:lnTo>
                    <a:pt x="24" y="379"/>
                  </a:lnTo>
                  <a:lnTo>
                    <a:pt x="15" y="368"/>
                  </a:lnTo>
                  <a:lnTo>
                    <a:pt x="7" y="356"/>
                  </a:lnTo>
                  <a:lnTo>
                    <a:pt x="4" y="350"/>
                  </a:lnTo>
                  <a:lnTo>
                    <a:pt x="2" y="344"/>
                  </a:lnTo>
                  <a:lnTo>
                    <a:pt x="0" y="338"/>
                  </a:lnTo>
                  <a:lnTo>
                    <a:pt x="0" y="333"/>
                  </a:lnTo>
                  <a:lnTo>
                    <a:pt x="8" y="335"/>
                  </a:lnTo>
                  <a:lnTo>
                    <a:pt x="19" y="340"/>
                  </a:lnTo>
                  <a:lnTo>
                    <a:pt x="27" y="342"/>
                  </a:lnTo>
                  <a:lnTo>
                    <a:pt x="34" y="344"/>
                  </a:lnTo>
                  <a:lnTo>
                    <a:pt x="43" y="346"/>
                  </a:lnTo>
                  <a:lnTo>
                    <a:pt x="53" y="346"/>
                  </a:lnTo>
                  <a:lnTo>
                    <a:pt x="53" y="336"/>
                  </a:lnTo>
                  <a:lnTo>
                    <a:pt x="54" y="328"/>
                  </a:lnTo>
                  <a:lnTo>
                    <a:pt x="54" y="321"/>
                  </a:lnTo>
                  <a:lnTo>
                    <a:pt x="56" y="314"/>
                  </a:lnTo>
                  <a:lnTo>
                    <a:pt x="60" y="308"/>
                  </a:lnTo>
                  <a:lnTo>
                    <a:pt x="64" y="303"/>
                  </a:lnTo>
                  <a:lnTo>
                    <a:pt x="71" y="300"/>
                  </a:lnTo>
                  <a:lnTo>
                    <a:pt x="80" y="297"/>
                  </a:lnTo>
                  <a:lnTo>
                    <a:pt x="81" y="291"/>
                  </a:lnTo>
                  <a:lnTo>
                    <a:pt x="82" y="286"/>
                  </a:lnTo>
                  <a:lnTo>
                    <a:pt x="84" y="281"/>
                  </a:lnTo>
                  <a:lnTo>
                    <a:pt x="86" y="276"/>
                  </a:lnTo>
                  <a:lnTo>
                    <a:pt x="89" y="272"/>
                  </a:lnTo>
                  <a:lnTo>
                    <a:pt x="93" y="268"/>
                  </a:lnTo>
                  <a:lnTo>
                    <a:pt x="97" y="265"/>
                  </a:lnTo>
                  <a:lnTo>
                    <a:pt x="101" y="262"/>
                  </a:lnTo>
                  <a:lnTo>
                    <a:pt x="112" y="256"/>
                  </a:lnTo>
                  <a:lnTo>
                    <a:pt x="125" y="251"/>
                  </a:lnTo>
                  <a:lnTo>
                    <a:pt x="137" y="246"/>
                  </a:lnTo>
                  <a:lnTo>
                    <a:pt x="150" y="241"/>
                  </a:lnTo>
                  <a:lnTo>
                    <a:pt x="163" y="237"/>
                  </a:lnTo>
                  <a:lnTo>
                    <a:pt x="175" y="232"/>
                  </a:lnTo>
                  <a:lnTo>
                    <a:pt x="187" y="226"/>
                  </a:lnTo>
                  <a:lnTo>
                    <a:pt x="198" y="220"/>
                  </a:lnTo>
                  <a:lnTo>
                    <a:pt x="202" y="217"/>
                  </a:lnTo>
                  <a:lnTo>
                    <a:pt x="207" y="213"/>
                  </a:lnTo>
                  <a:lnTo>
                    <a:pt x="210" y="210"/>
                  </a:lnTo>
                  <a:lnTo>
                    <a:pt x="213" y="205"/>
                  </a:lnTo>
                  <a:lnTo>
                    <a:pt x="216" y="201"/>
                  </a:lnTo>
                  <a:lnTo>
                    <a:pt x="218" y="196"/>
                  </a:lnTo>
                  <a:lnTo>
                    <a:pt x="219" y="191"/>
                  </a:lnTo>
                  <a:lnTo>
                    <a:pt x="219" y="186"/>
                  </a:lnTo>
                  <a:lnTo>
                    <a:pt x="221" y="175"/>
                  </a:lnTo>
                  <a:lnTo>
                    <a:pt x="227" y="161"/>
                  </a:lnTo>
                  <a:lnTo>
                    <a:pt x="231" y="150"/>
                  </a:lnTo>
                  <a:lnTo>
                    <a:pt x="233" y="143"/>
                  </a:lnTo>
                  <a:lnTo>
                    <a:pt x="229" y="149"/>
                  </a:lnTo>
                  <a:lnTo>
                    <a:pt x="228" y="153"/>
                  </a:lnTo>
                  <a:lnTo>
                    <a:pt x="229" y="153"/>
                  </a:lnTo>
                  <a:lnTo>
                    <a:pt x="231" y="152"/>
                  </a:lnTo>
                  <a:lnTo>
                    <a:pt x="237" y="146"/>
                  </a:lnTo>
                  <a:lnTo>
                    <a:pt x="240" y="143"/>
                  </a:lnTo>
                  <a:lnTo>
                    <a:pt x="239" y="143"/>
                  </a:lnTo>
                  <a:lnTo>
                    <a:pt x="238" y="146"/>
                  </a:lnTo>
                  <a:lnTo>
                    <a:pt x="237" y="150"/>
                  </a:lnTo>
                  <a:lnTo>
                    <a:pt x="237" y="155"/>
                  </a:lnTo>
                  <a:lnTo>
                    <a:pt x="238" y="160"/>
                  </a:lnTo>
                  <a:lnTo>
                    <a:pt x="239" y="166"/>
                  </a:lnTo>
                  <a:lnTo>
                    <a:pt x="240" y="174"/>
                  </a:lnTo>
                  <a:lnTo>
                    <a:pt x="243" y="181"/>
                  </a:lnTo>
                  <a:lnTo>
                    <a:pt x="246" y="187"/>
                  </a:lnTo>
                  <a:lnTo>
                    <a:pt x="251" y="193"/>
                  </a:lnTo>
                  <a:lnTo>
                    <a:pt x="256" y="198"/>
                  </a:lnTo>
                  <a:lnTo>
                    <a:pt x="264" y="202"/>
                  </a:lnTo>
                  <a:lnTo>
                    <a:pt x="272" y="205"/>
                  </a:lnTo>
                  <a:lnTo>
                    <a:pt x="282" y="207"/>
                  </a:lnTo>
                  <a:lnTo>
                    <a:pt x="293" y="206"/>
                  </a:lnTo>
                  <a:lnTo>
                    <a:pt x="306" y="204"/>
                  </a:lnTo>
                  <a:lnTo>
                    <a:pt x="311" y="206"/>
                  </a:lnTo>
                  <a:lnTo>
                    <a:pt x="317" y="206"/>
                  </a:lnTo>
                  <a:lnTo>
                    <a:pt x="320" y="205"/>
                  </a:lnTo>
                  <a:lnTo>
                    <a:pt x="323" y="204"/>
                  </a:lnTo>
                  <a:lnTo>
                    <a:pt x="325" y="201"/>
                  </a:lnTo>
                  <a:lnTo>
                    <a:pt x="327" y="198"/>
                  </a:lnTo>
                  <a:lnTo>
                    <a:pt x="328" y="193"/>
                  </a:lnTo>
                  <a:lnTo>
                    <a:pt x="328" y="188"/>
                  </a:lnTo>
                  <a:lnTo>
                    <a:pt x="324" y="176"/>
                  </a:lnTo>
                  <a:lnTo>
                    <a:pt x="319" y="161"/>
                  </a:lnTo>
                  <a:lnTo>
                    <a:pt x="310" y="146"/>
                  </a:lnTo>
                  <a:lnTo>
                    <a:pt x="299" y="130"/>
                  </a:lnTo>
                  <a:lnTo>
                    <a:pt x="307" y="124"/>
                  </a:lnTo>
                  <a:lnTo>
                    <a:pt x="312" y="118"/>
                  </a:lnTo>
                  <a:lnTo>
                    <a:pt x="319" y="109"/>
                  </a:lnTo>
                  <a:lnTo>
                    <a:pt x="324" y="101"/>
                  </a:lnTo>
                  <a:lnTo>
                    <a:pt x="334" y="84"/>
                  </a:lnTo>
                  <a:lnTo>
                    <a:pt x="344" y="66"/>
                  </a:lnTo>
                  <a:lnTo>
                    <a:pt x="354" y="47"/>
                  </a:lnTo>
                  <a:lnTo>
                    <a:pt x="366" y="30"/>
                  </a:lnTo>
                  <a:lnTo>
                    <a:pt x="374" y="22"/>
                  </a:lnTo>
                  <a:lnTo>
                    <a:pt x="381" y="14"/>
                  </a:lnTo>
                  <a:lnTo>
                    <a:pt x="389" y="7"/>
                  </a:lnTo>
                  <a:lnTo>
                    <a:pt x="399" y="0"/>
                  </a:lnTo>
                  <a:lnTo>
                    <a:pt x="399" y="9"/>
                  </a:lnTo>
                  <a:lnTo>
                    <a:pt x="400" y="16"/>
                  </a:lnTo>
                  <a:lnTo>
                    <a:pt x="401" y="23"/>
                  </a:lnTo>
                  <a:lnTo>
                    <a:pt x="403" y="29"/>
                  </a:lnTo>
                  <a:lnTo>
                    <a:pt x="408" y="41"/>
                  </a:lnTo>
                  <a:lnTo>
                    <a:pt x="413" y="50"/>
                  </a:lnTo>
                  <a:lnTo>
                    <a:pt x="421" y="59"/>
                  </a:lnTo>
                  <a:lnTo>
                    <a:pt x="430" y="68"/>
                  </a:lnTo>
                  <a:lnTo>
                    <a:pt x="439" y="75"/>
                  </a:lnTo>
                  <a:lnTo>
                    <a:pt x="447" y="81"/>
                  </a:lnTo>
                  <a:lnTo>
                    <a:pt x="467" y="93"/>
                  </a:lnTo>
                  <a:lnTo>
                    <a:pt x="486" y="106"/>
                  </a:lnTo>
                  <a:lnTo>
                    <a:pt x="493" y="113"/>
                  </a:lnTo>
                  <a:lnTo>
                    <a:pt x="501" y="123"/>
                  </a:lnTo>
                  <a:lnTo>
                    <a:pt x="508" y="132"/>
                  </a:lnTo>
                  <a:lnTo>
                    <a:pt x="512" y="143"/>
                  </a:lnTo>
                  <a:lnTo>
                    <a:pt x="504" y="146"/>
                  </a:lnTo>
                  <a:lnTo>
                    <a:pt x="499" y="149"/>
                  </a:lnTo>
                  <a:lnTo>
                    <a:pt x="493" y="150"/>
                  </a:lnTo>
                  <a:lnTo>
                    <a:pt x="489" y="151"/>
                  </a:lnTo>
                  <a:lnTo>
                    <a:pt x="478" y="152"/>
                  </a:lnTo>
                  <a:lnTo>
                    <a:pt x="465" y="155"/>
                  </a:lnTo>
                  <a:lnTo>
                    <a:pt x="463" y="166"/>
                  </a:lnTo>
                  <a:lnTo>
                    <a:pt x="458" y="180"/>
                  </a:lnTo>
                  <a:lnTo>
                    <a:pt x="454" y="193"/>
                  </a:lnTo>
                  <a:lnTo>
                    <a:pt x="452" y="20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069" name="Freeform 21"/>
            <p:cNvSpPr>
              <a:spLocks/>
            </p:cNvSpPr>
            <p:nvPr/>
          </p:nvSpPr>
          <p:spPr bwMode="auto">
            <a:xfrm>
              <a:off x="4488" y="2420"/>
              <a:ext cx="77" cy="89"/>
            </a:xfrm>
            <a:custGeom>
              <a:avLst/>
              <a:gdLst/>
              <a:ahLst/>
              <a:cxnLst>
                <a:cxn ang="0">
                  <a:pos x="151" y="24"/>
                </a:cxn>
                <a:cxn ang="0">
                  <a:pos x="165" y="48"/>
                </a:cxn>
                <a:cxn ang="0">
                  <a:pos x="174" y="56"/>
                </a:cxn>
                <a:cxn ang="0">
                  <a:pos x="181" y="60"/>
                </a:cxn>
                <a:cxn ang="0">
                  <a:pos x="186" y="166"/>
                </a:cxn>
                <a:cxn ang="0">
                  <a:pos x="189" y="196"/>
                </a:cxn>
                <a:cxn ang="0">
                  <a:pos x="193" y="207"/>
                </a:cxn>
                <a:cxn ang="0">
                  <a:pos x="199" y="216"/>
                </a:cxn>
                <a:cxn ang="0">
                  <a:pos x="232" y="246"/>
                </a:cxn>
                <a:cxn ang="0">
                  <a:pos x="219" y="288"/>
                </a:cxn>
                <a:cxn ang="0">
                  <a:pos x="186" y="282"/>
                </a:cxn>
                <a:cxn ang="0">
                  <a:pos x="151" y="264"/>
                </a:cxn>
                <a:cxn ang="0">
                  <a:pos x="113" y="235"/>
                </a:cxn>
                <a:cxn ang="0">
                  <a:pos x="81" y="207"/>
                </a:cxn>
                <a:cxn ang="0">
                  <a:pos x="56" y="176"/>
                </a:cxn>
                <a:cxn ang="0">
                  <a:pos x="31" y="145"/>
                </a:cxn>
                <a:cxn ang="0">
                  <a:pos x="9" y="126"/>
                </a:cxn>
                <a:cxn ang="0">
                  <a:pos x="2" y="117"/>
                </a:cxn>
                <a:cxn ang="0">
                  <a:pos x="0" y="109"/>
                </a:cxn>
                <a:cxn ang="0">
                  <a:pos x="0" y="100"/>
                </a:cxn>
                <a:cxn ang="0">
                  <a:pos x="3" y="92"/>
                </a:cxn>
                <a:cxn ang="0">
                  <a:pos x="11" y="79"/>
                </a:cxn>
                <a:cxn ang="0">
                  <a:pos x="12" y="52"/>
                </a:cxn>
                <a:cxn ang="0">
                  <a:pos x="7" y="15"/>
                </a:cxn>
                <a:cxn ang="0">
                  <a:pos x="13" y="0"/>
                </a:cxn>
                <a:cxn ang="0">
                  <a:pos x="26" y="3"/>
                </a:cxn>
                <a:cxn ang="0">
                  <a:pos x="42" y="10"/>
                </a:cxn>
                <a:cxn ang="0">
                  <a:pos x="59" y="21"/>
                </a:cxn>
                <a:cxn ang="0">
                  <a:pos x="73" y="28"/>
                </a:cxn>
                <a:cxn ang="0">
                  <a:pos x="81" y="31"/>
                </a:cxn>
                <a:cxn ang="0">
                  <a:pos x="91" y="31"/>
                </a:cxn>
                <a:cxn ang="0">
                  <a:pos x="105" y="26"/>
                </a:cxn>
                <a:cxn ang="0">
                  <a:pos x="120" y="19"/>
                </a:cxn>
                <a:cxn ang="0">
                  <a:pos x="133" y="11"/>
                </a:cxn>
              </a:cxnLst>
              <a:rect l="0" t="0" r="r" b="b"/>
              <a:pathLst>
                <a:path w="232" h="289">
                  <a:moveTo>
                    <a:pt x="140" y="6"/>
                  </a:moveTo>
                  <a:lnTo>
                    <a:pt x="151" y="24"/>
                  </a:lnTo>
                  <a:lnTo>
                    <a:pt x="159" y="41"/>
                  </a:lnTo>
                  <a:lnTo>
                    <a:pt x="165" y="48"/>
                  </a:lnTo>
                  <a:lnTo>
                    <a:pt x="170" y="54"/>
                  </a:lnTo>
                  <a:lnTo>
                    <a:pt x="174" y="56"/>
                  </a:lnTo>
                  <a:lnTo>
                    <a:pt x="177" y="59"/>
                  </a:lnTo>
                  <a:lnTo>
                    <a:pt x="181" y="60"/>
                  </a:lnTo>
                  <a:lnTo>
                    <a:pt x="186" y="62"/>
                  </a:lnTo>
                  <a:lnTo>
                    <a:pt x="186" y="166"/>
                  </a:lnTo>
                  <a:lnTo>
                    <a:pt x="187" y="183"/>
                  </a:lnTo>
                  <a:lnTo>
                    <a:pt x="189" y="196"/>
                  </a:lnTo>
                  <a:lnTo>
                    <a:pt x="191" y="202"/>
                  </a:lnTo>
                  <a:lnTo>
                    <a:pt x="193" y="207"/>
                  </a:lnTo>
                  <a:lnTo>
                    <a:pt x="196" y="212"/>
                  </a:lnTo>
                  <a:lnTo>
                    <a:pt x="199" y="216"/>
                  </a:lnTo>
                  <a:lnTo>
                    <a:pt x="213" y="230"/>
                  </a:lnTo>
                  <a:lnTo>
                    <a:pt x="232" y="246"/>
                  </a:lnTo>
                  <a:lnTo>
                    <a:pt x="232" y="289"/>
                  </a:lnTo>
                  <a:lnTo>
                    <a:pt x="219" y="288"/>
                  </a:lnTo>
                  <a:lnTo>
                    <a:pt x="202" y="286"/>
                  </a:lnTo>
                  <a:lnTo>
                    <a:pt x="186" y="282"/>
                  </a:lnTo>
                  <a:lnTo>
                    <a:pt x="172" y="277"/>
                  </a:lnTo>
                  <a:lnTo>
                    <a:pt x="151" y="264"/>
                  </a:lnTo>
                  <a:lnTo>
                    <a:pt x="131" y="249"/>
                  </a:lnTo>
                  <a:lnTo>
                    <a:pt x="113" y="235"/>
                  </a:lnTo>
                  <a:lnTo>
                    <a:pt x="97" y="221"/>
                  </a:lnTo>
                  <a:lnTo>
                    <a:pt x="81" y="207"/>
                  </a:lnTo>
                  <a:lnTo>
                    <a:pt x="68" y="191"/>
                  </a:lnTo>
                  <a:lnTo>
                    <a:pt x="56" y="176"/>
                  </a:lnTo>
                  <a:lnTo>
                    <a:pt x="46" y="160"/>
                  </a:lnTo>
                  <a:lnTo>
                    <a:pt x="31" y="145"/>
                  </a:lnTo>
                  <a:lnTo>
                    <a:pt x="15" y="132"/>
                  </a:lnTo>
                  <a:lnTo>
                    <a:pt x="9" y="126"/>
                  </a:lnTo>
                  <a:lnTo>
                    <a:pt x="4" y="120"/>
                  </a:lnTo>
                  <a:lnTo>
                    <a:pt x="2" y="117"/>
                  </a:lnTo>
                  <a:lnTo>
                    <a:pt x="1" y="113"/>
                  </a:lnTo>
                  <a:lnTo>
                    <a:pt x="0" y="109"/>
                  </a:lnTo>
                  <a:lnTo>
                    <a:pt x="0" y="105"/>
                  </a:lnTo>
                  <a:lnTo>
                    <a:pt x="0" y="100"/>
                  </a:lnTo>
                  <a:lnTo>
                    <a:pt x="1" y="96"/>
                  </a:lnTo>
                  <a:lnTo>
                    <a:pt x="3" y="92"/>
                  </a:lnTo>
                  <a:lnTo>
                    <a:pt x="7" y="88"/>
                  </a:lnTo>
                  <a:lnTo>
                    <a:pt x="11" y="79"/>
                  </a:lnTo>
                  <a:lnTo>
                    <a:pt x="13" y="74"/>
                  </a:lnTo>
                  <a:lnTo>
                    <a:pt x="12" y="52"/>
                  </a:lnTo>
                  <a:lnTo>
                    <a:pt x="10" y="33"/>
                  </a:lnTo>
                  <a:lnTo>
                    <a:pt x="7" y="15"/>
                  </a:lnTo>
                  <a:lnTo>
                    <a:pt x="7" y="0"/>
                  </a:lnTo>
                  <a:lnTo>
                    <a:pt x="13" y="0"/>
                  </a:lnTo>
                  <a:lnTo>
                    <a:pt x="20" y="1"/>
                  </a:lnTo>
                  <a:lnTo>
                    <a:pt x="26" y="3"/>
                  </a:lnTo>
                  <a:lnTo>
                    <a:pt x="32" y="5"/>
                  </a:lnTo>
                  <a:lnTo>
                    <a:pt x="42" y="10"/>
                  </a:lnTo>
                  <a:lnTo>
                    <a:pt x="51" y="15"/>
                  </a:lnTo>
                  <a:lnTo>
                    <a:pt x="59" y="21"/>
                  </a:lnTo>
                  <a:lnTo>
                    <a:pt x="68" y="26"/>
                  </a:lnTo>
                  <a:lnTo>
                    <a:pt x="73" y="28"/>
                  </a:lnTo>
                  <a:lnTo>
                    <a:pt x="77" y="29"/>
                  </a:lnTo>
                  <a:lnTo>
                    <a:pt x="81" y="31"/>
                  </a:lnTo>
                  <a:lnTo>
                    <a:pt x="86" y="31"/>
                  </a:lnTo>
                  <a:lnTo>
                    <a:pt x="91" y="31"/>
                  </a:lnTo>
                  <a:lnTo>
                    <a:pt x="98" y="28"/>
                  </a:lnTo>
                  <a:lnTo>
                    <a:pt x="105" y="26"/>
                  </a:lnTo>
                  <a:lnTo>
                    <a:pt x="112" y="23"/>
                  </a:lnTo>
                  <a:lnTo>
                    <a:pt x="120" y="19"/>
                  </a:lnTo>
                  <a:lnTo>
                    <a:pt x="127" y="15"/>
                  </a:lnTo>
                  <a:lnTo>
                    <a:pt x="133" y="11"/>
                  </a:lnTo>
                  <a:lnTo>
                    <a:pt x="14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2070" name="Freeform 22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532315" y="965604"/>
            <a:ext cx="3065462" cy="806053"/>
          </a:xfrm>
          <a:custGeom>
            <a:avLst/>
            <a:gdLst/>
            <a:ahLst/>
            <a:cxnLst>
              <a:cxn ang="0">
                <a:pos x="725" y="1733"/>
              </a:cxn>
              <a:cxn ang="0">
                <a:pos x="1070" y="1937"/>
              </a:cxn>
              <a:cxn ang="0">
                <a:pos x="1212" y="1814"/>
              </a:cxn>
              <a:cxn ang="0">
                <a:pos x="1674" y="1469"/>
              </a:cxn>
              <a:cxn ang="0">
                <a:pos x="2618" y="1315"/>
              </a:cxn>
              <a:cxn ang="0">
                <a:pos x="3350" y="1494"/>
              </a:cxn>
              <a:cxn ang="0">
                <a:pos x="3676" y="1438"/>
              </a:cxn>
              <a:cxn ang="0">
                <a:pos x="4136" y="1492"/>
              </a:cxn>
              <a:cxn ang="0">
                <a:pos x="4577" y="1509"/>
              </a:cxn>
              <a:cxn ang="0">
                <a:pos x="4759" y="1372"/>
              </a:cxn>
              <a:cxn ang="0">
                <a:pos x="5156" y="1476"/>
              </a:cxn>
              <a:cxn ang="0">
                <a:pos x="5614" y="1598"/>
              </a:cxn>
              <a:cxn ang="0">
                <a:pos x="5604" y="1844"/>
              </a:cxn>
              <a:cxn ang="0">
                <a:pos x="5853" y="1612"/>
              </a:cxn>
              <a:cxn ang="0">
                <a:pos x="5570" y="1256"/>
              </a:cxn>
              <a:cxn ang="0">
                <a:pos x="5331" y="1147"/>
              </a:cxn>
              <a:cxn ang="0">
                <a:pos x="5857" y="982"/>
              </a:cxn>
              <a:cxn ang="0">
                <a:pos x="5974" y="822"/>
              </a:cxn>
              <a:cxn ang="0">
                <a:pos x="6132" y="761"/>
              </a:cxn>
              <a:cxn ang="0">
                <a:pos x="6195" y="974"/>
              </a:cxn>
              <a:cxn ang="0">
                <a:pos x="6352" y="1251"/>
              </a:cxn>
              <a:cxn ang="0">
                <a:pos x="6575" y="1410"/>
              </a:cxn>
              <a:cxn ang="0">
                <a:pos x="6566" y="1214"/>
              </a:cxn>
              <a:cxn ang="0">
                <a:pos x="6373" y="1037"/>
              </a:cxn>
              <a:cxn ang="0">
                <a:pos x="6547" y="885"/>
              </a:cxn>
              <a:cxn ang="0">
                <a:pos x="6801" y="784"/>
              </a:cxn>
              <a:cxn ang="0">
                <a:pos x="6628" y="618"/>
              </a:cxn>
              <a:cxn ang="0">
                <a:pos x="6799" y="636"/>
              </a:cxn>
              <a:cxn ang="0">
                <a:pos x="6861" y="543"/>
              </a:cxn>
              <a:cxn ang="0">
                <a:pos x="6500" y="462"/>
              </a:cxn>
              <a:cxn ang="0">
                <a:pos x="5843" y="410"/>
              </a:cxn>
              <a:cxn ang="0">
                <a:pos x="5693" y="415"/>
              </a:cxn>
              <a:cxn ang="0">
                <a:pos x="4991" y="351"/>
              </a:cxn>
              <a:cxn ang="0">
                <a:pos x="4728" y="290"/>
              </a:cxn>
              <a:cxn ang="0">
                <a:pos x="4412" y="290"/>
              </a:cxn>
              <a:cxn ang="0">
                <a:pos x="4009" y="318"/>
              </a:cxn>
              <a:cxn ang="0">
                <a:pos x="3574" y="261"/>
              </a:cxn>
              <a:cxn ang="0">
                <a:pos x="3290" y="244"/>
              </a:cxn>
              <a:cxn ang="0">
                <a:pos x="3008" y="235"/>
              </a:cxn>
              <a:cxn ang="0">
                <a:pos x="2724" y="58"/>
              </a:cxn>
              <a:cxn ang="0">
                <a:pos x="2617" y="140"/>
              </a:cxn>
              <a:cxn ang="0">
                <a:pos x="2134" y="167"/>
              </a:cxn>
              <a:cxn ang="0">
                <a:pos x="2159" y="200"/>
              </a:cxn>
              <a:cxn ang="0">
                <a:pos x="2198" y="342"/>
              </a:cxn>
              <a:cxn ang="0">
                <a:pos x="1933" y="256"/>
              </a:cxn>
              <a:cxn ang="0">
                <a:pos x="1787" y="273"/>
              </a:cxn>
              <a:cxn ang="0">
                <a:pos x="1917" y="446"/>
              </a:cxn>
              <a:cxn ang="0">
                <a:pos x="2076" y="529"/>
              </a:cxn>
              <a:cxn ang="0">
                <a:pos x="1883" y="593"/>
              </a:cxn>
              <a:cxn ang="0">
                <a:pos x="1832" y="464"/>
              </a:cxn>
              <a:cxn ang="0">
                <a:pos x="1621" y="231"/>
              </a:cxn>
              <a:cxn ang="0">
                <a:pos x="1623" y="451"/>
              </a:cxn>
              <a:cxn ang="0">
                <a:pos x="1238" y="397"/>
              </a:cxn>
              <a:cxn ang="0">
                <a:pos x="1198" y="477"/>
              </a:cxn>
              <a:cxn ang="0">
                <a:pos x="908" y="500"/>
              </a:cxn>
              <a:cxn ang="0">
                <a:pos x="692" y="483"/>
              </a:cxn>
              <a:cxn ang="0">
                <a:pos x="602" y="585"/>
              </a:cxn>
              <a:cxn ang="0">
                <a:pos x="407" y="739"/>
              </a:cxn>
              <a:cxn ang="0">
                <a:pos x="390" y="612"/>
              </a:cxn>
              <a:cxn ang="0">
                <a:pos x="150" y="440"/>
              </a:cxn>
              <a:cxn ang="0">
                <a:pos x="71" y="605"/>
              </a:cxn>
              <a:cxn ang="0">
                <a:pos x="112" y="958"/>
              </a:cxn>
            </a:cxnLst>
            <a:rect l="0" t="0" r="r" b="b"/>
            <a:pathLst>
              <a:path w="7049" h="2048">
                <a:moveTo>
                  <a:pt x="365" y="1401"/>
                </a:moveTo>
                <a:lnTo>
                  <a:pt x="373" y="1401"/>
                </a:lnTo>
                <a:lnTo>
                  <a:pt x="405" y="1401"/>
                </a:lnTo>
                <a:lnTo>
                  <a:pt x="425" y="1388"/>
                </a:lnTo>
                <a:lnTo>
                  <a:pt x="471" y="1388"/>
                </a:lnTo>
                <a:lnTo>
                  <a:pt x="491" y="1401"/>
                </a:lnTo>
                <a:lnTo>
                  <a:pt x="519" y="1426"/>
                </a:lnTo>
                <a:lnTo>
                  <a:pt x="505" y="1451"/>
                </a:lnTo>
                <a:lnTo>
                  <a:pt x="558" y="1451"/>
                </a:lnTo>
                <a:lnTo>
                  <a:pt x="578" y="1499"/>
                </a:lnTo>
                <a:lnTo>
                  <a:pt x="604" y="1493"/>
                </a:lnTo>
                <a:lnTo>
                  <a:pt x="632" y="1512"/>
                </a:lnTo>
                <a:lnTo>
                  <a:pt x="665" y="1499"/>
                </a:lnTo>
                <a:lnTo>
                  <a:pt x="698" y="1524"/>
                </a:lnTo>
                <a:lnTo>
                  <a:pt x="737" y="1524"/>
                </a:lnTo>
                <a:lnTo>
                  <a:pt x="778" y="1543"/>
                </a:lnTo>
                <a:lnTo>
                  <a:pt x="817" y="1555"/>
                </a:lnTo>
                <a:lnTo>
                  <a:pt x="811" y="1586"/>
                </a:lnTo>
                <a:lnTo>
                  <a:pt x="804" y="1623"/>
                </a:lnTo>
                <a:lnTo>
                  <a:pt x="817" y="1647"/>
                </a:lnTo>
                <a:lnTo>
                  <a:pt x="784" y="1647"/>
                </a:lnTo>
                <a:lnTo>
                  <a:pt x="744" y="1660"/>
                </a:lnTo>
                <a:lnTo>
                  <a:pt x="737" y="1691"/>
                </a:lnTo>
                <a:lnTo>
                  <a:pt x="743" y="1690"/>
                </a:lnTo>
                <a:lnTo>
                  <a:pt x="757" y="1685"/>
                </a:lnTo>
                <a:lnTo>
                  <a:pt x="752" y="1691"/>
                </a:lnTo>
                <a:lnTo>
                  <a:pt x="747" y="1696"/>
                </a:lnTo>
                <a:lnTo>
                  <a:pt x="743" y="1701"/>
                </a:lnTo>
                <a:lnTo>
                  <a:pt x="737" y="1705"/>
                </a:lnTo>
                <a:lnTo>
                  <a:pt x="725" y="1713"/>
                </a:lnTo>
                <a:lnTo>
                  <a:pt x="711" y="1721"/>
                </a:lnTo>
                <a:lnTo>
                  <a:pt x="712" y="1724"/>
                </a:lnTo>
                <a:lnTo>
                  <a:pt x="715" y="1728"/>
                </a:lnTo>
                <a:lnTo>
                  <a:pt x="719" y="1731"/>
                </a:lnTo>
                <a:lnTo>
                  <a:pt x="725" y="1733"/>
                </a:lnTo>
                <a:lnTo>
                  <a:pt x="736" y="1738"/>
                </a:lnTo>
                <a:lnTo>
                  <a:pt x="744" y="1740"/>
                </a:lnTo>
                <a:lnTo>
                  <a:pt x="741" y="1749"/>
                </a:lnTo>
                <a:lnTo>
                  <a:pt x="738" y="1756"/>
                </a:lnTo>
                <a:lnTo>
                  <a:pt x="734" y="1763"/>
                </a:lnTo>
                <a:lnTo>
                  <a:pt x="728" y="1769"/>
                </a:lnTo>
                <a:lnTo>
                  <a:pt x="722" y="1774"/>
                </a:lnTo>
                <a:lnTo>
                  <a:pt x="715" y="1779"/>
                </a:lnTo>
                <a:lnTo>
                  <a:pt x="707" y="1785"/>
                </a:lnTo>
                <a:lnTo>
                  <a:pt x="698" y="1790"/>
                </a:lnTo>
                <a:lnTo>
                  <a:pt x="696" y="1796"/>
                </a:lnTo>
                <a:lnTo>
                  <a:pt x="698" y="1801"/>
                </a:lnTo>
                <a:lnTo>
                  <a:pt x="700" y="1806"/>
                </a:lnTo>
                <a:lnTo>
                  <a:pt x="702" y="1809"/>
                </a:lnTo>
                <a:lnTo>
                  <a:pt x="706" y="1812"/>
                </a:lnTo>
                <a:lnTo>
                  <a:pt x="711" y="1815"/>
                </a:lnTo>
                <a:lnTo>
                  <a:pt x="716" y="1817"/>
                </a:lnTo>
                <a:lnTo>
                  <a:pt x="722" y="1819"/>
                </a:lnTo>
                <a:lnTo>
                  <a:pt x="734" y="1823"/>
                </a:lnTo>
                <a:lnTo>
                  <a:pt x="747" y="1828"/>
                </a:lnTo>
                <a:lnTo>
                  <a:pt x="754" y="1831"/>
                </a:lnTo>
                <a:lnTo>
                  <a:pt x="759" y="1835"/>
                </a:lnTo>
                <a:lnTo>
                  <a:pt x="766" y="1840"/>
                </a:lnTo>
                <a:lnTo>
                  <a:pt x="771" y="1845"/>
                </a:lnTo>
                <a:lnTo>
                  <a:pt x="781" y="1854"/>
                </a:lnTo>
                <a:lnTo>
                  <a:pt x="794" y="1861"/>
                </a:lnTo>
                <a:lnTo>
                  <a:pt x="807" y="1868"/>
                </a:lnTo>
                <a:lnTo>
                  <a:pt x="823" y="1875"/>
                </a:lnTo>
                <a:lnTo>
                  <a:pt x="856" y="1887"/>
                </a:lnTo>
                <a:lnTo>
                  <a:pt x="890" y="1901"/>
                </a:lnTo>
                <a:lnTo>
                  <a:pt x="897" y="1901"/>
                </a:lnTo>
                <a:lnTo>
                  <a:pt x="950" y="1919"/>
                </a:lnTo>
                <a:lnTo>
                  <a:pt x="996" y="1931"/>
                </a:lnTo>
                <a:lnTo>
                  <a:pt x="1024" y="1919"/>
                </a:lnTo>
                <a:lnTo>
                  <a:pt x="1070" y="1937"/>
                </a:lnTo>
                <a:lnTo>
                  <a:pt x="1096" y="1956"/>
                </a:lnTo>
                <a:lnTo>
                  <a:pt x="1136" y="1950"/>
                </a:lnTo>
                <a:lnTo>
                  <a:pt x="1176" y="1962"/>
                </a:lnTo>
                <a:lnTo>
                  <a:pt x="1203" y="1980"/>
                </a:lnTo>
                <a:lnTo>
                  <a:pt x="1249" y="2005"/>
                </a:lnTo>
                <a:lnTo>
                  <a:pt x="1282" y="2030"/>
                </a:lnTo>
                <a:lnTo>
                  <a:pt x="1316" y="2048"/>
                </a:lnTo>
                <a:lnTo>
                  <a:pt x="1342" y="2011"/>
                </a:lnTo>
                <a:lnTo>
                  <a:pt x="1355" y="2011"/>
                </a:lnTo>
                <a:lnTo>
                  <a:pt x="1350" y="2009"/>
                </a:lnTo>
                <a:lnTo>
                  <a:pt x="1345" y="2006"/>
                </a:lnTo>
                <a:lnTo>
                  <a:pt x="1341" y="2001"/>
                </a:lnTo>
                <a:lnTo>
                  <a:pt x="1337" y="1998"/>
                </a:lnTo>
                <a:lnTo>
                  <a:pt x="1333" y="1994"/>
                </a:lnTo>
                <a:lnTo>
                  <a:pt x="1331" y="1989"/>
                </a:lnTo>
                <a:lnTo>
                  <a:pt x="1329" y="1985"/>
                </a:lnTo>
                <a:lnTo>
                  <a:pt x="1329" y="1980"/>
                </a:lnTo>
                <a:lnTo>
                  <a:pt x="1318" y="1972"/>
                </a:lnTo>
                <a:lnTo>
                  <a:pt x="1296" y="1952"/>
                </a:lnTo>
                <a:lnTo>
                  <a:pt x="1283" y="1941"/>
                </a:lnTo>
                <a:lnTo>
                  <a:pt x="1273" y="1931"/>
                </a:lnTo>
                <a:lnTo>
                  <a:pt x="1265" y="1923"/>
                </a:lnTo>
                <a:lnTo>
                  <a:pt x="1262" y="1919"/>
                </a:lnTo>
                <a:lnTo>
                  <a:pt x="1255" y="1887"/>
                </a:lnTo>
                <a:lnTo>
                  <a:pt x="1255" y="1869"/>
                </a:lnTo>
                <a:lnTo>
                  <a:pt x="1245" y="1869"/>
                </a:lnTo>
                <a:lnTo>
                  <a:pt x="1237" y="1866"/>
                </a:lnTo>
                <a:lnTo>
                  <a:pt x="1229" y="1862"/>
                </a:lnTo>
                <a:lnTo>
                  <a:pt x="1222" y="1857"/>
                </a:lnTo>
                <a:lnTo>
                  <a:pt x="1217" y="1851"/>
                </a:lnTo>
                <a:lnTo>
                  <a:pt x="1212" y="1844"/>
                </a:lnTo>
                <a:lnTo>
                  <a:pt x="1210" y="1835"/>
                </a:lnTo>
                <a:lnTo>
                  <a:pt x="1209" y="1826"/>
                </a:lnTo>
                <a:lnTo>
                  <a:pt x="1210" y="1821"/>
                </a:lnTo>
                <a:lnTo>
                  <a:pt x="1212" y="1814"/>
                </a:lnTo>
                <a:lnTo>
                  <a:pt x="1216" y="1807"/>
                </a:lnTo>
                <a:lnTo>
                  <a:pt x="1220" y="1799"/>
                </a:lnTo>
                <a:lnTo>
                  <a:pt x="1229" y="1786"/>
                </a:lnTo>
                <a:lnTo>
                  <a:pt x="1236" y="1777"/>
                </a:lnTo>
                <a:lnTo>
                  <a:pt x="1254" y="1767"/>
                </a:lnTo>
                <a:lnTo>
                  <a:pt x="1272" y="1758"/>
                </a:lnTo>
                <a:lnTo>
                  <a:pt x="1287" y="1749"/>
                </a:lnTo>
                <a:lnTo>
                  <a:pt x="1303" y="1740"/>
                </a:lnTo>
                <a:lnTo>
                  <a:pt x="1309" y="1728"/>
                </a:lnTo>
                <a:lnTo>
                  <a:pt x="1282" y="1721"/>
                </a:lnTo>
                <a:lnTo>
                  <a:pt x="1309" y="1703"/>
                </a:lnTo>
                <a:lnTo>
                  <a:pt x="1282" y="1679"/>
                </a:lnTo>
                <a:lnTo>
                  <a:pt x="1255" y="1654"/>
                </a:lnTo>
                <a:lnTo>
                  <a:pt x="1216" y="1654"/>
                </a:lnTo>
                <a:lnTo>
                  <a:pt x="1203" y="1629"/>
                </a:lnTo>
                <a:lnTo>
                  <a:pt x="1183" y="1617"/>
                </a:lnTo>
                <a:lnTo>
                  <a:pt x="1176" y="1586"/>
                </a:lnTo>
                <a:lnTo>
                  <a:pt x="1176" y="1549"/>
                </a:lnTo>
                <a:lnTo>
                  <a:pt x="1189" y="1524"/>
                </a:lnTo>
                <a:lnTo>
                  <a:pt x="1196" y="1499"/>
                </a:lnTo>
                <a:lnTo>
                  <a:pt x="1229" y="1518"/>
                </a:lnTo>
                <a:lnTo>
                  <a:pt x="1262" y="1530"/>
                </a:lnTo>
                <a:lnTo>
                  <a:pt x="1282" y="1524"/>
                </a:lnTo>
                <a:lnTo>
                  <a:pt x="1255" y="1493"/>
                </a:lnTo>
                <a:lnTo>
                  <a:pt x="1289" y="1475"/>
                </a:lnTo>
                <a:lnTo>
                  <a:pt x="1322" y="1444"/>
                </a:lnTo>
                <a:lnTo>
                  <a:pt x="1355" y="1438"/>
                </a:lnTo>
                <a:lnTo>
                  <a:pt x="1395" y="1438"/>
                </a:lnTo>
                <a:lnTo>
                  <a:pt x="1422" y="1426"/>
                </a:lnTo>
                <a:lnTo>
                  <a:pt x="1468" y="1438"/>
                </a:lnTo>
                <a:lnTo>
                  <a:pt x="1514" y="1457"/>
                </a:lnTo>
                <a:lnTo>
                  <a:pt x="1555" y="1493"/>
                </a:lnTo>
                <a:lnTo>
                  <a:pt x="1601" y="1487"/>
                </a:lnTo>
                <a:lnTo>
                  <a:pt x="1641" y="1469"/>
                </a:lnTo>
                <a:lnTo>
                  <a:pt x="1674" y="1469"/>
                </a:lnTo>
                <a:lnTo>
                  <a:pt x="1714" y="1463"/>
                </a:lnTo>
                <a:lnTo>
                  <a:pt x="1754" y="1481"/>
                </a:lnTo>
                <a:lnTo>
                  <a:pt x="1800" y="1493"/>
                </a:lnTo>
                <a:lnTo>
                  <a:pt x="1847" y="1487"/>
                </a:lnTo>
                <a:lnTo>
                  <a:pt x="1893" y="1469"/>
                </a:lnTo>
                <a:lnTo>
                  <a:pt x="1893" y="1444"/>
                </a:lnTo>
                <a:lnTo>
                  <a:pt x="1860" y="1438"/>
                </a:lnTo>
                <a:lnTo>
                  <a:pt x="1821" y="1426"/>
                </a:lnTo>
                <a:lnTo>
                  <a:pt x="1793" y="1414"/>
                </a:lnTo>
                <a:lnTo>
                  <a:pt x="1834" y="1401"/>
                </a:lnTo>
                <a:lnTo>
                  <a:pt x="1827" y="1364"/>
                </a:lnTo>
                <a:lnTo>
                  <a:pt x="1880" y="1358"/>
                </a:lnTo>
                <a:lnTo>
                  <a:pt x="1814" y="1309"/>
                </a:lnTo>
                <a:lnTo>
                  <a:pt x="1920" y="1291"/>
                </a:lnTo>
                <a:lnTo>
                  <a:pt x="2006" y="1284"/>
                </a:lnTo>
                <a:lnTo>
                  <a:pt x="2020" y="1259"/>
                </a:lnTo>
                <a:lnTo>
                  <a:pt x="2080" y="1253"/>
                </a:lnTo>
                <a:lnTo>
                  <a:pt x="2139" y="1241"/>
                </a:lnTo>
                <a:lnTo>
                  <a:pt x="2159" y="1216"/>
                </a:lnTo>
                <a:lnTo>
                  <a:pt x="2226" y="1229"/>
                </a:lnTo>
                <a:lnTo>
                  <a:pt x="2265" y="1222"/>
                </a:lnTo>
                <a:lnTo>
                  <a:pt x="2292" y="1241"/>
                </a:lnTo>
                <a:lnTo>
                  <a:pt x="2298" y="1291"/>
                </a:lnTo>
                <a:lnTo>
                  <a:pt x="2339" y="1291"/>
                </a:lnTo>
                <a:lnTo>
                  <a:pt x="2352" y="1277"/>
                </a:lnTo>
                <a:lnTo>
                  <a:pt x="2372" y="1291"/>
                </a:lnTo>
                <a:lnTo>
                  <a:pt x="2411" y="1297"/>
                </a:lnTo>
                <a:lnTo>
                  <a:pt x="2431" y="1297"/>
                </a:lnTo>
                <a:lnTo>
                  <a:pt x="2431" y="1333"/>
                </a:lnTo>
                <a:lnTo>
                  <a:pt x="2472" y="1327"/>
                </a:lnTo>
                <a:lnTo>
                  <a:pt x="2511" y="1309"/>
                </a:lnTo>
                <a:lnTo>
                  <a:pt x="2551" y="1277"/>
                </a:lnTo>
                <a:lnTo>
                  <a:pt x="2577" y="1265"/>
                </a:lnTo>
                <a:lnTo>
                  <a:pt x="2577" y="1297"/>
                </a:lnTo>
                <a:lnTo>
                  <a:pt x="2618" y="1315"/>
                </a:lnTo>
                <a:lnTo>
                  <a:pt x="2664" y="1333"/>
                </a:lnTo>
                <a:lnTo>
                  <a:pt x="2704" y="1376"/>
                </a:lnTo>
                <a:lnTo>
                  <a:pt x="2757" y="1420"/>
                </a:lnTo>
                <a:lnTo>
                  <a:pt x="2803" y="1457"/>
                </a:lnTo>
                <a:lnTo>
                  <a:pt x="2823" y="1487"/>
                </a:lnTo>
                <a:lnTo>
                  <a:pt x="2836" y="1457"/>
                </a:lnTo>
                <a:lnTo>
                  <a:pt x="2864" y="1451"/>
                </a:lnTo>
                <a:lnTo>
                  <a:pt x="2884" y="1475"/>
                </a:lnTo>
                <a:lnTo>
                  <a:pt x="2923" y="1487"/>
                </a:lnTo>
                <a:lnTo>
                  <a:pt x="2969" y="1481"/>
                </a:lnTo>
                <a:lnTo>
                  <a:pt x="2997" y="1469"/>
                </a:lnTo>
                <a:lnTo>
                  <a:pt x="3036" y="1499"/>
                </a:lnTo>
                <a:lnTo>
                  <a:pt x="3082" y="1524"/>
                </a:lnTo>
                <a:lnTo>
                  <a:pt x="3123" y="1549"/>
                </a:lnTo>
                <a:lnTo>
                  <a:pt x="3176" y="1555"/>
                </a:lnTo>
                <a:lnTo>
                  <a:pt x="3182" y="1562"/>
                </a:lnTo>
                <a:lnTo>
                  <a:pt x="3186" y="1560"/>
                </a:lnTo>
                <a:lnTo>
                  <a:pt x="3189" y="1557"/>
                </a:lnTo>
                <a:lnTo>
                  <a:pt x="3193" y="1556"/>
                </a:lnTo>
                <a:lnTo>
                  <a:pt x="3198" y="1555"/>
                </a:lnTo>
                <a:lnTo>
                  <a:pt x="3211" y="1555"/>
                </a:lnTo>
                <a:lnTo>
                  <a:pt x="3228" y="1555"/>
                </a:lnTo>
                <a:lnTo>
                  <a:pt x="3234" y="1554"/>
                </a:lnTo>
                <a:lnTo>
                  <a:pt x="3239" y="1552"/>
                </a:lnTo>
                <a:lnTo>
                  <a:pt x="3246" y="1549"/>
                </a:lnTo>
                <a:lnTo>
                  <a:pt x="3251" y="1546"/>
                </a:lnTo>
                <a:lnTo>
                  <a:pt x="3261" y="1539"/>
                </a:lnTo>
                <a:lnTo>
                  <a:pt x="3269" y="1537"/>
                </a:lnTo>
                <a:lnTo>
                  <a:pt x="3278" y="1536"/>
                </a:lnTo>
                <a:lnTo>
                  <a:pt x="3288" y="1534"/>
                </a:lnTo>
                <a:lnTo>
                  <a:pt x="3296" y="1531"/>
                </a:lnTo>
                <a:lnTo>
                  <a:pt x="3304" y="1527"/>
                </a:lnTo>
                <a:lnTo>
                  <a:pt x="3320" y="1517"/>
                </a:lnTo>
                <a:lnTo>
                  <a:pt x="3335" y="1506"/>
                </a:lnTo>
                <a:lnTo>
                  <a:pt x="3350" y="1494"/>
                </a:lnTo>
                <a:lnTo>
                  <a:pt x="3366" y="1485"/>
                </a:lnTo>
                <a:lnTo>
                  <a:pt x="3374" y="1481"/>
                </a:lnTo>
                <a:lnTo>
                  <a:pt x="3383" y="1478"/>
                </a:lnTo>
                <a:lnTo>
                  <a:pt x="3392" y="1476"/>
                </a:lnTo>
                <a:lnTo>
                  <a:pt x="3402" y="1475"/>
                </a:lnTo>
                <a:lnTo>
                  <a:pt x="3413" y="1476"/>
                </a:lnTo>
                <a:lnTo>
                  <a:pt x="3423" y="1477"/>
                </a:lnTo>
                <a:lnTo>
                  <a:pt x="3432" y="1479"/>
                </a:lnTo>
                <a:lnTo>
                  <a:pt x="3439" y="1481"/>
                </a:lnTo>
                <a:lnTo>
                  <a:pt x="3447" y="1483"/>
                </a:lnTo>
                <a:lnTo>
                  <a:pt x="3453" y="1485"/>
                </a:lnTo>
                <a:lnTo>
                  <a:pt x="3461" y="1487"/>
                </a:lnTo>
                <a:lnTo>
                  <a:pt x="3468" y="1487"/>
                </a:lnTo>
                <a:lnTo>
                  <a:pt x="3494" y="1475"/>
                </a:lnTo>
                <a:lnTo>
                  <a:pt x="3507" y="1475"/>
                </a:lnTo>
                <a:lnTo>
                  <a:pt x="3522" y="1475"/>
                </a:lnTo>
                <a:lnTo>
                  <a:pt x="3522" y="1483"/>
                </a:lnTo>
                <a:lnTo>
                  <a:pt x="3524" y="1490"/>
                </a:lnTo>
                <a:lnTo>
                  <a:pt x="3526" y="1496"/>
                </a:lnTo>
                <a:lnTo>
                  <a:pt x="3528" y="1501"/>
                </a:lnTo>
                <a:lnTo>
                  <a:pt x="3535" y="1510"/>
                </a:lnTo>
                <a:lnTo>
                  <a:pt x="3541" y="1518"/>
                </a:lnTo>
                <a:lnTo>
                  <a:pt x="3720" y="1518"/>
                </a:lnTo>
                <a:lnTo>
                  <a:pt x="3721" y="1510"/>
                </a:lnTo>
                <a:lnTo>
                  <a:pt x="3720" y="1501"/>
                </a:lnTo>
                <a:lnTo>
                  <a:pt x="3718" y="1494"/>
                </a:lnTo>
                <a:lnTo>
                  <a:pt x="3716" y="1488"/>
                </a:lnTo>
                <a:lnTo>
                  <a:pt x="3713" y="1482"/>
                </a:lnTo>
                <a:lnTo>
                  <a:pt x="3708" y="1477"/>
                </a:lnTo>
                <a:lnTo>
                  <a:pt x="3704" y="1472"/>
                </a:lnTo>
                <a:lnTo>
                  <a:pt x="3699" y="1467"/>
                </a:lnTo>
                <a:lnTo>
                  <a:pt x="3691" y="1459"/>
                </a:lnTo>
                <a:lnTo>
                  <a:pt x="3682" y="1449"/>
                </a:lnTo>
                <a:lnTo>
                  <a:pt x="3679" y="1443"/>
                </a:lnTo>
                <a:lnTo>
                  <a:pt x="3676" y="1438"/>
                </a:lnTo>
                <a:lnTo>
                  <a:pt x="3674" y="1432"/>
                </a:lnTo>
                <a:lnTo>
                  <a:pt x="3674" y="1426"/>
                </a:lnTo>
                <a:lnTo>
                  <a:pt x="3674" y="1418"/>
                </a:lnTo>
                <a:lnTo>
                  <a:pt x="3674" y="1411"/>
                </a:lnTo>
                <a:lnTo>
                  <a:pt x="3674" y="1404"/>
                </a:lnTo>
                <a:lnTo>
                  <a:pt x="3674" y="1395"/>
                </a:lnTo>
                <a:lnTo>
                  <a:pt x="3687" y="1388"/>
                </a:lnTo>
                <a:lnTo>
                  <a:pt x="3880" y="1426"/>
                </a:lnTo>
                <a:lnTo>
                  <a:pt x="3883" y="1437"/>
                </a:lnTo>
                <a:lnTo>
                  <a:pt x="3886" y="1446"/>
                </a:lnTo>
                <a:lnTo>
                  <a:pt x="3890" y="1456"/>
                </a:lnTo>
                <a:lnTo>
                  <a:pt x="3895" y="1464"/>
                </a:lnTo>
                <a:lnTo>
                  <a:pt x="3900" y="1472"/>
                </a:lnTo>
                <a:lnTo>
                  <a:pt x="3906" y="1478"/>
                </a:lnTo>
                <a:lnTo>
                  <a:pt x="3914" y="1484"/>
                </a:lnTo>
                <a:lnTo>
                  <a:pt x="3920" y="1489"/>
                </a:lnTo>
                <a:lnTo>
                  <a:pt x="3929" y="1493"/>
                </a:lnTo>
                <a:lnTo>
                  <a:pt x="3938" y="1496"/>
                </a:lnTo>
                <a:lnTo>
                  <a:pt x="3948" y="1499"/>
                </a:lnTo>
                <a:lnTo>
                  <a:pt x="3957" y="1502"/>
                </a:lnTo>
                <a:lnTo>
                  <a:pt x="3968" y="1504"/>
                </a:lnTo>
                <a:lnTo>
                  <a:pt x="3981" y="1505"/>
                </a:lnTo>
                <a:lnTo>
                  <a:pt x="3993" y="1506"/>
                </a:lnTo>
                <a:lnTo>
                  <a:pt x="4006" y="1506"/>
                </a:lnTo>
                <a:lnTo>
                  <a:pt x="4018" y="1506"/>
                </a:lnTo>
                <a:lnTo>
                  <a:pt x="4029" y="1502"/>
                </a:lnTo>
                <a:lnTo>
                  <a:pt x="4039" y="1500"/>
                </a:lnTo>
                <a:lnTo>
                  <a:pt x="4050" y="1496"/>
                </a:lnTo>
                <a:lnTo>
                  <a:pt x="4060" y="1493"/>
                </a:lnTo>
                <a:lnTo>
                  <a:pt x="4069" y="1490"/>
                </a:lnTo>
                <a:lnTo>
                  <a:pt x="4080" y="1488"/>
                </a:lnTo>
                <a:lnTo>
                  <a:pt x="4093" y="1487"/>
                </a:lnTo>
                <a:lnTo>
                  <a:pt x="4108" y="1488"/>
                </a:lnTo>
                <a:lnTo>
                  <a:pt x="4123" y="1490"/>
                </a:lnTo>
                <a:lnTo>
                  <a:pt x="4136" y="1492"/>
                </a:lnTo>
                <a:lnTo>
                  <a:pt x="4150" y="1496"/>
                </a:lnTo>
                <a:lnTo>
                  <a:pt x="4162" y="1500"/>
                </a:lnTo>
                <a:lnTo>
                  <a:pt x="4173" y="1506"/>
                </a:lnTo>
                <a:lnTo>
                  <a:pt x="4184" y="1511"/>
                </a:lnTo>
                <a:lnTo>
                  <a:pt x="4195" y="1517"/>
                </a:lnTo>
                <a:lnTo>
                  <a:pt x="4214" y="1528"/>
                </a:lnTo>
                <a:lnTo>
                  <a:pt x="4233" y="1539"/>
                </a:lnTo>
                <a:lnTo>
                  <a:pt x="4243" y="1544"/>
                </a:lnTo>
                <a:lnTo>
                  <a:pt x="4253" y="1548"/>
                </a:lnTo>
                <a:lnTo>
                  <a:pt x="4262" y="1552"/>
                </a:lnTo>
                <a:lnTo>
                  <a:pt x="4272" y="1555"/>
                </a:lnTo>
                <a:lnTo>
                  <a:pt x="4306" y="1555"/>
                </a:lnTo>
                <a:lnTo>
                  <a:pt x="4334" y="1555"/>
                </a:lnTo>
                <a:lnTo>
                  <a:pt x="4358" y="1555"/>
                </a:lnTo>
                <a:lnTo>
                  <a:pt x="4378" y="1555"/>
                </a:lnTo>
                <a:lnTo>
                  <a:pt x="4396" y="1555"/>
                </a:lnTo>
                <a:lnTo>
                  <a:pt x="4412" y="1555"/>
                </a:lnTo>
                <a:lnTo>
                  <a:pt x="4427" y="1555"/>
                </a:lnTo>
                <a:lnTo>
                  <a:pt x="4445" y="1555"/>
                </a:lnTo>
                <a:lnTo>
                  <a:pt x="4455" y="1554"/>
                </a:lnTo>
                <a:lnTo>
                  <a:pt x="4464" y="1553"/>
                </a:lnTo>
                <a:lnTo>
                  <a:pt x="4470" y="1550"/>
                </a:lnTo>
                <a:lnTo>
                  <a:pt x="4476" y="1547"/>
                </a:lnTo>
                <a:lnTo>
                  <a:pt x="4480" y="1544"/>
                </a:lnTo>
                <a:lnTo>
                  <a:pt x="4485" y="1539"/>
                </a:lnTo>
                <a:lnTo>
                  <a:pt x="4488" y="1535"/>
                </a:lnTo>
                <a:lnTo>
                  <a:pt x="4490" y="1530"/>
                </a:lnTo>
                <a:lnTo>
                  <a:pt x="4495" y="1522"/>
                </a:lnTo>
                <a:lnTo>
                  <a:pt x="4503" y="1514"/>
                </a:lnTo>
                <a:lnTo>
                  <a:pt x="4509" y="1511"/>
                </a:lnTo>
                <a:lnTo>
                  <a:pt x="4514" y="1508"/>
                </a:lnTo>
                <a:lnTo>
                  <a:pt x="4522" y="1507"/>
                </a:lnTo>
                <a:lnTo>
                  <a:pt x="4531" y="1506"/>
                </a:lnTo>
                <a:lnTo>
                  <a:pt x="4554" y="1507"/>
                </a:lnTo>
                <a:lnTo>
                  <a:pt x="4577" y="1509"/>
                </a:lnTo>
                <a:lnTo>
                  <a:pt x="4599" y="1512"/>
                </a:lnTo>
                <a:lnTo>
                  <a:pt x="4620" y="1515"/>
                </a:lnTo>
                <a:lnTo>
                  <a:pt x="4651" y="1522"/>
                </a:lnTo>
                <a:lnTo>
                  <a:pt x="4663" y="1524"/>
                </a:lnTo>
                <a:lnTo>
                  <a:pt x="4678" y="1524"/>
                </a:lnTo>
                <a:lnTo>
                  <a:pt x="4690" y="1524"/>
                </a:lnTo>
                <a:lnTo>
                  <a:pt x="4700" y="1524"/>
                </a:lnTo>
                <a:lnTo>
                  <a:pt x="4711" y="1524"/>
                </a:lnTo>
                <a:lnTo>
                  <a:pt x="4718" y="1524"/>
                </a:lnTo>
                <a:lnTo>
                  <a:pt x="4727" y="1521"/>
                </a:lnTo>
                <a:lnTo>
                  <a:pt x="4737" y="1518"/>
                </a:lnTo>
                <a:lnTo>
                  <a:pt x="4746" y="1513"/>
                </a:lnTo>
                <a:lnTo>
                  <a:pt x="4755" y="1508"/>
                </a:lnTo>
                <a:lnTo>
                  <a:pt x="4763" y="1501"/>
                </a:lnTo>
                <a:lnTo>
                  <a:pt x="4771" y="1494"/>
                </a:lnTo>
                <a:lnTo>
                  <a:pt x="4777" y="1487"/>
                </a:lnTo>
                <a:lnTo>
                  <a:pt x="4771" y="1484"/>
                </a:lnTo>
                <a:lnTo>
                  <a:pt x="4766" y="1481"/>
                </a:lnTo>
                <a:lnTo>
                  <a:pt x="4760" y="1476"/>
                </a:lnTo>
                <a:lnTo>
                  <a:pt x="4756" y="1471"/>
                </a:lnTo>
                <a:lnTo>
                  <a:pt x="4750" y="1465"/>
                </a:lnTo>
                <a:lnTo>
                  <a:pt x="4747" y="1458"/>
                </a:lnTo>
                <a:lnTo>
                  <a:pt x="4745" y="1452"/>
                </a:lnTo>
                <a:lnTo>
                  <a:pt x="4744" y="1444"/>
                </a:lnTo>
                <a:lnTo>
                  <a:pt x="4745" y="1435"/>
                </a:lnTo>
                <a:lnTo>
                  <a:pt x="4747" y="1428"/>
                </a:lnTo>
                <a:lnTo>
                  <a:pt x="4750" y="1422"/>
                </a:lnTo>
                <a:lnTo>
                  <a:pt x="4754" y="1417"/>
                </a:lnTo>
                <a:lnTo>
                  <a:pt x="4757" y="1411"/>
                </a:lnTo>
                <a:lnTo>
                  <a:pt x="4760" y="1405"/>
                </a:lnTo>
                <a:lnTo>
                  <a:pt x="4762" y="1398"/>
                </a:lnTo>
                <a:lnTo>
                  <a:pt x="4763" y="1388"/>
                </a:lnTo>
                <a:lnTo>
                  <a:pt x="4763" y="1382"/>
                </a:lnTo>
                <a:lnTo>
                  <a:pt x="4761" y="1377"/>
                </a:lnTo>
                <a:lnTo>
                  <a:pt x="4759" y="1372"/>
                </a:lnTo>
                <a:lnTo>
                  <a:pt x="4756" y="1369"/>
                </a:lnTo>
                <a:lnTo>
                  <a:pt x="4747" y="1363"/>
                </a:lnTo>
                <a:lnTo>
                  <a:pt x="4737" y="1359"/>
                </a:lnTo>
                <a:lnTo>
                  <a:pt x="4727" y="1355"/>
                </a:lnTo>
                <a:lnTo>
                  <a:pt x="4718" y="1350"/>
                </a:lnTo>
                <a:lnTo>
                  <a:pt x="4715" y="1347"/>
                </a:lnTo>
                <a:lnTo>
                  <a:pt x="4713" y="1343"/>
                </a:lnTo>
                <a:lnTo>
                  <a:pt x="4711" y="1339"/>
                </a:lnTo>
                <a:lnTo>
                  <a:pt x="4711" y="1333"/>
                </a:lnTo>
                <a:lnTo>
                  <a:pt x="4711" y="1324"/>
                </a:lnTo>
                <a:lnTo>
                  <a:pt x="4711" y="1315"/>
                </a:lnTo>
                <a:lnTo>
                  <a:pt x="4830" y="1297"/>
                </a:lnTo>
                <a:lnTo>
                  <a:pt x="4869" y="1307"/>
                </a:lnTo>
                <a:lnTo>
                  <a:pt x="4898" y="1315"/>
                </a:lnTo>
                <a:lnTo>
                  <a:pt x="4928" y="1322"/>
                </a:lnTo>
                <a:lnTo>
                  <a:pt x="4963" y="1333"/>
                </a:lnTo>
                <a:lnTo>
                  <a:pt x="4974" y="1338"/>
                </a:lnTo>
                <a:lnTo>
                  <a:pt x="4985" y="1343"/>
                </a:lnTo>
                <a:lnTo>
                  <a:pt x="4995" y="1349"/>
                </a:lnTo>
                <a:lnTo>
                  <a:pt x="5005" y="1356"/>
                </a:lnTo>
                <a:lnTo>
                  <a:pt x="5021" y="1371"/>
                </a:lnTo>
                <a:lnTo>
                  <a:pt x="5038" y="1386"/>
                </a:lnTo>
                <a:lnTo>
                  <a:pt x="5046" y="1395"/>
                </a:lnTo>
                <a:lnTo>
                  <a:pt x="5054" y="1402"/>
                </a:lnTo>
                <a:lnTo>
                  <a:pt x="5063" y="1408"/>
                </a:lnTo>
                <a:lnTo>
                  <a:pt x="5073" y="1414"/>
                </a:lnTo>
                <a:lnTo>
                  <a:pt x="5084" y="1419"/>
                </a:lnTo>
                <a:lnTo>
                  <a:pt x="5095" y="1423"/>
                </a:lnTo>
                <a:lnTo>
                  <a:pt x="5108" y="1425"/>
                </a:lnTo>
                <a:lnTo>
                  <a:pt x="5122" y="1426"/>
                </a:lnTo>
                <a:lnTo>
                  <a:pt x="5127" y="1438"/>
                </a:lnTo>
                <a:lnTo>
                  <a:pt x="5132" y="1449"/>
                </a:lnTo>
                <a:lnTo>
                  <a:pt x="5139" y="1459"/>
                </a:lnTo>
                <a:lnTo>
                  <a:pt x="5148" y="1468"/>
                </a:lnTo>
                <a:lnTo>
                  <a:pt x="5156" y="1476"/>
                </a:lnTo>
                <a:lnTo>
                  <a:pt x="5166" y="1484"/>
                </a:lnTo>
                <a:lnTo>
                  <a:pt x="5176" y="1490"/>
                </a:lnTo>
                <a:lnTo>
                  <a:pt x="5188" y="1496"/>
                </a:lnTo>
                <a:lnTo>
                  <a:pt x="5199" y="1502"/>
                </a:lnTo>
                <a:lnTo>
                  <a:pt x="5211" y="1508"/>
                </a:lnTo>
                <a:lnTo>
                  <a:pt x="5225" y="1512"/>
                </a:lnTo>
                <a:lnTo>
                  <a:pt x="5237" y="1516"/>
                </a:lnTo>
                <a:lnTo>
                  <a:pt x="5263" y="1524"/>
                </a:lnTo>
                <a:lnTo>
                  <a:pt x="5288" y="1530"/>
                </a:lnTo>
                <a:lnTo>
                  <a:pt x="5303" y="1536"/>
                </a:lnTo>
                <a:lnTo>
                  <a:pt x="5317" y="1542"/>
                </a:lnTo>
                <a:lnTo>
                  <a:pt x="5330" y="1550"/>
                </a:lnTo>
                <a:lnTo>
                  <a:pt x="5342" y="1558"/>
                </a:lnTo>
                <a:lnTo>
                  <a:pt x="5365" y="1577"/>
                </a:lnTo>
                <a:lnTo>
                  <a:pt x="5388" y="1595"/>
                </a:lnTo>
                <a:lnTo>
                  <a:pt x="5399" y="1604"/>
                </a:lnTo>
                <a:lnTo>
                  <a:pt x="5410" y="1612"/>
                </a:lnTo>
                <a:lnTo>
                  <a:pt x="5422" y="1621"/>
                </a:lnTo>
                <a:lnTo>
                  <a:pt x="5434" y="1628"/>
                </a:lnTo>
                <a:lnTo>
                  <a:pt x="5446" y="1633"/>
                </a:lnTo>
                <a:lnTo>
                  <a:pt x="5460" y="1638"/>
                </a:lnTo>
                <a:lnTo>
                  <a:pt x="5473" y="1640"/>
                </a:lnTo>
                <a:lnTo>
                  <a:pt x="5488" y="1641"/>
                </a:lnTo>
                <a:lnTo>
                  <a:pt x="5497" y="1641"/>
                </a:lnTo>
                <a:lnTo>
                  <a:pt x="5506" y="1640"/>
                </a:lnTo>
                <a:lnTo>
                  <a:pt x="5514" y="1638"/>
                </a:lnTo>
                <a:lnTo>
                  <a:pt x="5522" y="1635"/>
                </a:lnTo>
                <a:lnTo>
                  <a:pt x="5536" y="1628"/>
                </a:lnTo>
                <a:lnTo>
                  <a:pt x="5551" y="1620"/>
                </a:lnTo>
                <a:lnTo>
                  <a:pt x="5565" y="1611"/>
                </a:lnTo>
                <a:lnTo>
                  <a:pt x="5579" y="1605"/>
                </a:lnTo>
                <a:lnTo>
                  <a:pt x="5587" y="1602"/>
                </a:lnTo>
                <a:lnTo>
                  <a:pt x="5596" y="1600"/>
                </a:lnTo>
                <a:lnTo>
                  <a:pt x="5604" y="1599"/>
                </a:lnTo>
                <a:lnTo>
                  <a:pt x="5614" y="1598"/>
                </a:lnTo>
                <a:lnTo>
                  <a:pt x="5621" y="1599"/>
                </a:lnTo>
                <a:lnTo>
                  <a:pt x="5626" y="1601"/>
                </a:lnTo>
                <a:lnTo>
                  <a:pt x="5631" y="1604"/>
                </a:lnTo>
                <a:lnTo>
                  <a:pt x="5635" y="1607"/>
                </a:lnTo>
                <a:lnTo>
                  <a:pt x="5642" y="1613"/>
                </a:lnTo>
                <a:lnTo>
                  <a:pt x="5647" y="1617"/>
                </a:lnTo>
                <a:lnTo>
                  <a:pt x="5647" y="1629"/>
                </a:lnTo>
                <a:lnTo>
                  <a:pt x="5647" y="1638"/>
                </a:lnTo>
                <a:lnTo>
                  <a:pt x="5647" y="1645"/>
                </a:lnTo>
                <a:lnTo>
                  <a:pt x="5647" y="1654"/>
                </a:lnTo>
                <a:lnTo>
                  <a:pt x="5647" y="1662"/>
                </a:lnTo>
                <a:lnTo>
                  <a:pt x="5649" y="1672"/>
                </a:lnTo>
                <a:lnTo>
                  <a:pt x="5652" y="1679"/>
                </a:lnTo>
                <a:lnTo>
                  <a:pt x="5655" y="1686"/>
                </a:lnTo>
                <a:lnTo>
                  <a:pt x="5659" y="1693"/>
                </a:lnTo>
                <a:lnTo>
                  <a:pt x="5664" y="1699"/>
                </a:lnTo>
                <a:lnTo>
                  <a:pt x="5668" y="1704"/>
                </a:lnTo>
                <a:lnTo>
                  <a:pt x="5674" y="1709"/>
                </a:lnTo>
                <a:lnTo>
                  <a:pt x="5674" y="1790"/>
                </a:lnTo>
                <a:lnTo>
                  <a:pt x="5666" y="1791"/>
                </a:lnTo>
                <a:lnTo>
                  <a:pt x="5657" y="1792"/>
                </a:lnTo>
                <a:lnTo>
                  <a:pt x="5649" y="1792"/>
                </a:lnTo>
                <a:lnTo>
                  <a:pt x="5641" y="1792"/>
                </a:lnTo>
                <a:lnTo>
                  <a:pt x="5623" y="1790"/>
                </a:lnTo>
                <a:lnTo>
                  <a:pt x="5608" y="1790"/>
                </a:lnTo>
                <a:lnTo>
                  <a:pt x="5604" y="1790"/>
                </a:lnTo>
                <a:lnTo>
                  <a:pt x="5602" y="1792"/>
                </a:lnTo>
                <a:lnTo>
                  <a:pt x="5600" y="1794"/>
                </a:lnTo>
                <a:lnTo>
                  <a:pt x="5598" y="1796"/>
                </a:lnTo>
                <a:lnTo>
                  <a:pt x="5595" y="1802"/>
                </a:lnTo>
                <a:lnTo>
                  <a:pt x="5593" y="1808"/>
                </a:lnTo>
                <a:lnTo>
                  <a:pt x="5595" y="1818"/>
                </a:lnTo>
                <a:lnTo>
                  <a:pt x="5597" y="1827"/>
                </a:lnTo>
                <a:lnTo>
                  <a:pt x="5600" y="1835"/>
                </a:lnTo>
                <a:lnTo>
                  <a:pt x="5604" y="1844"/>
                </a:lnTo>
                <a:lnTo>
                  <a:pt x="5609" y="1852"/>
                </a:lnTo>
                <a:lnTo>
                  <a:pt x="5614" y="1859"/>
                </a:lnTo>
                <a:lnTo>
                  <a:pt x="5620" y="1865"/>
                </a:lnTo>
                <a:lnTo>
                  <a:pt x="5626" y="1871"/>
                </a:lnTo>
                <a:lnTo>
                  <a:pt x="5637" y="1881"/>
                </a:lnTo>
                <a:lnTo>
                  <a:pt x="5647" y="1890"/>
                </a:lnTo>
                <a:lnTo>
                  <a:pt x="5651" y="1896"/>
                </a:lnTo>
                <a:lnTo>
                  <a:pt x="5653" y="1899"/>
                </a:lnTo>
                <a:lnTo>
                  <a:pt x="5654" y="1903"/>
                </a:lnTo>
                <a:lnTo>
                  <a:pt x="5654" y="1907"/>
                </a:lnTo>
                <a:lnTo>
                  <a:pt x="5747" y="1919"/>
                </a:lnTo>
                <a:lnTo>
                  <a:pt x="5754" y="1918"/>
                </a:lnTo>
                <a:lnTo>
                  <a:pt x="5761" y="1917"/>
                </a:lnTo>
                <a:lnTo>
                  <a:pt x="5768" y="1915"/>
                </a:lnTo>
                <a:lnTo>
                  <a:pt x="5775" y="1912"/>
                </a:lnTo>
                <a:lnTo>
                  <a:pt x="5780" y="1908"/>
                </a:lnTo>
                <a:lnTo>
                  <a:pt x="5786" y="1904"/>
                </a:lnTo>
                <a:lnTo>
                  <a:pt x="5792" y="1899"/>
                </a:lnTo>
                <a:lnTo>
                  <a:pt x="5797" y="1892"/>
                </a:lnTo>
                <a:lnTo>
                  <a:pt x="5807" y="1880"/>
                </a:lnTo>
                <a:lnTo>
                  <a:pt x="5815" y="1865"/>
                </a:lnTo>
                <a:lnTo>
                  <a:pt x="5823" y="1850"/>
                </a:lnTo>
                <a:lnTo>
                  <a:pt x="5830" y="1832"/>
                </a:lnTo>
                <a:lnTo>
                  <a:pt x="5835" y="1815"/>
                </a:lnTo>
                <a:lnTo>
                  <a:pt x="5841" y="1797"/>
                </a:lnTo>
                <a:lnTo>
                  <a:pt x="5845" y="1779"/>
                </a:lnTo>
                <a:lnTo>
                  <a:pt x="5847" y="1763"/>
                </a:lnTo>
                <a:lnTo>
                  <a:pt x="5852" y="1733"/>
                </a:lnTo>
                <a:lnTo>
                  <a:pt x="5853" y="1709"/>
                </a:lnTo>
                <a:lnTo>
                  <a:pt x="5853" y="1694"/>
                </a:lnTo>
                <a:lnTo>
                  <a:pt x="5853" y="1677"/>
                </a:lnTo>
                <a:lnTo>
                  <a:pt x="5853" y="1657"/>
                </a:lnTo>
                <a:lnTo>
                  <a:pt x="5853" y="1635"/>
                </a:lnTo>
                <a:lnTo>
                  <a:pt x="5853" y="1623"/>
                </a:lnTo>
                <a:lnTo>
                  <a:pt x="5853" y="1612"/>
                </a:lnTo>
                <a:lnTo>
                  <a:pt x="5855" y="1607"/>
                </a:lnTo>
                <a:lnTo>
                  <a:pt x="5858" y="1604"/>
                </a:lnTo>
                <a:lnTo>
                  <a:pt x="5865" y="1601"/>
                </a:lnTo>
                <a:lnTo>
                  <a:pt x="5873" y="1598"/>
                </a:lnTo>
                <a:lnTo>
                  <a:pt x="5873" y="1568"/>
                </a:lnTo>
                <a:lnTo>
                  <a:pt x="5867" y="1564"/>
                </a:lnTo>
                <a:lnTo>
                  <a:pt x="5859" y="1558"/>
                </a:lnTo>
                <a:lnTo>
                  <a:pt x="5850" y="1551"/>
                </a:lnTo>
                <a:lnTo>
                  <a:pt x="5843" y="1543"/>
                </a:lnTo>
                <a:lnTo>
                  <a:pt x="5835" y="1534"/>
                </a:lnTo>
                <a:lnTo>
                  <a:pt x="5830" y="1525"/>
                </a:lnTo>
                <a:lnTo>
                  <a:pt x="5827" y="1520"/>
                </a:lnTo>
                <a:lnTo>
                  <a:pt x="5826" y="1516"/>
                </a:lnTo>
                <a:lnTo>
                  <a:pt x="5826" y="1511"/>
                </a:lnTo>
                <a:lnTo>
                  <a:pt x="5826" y="1506"/>
                </a:lnTo>
                <a:lnTo>
                  <a:pt x="5816" y="1498"/>
                </a:lnTo>
                <a:lnTo>
                  <a:pt x="5808" y="1490"/>
                </a:lnTo>
                <a:lnTo>
                  <a:pt x="5799" y="1481"/>
                </a:lnTo>
                <a:lnTo>
                  <a:pt x="5791" y="1472"/>
                </a:lnTo>
                <a:lnTo>
                  <a:pt x="5776" y="1451"/>
                </a:lnTo>
                <a:lnTo>
                  <a:pt x="5761" y="1428"/>
                </a:lnTo>
                <a:lnTo>
                  <a:pt x="5748" y="1404"/>
                </a:lnTo>
                <a:lnTo>
                  <a:pt x="5735" y="1378"/>
                </a:lnTo>
                <a:lnTo>
                  <a:pt x="5721" y="1353"/>
                </a:lnTo>
                <a:lnTo>
                  <a:pt x="5707" y="1327"/>
                </a:lnTo>
                <a:lnTo>
                  <a:pt x="5700" y="1316"/>
                </a:lnTo>
                <a:lnTo>
                  <a:pt x="5692" y="1307"/>
                </a:lnTo>
                <a:lnTo>
                  <a:pt x="5684" y="1299"/>
                </a:lnTo>
                <a:lnTo>
                  <a:pt x="5674" y="1291"/>
                </a:lnTo>
                <a:lnTo>
                  <a:pt x="5664" y="1285"/>
                </a:lnTo>
                <a:lnTo>
                  <a:pt x="5652" y="1279"/>
                </a:lnTo>
                <a:lnTo>
                  <a:pt x="5640" y="1274"/>
                </a:lnTo>
                <a:lnTo>
                  <a:pt x="5628" y="1270"/>
                </a:lnTo>
                <a:lnTo>
                  <a:pt x="5600" y="1263"/>
                </a:lnTo>
                <a:lnTo>
                  <a:pt x="5570" y="1256"/>
                </a:lnTo>
                <a:lnTo>
                  <a:pt x="5540" y="1249"/>
                </a:lnTo>
                <a:lnTo>
                  <a:pt x="5508" y="1241"/>
                </a:lnTo>
                <a:lnTo>
                  <a:pt x="5503" y="1252"/>
                </a:lnTo>
                <a:lnTo>
                  <a:pt x="5500" y="1265"/>
                </a:lnTo>
                <a:lnTo>
                  <a:pt x="5498" y="1272"/>
                </a:lnTo>
                <a:lnTo>
                  <a:pt x="5496" y="1279"/>
                </a:lnTo>
                <a:lnTo>
                  <a:pt x="5492" y="1285"/>
                </a:lnTo>
                <a:lnTo>
                  <a:pt x="5488" y="1291"/>
                </a:lnTo>
                <a:lnTo>
                  <a:pt x="5483" y="1284"/>
                </a:lnTo>
                <a:lnTo>
                  <a:pt x="5476" y="1278"/>
                </a:lnTo>
                <a:lnTo>
                  <a:pt x="5469" y="1275"/>
                </a:lnTo>
                <a:lnTo>
                  <a:pt x="5462" y="1272"/>
                </a:lnTo>
                <a:lnTo>
                  <a:pt x="5446" y="1267"/>
                </a:lnTo>
                <a:lnTo>
                  <a:pt x="5431" y="1264"/>
                </a:lnTo>
                <a:lnTo>
                  <a:pt x="5423" y="1262"/>
                </a:lnTo>
                <a:lnTo>
                  <a:pt x="5417" y="1260"/>
                </a:lnTo>
                <a:lnTo>
                  <a:pt x="5411" y="1257"/>
                </a:lnTo>
                <a:lnTo>
                  <a:pt x="5406" y="1254"/>
                </a:lnTo>
                <a:lnTo>
                  <a:pt x="5401" y="1249"/>
                </a:lnTo>
                <a:lnTo>
                  <a:pt x="5398" y="1244"/>
                </a:lnTo>
                <a:lnTo>
                  <a:pt x="5396" y="1237"/>
                </a:lnTo>
                <a:lnTo>
                  <a:pt x="5395" y="1229"/>
                </a:lnTo>
                <a:lnTo>
                  <a:pt x="5378" y="1226"/>
                </a:lnTo>
                <a:lnTo>
                  <a:pt x="5341" y="1218"/>
                </a:lnTo>
                <a:lnTo>
                  <a:pt x="5322" y="1214"/>
                </a:lnTo>
                <a:lnTo>
                  <a:pt x="5305" y="1210"/>
                </a:lnTo>
                <a:lnTo>
                  <a:pt x="5293" y="1207"/>
                </a:lnTo>
                <a:lnTo>
                  <a:pt x="5288" y="1204"/>
                </a:lnTo>
                <a:lnTo>
                  <a:pt x="5289" y="1197"/>
                </a:lnTo>
                <a:lnTo>
                  <a:pt x="5293" y="1191"/>
                </a:lnTo>
                <a:lnTo>
                  <a:pt x="5298" y="1185"/>
                </a:lnTo>
                <a:lnTo>
                  <a:pt x="5304" y="1180"/>
                </a:lnTo>
                <a:lnTo>
                  <a:pt x="5319" y="1167"/>
                </a:lnTo>
                <a:lnTo>
                  <a:pt x="5334" y="1154"/>
                </a:lnTo>
                <a:lnTo>
                  <a:pt x="5331" y="1147"/>
                </a:lnTo>
                <a:lnTo>
                  <a:pt x="5329" y="1140"/>
                </a:lnTo>
                <a:lnTo>
                  <a:pt x="5328" y="1132"/>
                </a:lnTo>
                <a:lnTo>
                  <a:pt x="5329" y="1125"/>
                </a:lnTo>
                <a:lnTo>
                  <a:pt x="5331" y="1117"/>
                </a:lnTo>
                <a:lnTo>
                  <a:pt x="5334" y="1108"/>
                </a:lnTo>
                <a:lnTo>
                  <a:pt x="5339" y="1100"/>
                </a:lnTo>
                <a:lnTo>
                  <a:pt x="5343" y="1092"/>
                </a:lnTo>
                <a:lnTo>
                  <a:pt x="5365" y="1064"/>
                </a:lnTo>
                <a:lnTo>
                  <a:pt x="5382" y="1043"/>
                </a:lnTo>
                <a:lnTo>
                  <a:pt x="5382" y="964"/>
                </a:lnTo>
                <a:lnTo>
                  <a:pt x="5388" y="962"/>
                </a:lnTo>
                <a:lnTo>
                  <a:pt x="5396" y="961"/>
                </a:lnTo>
                <a:lnTo>
                  <a:pt x="5402" y="961"/>
                </a:lnTo>
                <a:lnTo>
                  <a:pt x="5409" y="962"/>
                </a:lnTo>
                <a:lnTo>
                  <a:pt x="5423" y="963"/>
                </a:lnTo>
                <a:lnTo>
                  <a:pt x="5441" y="964"/>
                </a:lnTo>
                <a:lnTo>
                  <a:pt x="5465" y="964"/>
                </a:lnTo>
                <a:lnTo>
                  <a:pt x="5492" y="966"/>
                </a:lnTo>
                <a:lnTo>
                  <a:pt x="5521" y="968"/>
                </a:lnTo>
                <a:lnTo>
                  <a:pt x="5552" y="970"/>
                </a:lnTo>
                <a:lnTo>
                  <a:pt x="5583" y="972"/>
                </a:lnTo>
                <a:lnTo>
                  <a:pt x="5612" y="974"/>
                </a:lnTo>
                <a:lnTo>
                  <a:pt x="5641" y="975"/>
                </a:lnTo>
                <a:lnTo>
                  <a:pt x="5667" y="976"/>
                </a:lnTo>
                <a:lnTo>
                  <a:pt x="5671" y="975"/>
                </a:lnTo>
                <a:lnTo>
                  <a:pt x="5677" y="972"/>
                </a:lnTo>
                <a:lnTo>
                  <a:pt x="5682" y="968"/>
                </a:lnTo>
                <a:lnTo>
                  <a:pt x="5687" y="964"/>
                </a:lnTo>
                <a:lnTo>
                  <a:pt x="5674" y="945"/>
                </a:lnTo>
                <a:lnTo>
                  <a:pt x="5807" y="945"/>
                </a:lnTo>
                <a:lnTo>
                  <a:pt x="5809" y="949"/>
                </a:lnTo>
                <a:lnTo>
                  <a:pt x="5816" y="955"/>
                </a:lnTo>
                <a:lnTo>
                  <a:pt x="5825" y="962"/>
                </a:lnTo>
                <a:lnTo>
                  <a:pt x="5836" y="969"/>
                </a:lnTo>
                <a:lnTo>
                  <a:pt x="5857" y="982"/>
                </a:lnTo>
                <a:lnTo>
                  <a:pt x="5867" y="988"/>
                </a:lnTo>
                <a:lnTo>
                  <a:pt x="5871" y="988"/>
                </a:lnTo>
                <a:lnTo>
                  <a:pt x="5875" y="987"/>
                </a:lnTo>
                <a:lnTo>
                  <a:pt x="5878" y="985"/>
                </a:lnTo>
                <a:lnTo>
                  <a:pt x="5880" y="983"/>
                </a:lnTo>
                <a:lnTo>
                  <a:pt x="5884" y="979"/>
                </a:lnTo>
                <a:lnTo>
                  <a:pt x="5888" y="973"/>
                </a:lnTo>
                <a:lnTo>
                  <a:pt x="5892" y="967"/>
                </a:lnTo>
                <a:lnTo>
                  <a:pt x="5898" y="963"/>
                </a:lnTo>
                <a:lnTo>
                  <a:pt x="5902" y="961"/>
                </a:lnTo>
                <a:lnTo>
                  <a:pt x="5906" y="959"/>
                </a:lnTo>
                <a:lnTo>
                  <a:pt x="5913" y="958"/>
                </a:lnTo>
                <a:lnTo>
                  <a:pt x="5920" y="958"/>
                </a:lnTo>
                <a:lnTo>
                  <a:pt x="5911" y="954"/>
                </a:lnTo>
                <a:lnTo>
                  <a:pt x="5904" y="950"/>
                </a:lnTo>
                <a:lnTo>
                  <a:pt x="5900" y="945"/>
                </a:lnTo>
                <a:lnTo>
                  <a:pt x="5897" y="941"/>
                </a:lnTo>
                <a:lnTo>
                  <a:pt x="5894" y="935"/>
                </a:lnTo>
                <a:lnTo>
                  <a:pt x="5893" y="927"/>
                </a:lnTo>
                <a:lnTo>
                  <a:pt x="5893" y="916"/>
                </a:lnTo>
                <a:lnTo>
                  <a:pt x="5893" y="902"/>
                </a:lnTo>
                <a:lnTo>
                  <a:pt x="5893" y="886"/>
                </a:lnTo>
                <a:lnTo>
                  <a:pt x="5894" y="871"/>
                </a:lnTo>
                <a:lnTo>
                  <a:pt x="5897" y="858"/>
                </a:lnTo>
                <a:lnTo>
                  <a:pt x="5900" y="846"/>
                </a:lnTo>
                <a:lnTo>
                  <a:pt x="5902" y="841"/>
                </a:lnTo>
                <a:lnTo>
                  <a:pt x="5904" y="835"/>
                </a:lnTo>
                <a:lnTo>
                  <a:pt x="5906" y="831"/>
                </a:lnTo>
                <a:lnTo>
                  <a:pt x="5910" y="828"/>
                </a:lnTo>
                <a:lnTo>
                  <a:pt x="5913" y="825"/>
                </a:lnTo>
                <a:lnTo>
                  <a:pt x="5917" y="823"/>
                </a:lnTo>
                <a:lnTo>
                  <a:pt x="5922" y="822"/>
                </a:lnTo>
                <a:lnTo>
                  <a:pt x="5926" y="822"/>
                </a:lnTo>
                <a:lnTo>
                  <a:pt x="5945" y="822"/>
                </a:lnTo>
                <a:lnTo>
                  <a:pt x="5974" y="822"/>
                </a:lnTo>
                <a:lnTo>
                  <a:pt x="6006" y="822"/>
                </a:lnTo>
                <a:lnTo>
                  <a:pt x="6033" y="822"/>
                </a:lnTo>
                <a:lnTo>
                  <a:pt x="6037" y="828"/>
                </a:lnTo>
                <a:lnTo>
                  <a:pt x="6045" y="838"/>
                </a:lnTo>
                <a:lnTo>
                  <a:pt x="6055" y="849"/>
                </a:lnTo>
                <a:lnTo>
                  <a:pt x="6066" y="860"/>
                </a:lnTo>
                <a:lnTo>
                  <a:pt x="6077" y="871"/>
                </a:lnTo>
                <a:lnTo>
                  <a:pt x="6086" y="881"/>
                </a:lnTo>
                <a:lnTo>
                  <a:pt x="6094" y="887"/>
                </a:lnTo>
                <a:lnTo>
                  <a:pt x="6099" y="889"/>
                </a:lnTo>
                <a:lnTo>
                  <a:pt x="6102" y="881"/>
                </a:lnTo>
                <a:lnTo>
                  <a:pt x="6105" y="874"/>
                </a:lnTo>
                <a:lnTo>
                  <a:pt x="6108" y="867"/>
                </a:lnTo>
                <a:lnTo>
                  <a:pt x="6112" y="861"/>
                </a:lnTo>
                <a:lnTo>
                  <a:pt x="6116" y="855"/>
                </a:lnTo>
                <a:lnTo>
                  <a:pt x="6119" y="848"/>
                </a:lnTo>
                <a:lnTo>
                  <a:pt x="6123" y="839"/>
                </a:lnTo>
                <a:lnTo>
                  <a:pt x="6125" y="828"/>
                </a:lnTo>
                <a:lnTo>
                  <a:pt x="6128" y="830"/>
                </a:lnTo>
                <a:lnTo>
                  <a:pt x="6132" y="831"/>
                </a:lnTo>
                <a:lnTo>
                  <a:pt x="6135" y="832"/>
                </a:lnTo>
                <a:lnTo>
                  <a:pt x="6139" y="832"/>
                </a:lnTo>
                <a:lnTo>
                  <a:pt x="6144" y="832"/>
                </a:lnTo>
                <a:lnTo>
                  <a:pt x="6149" y="831"/>
                </a:lnTo>
                <a:lnTo>
                  <a:pt x="6153" y="830"/>
                </a:lnTo>
                <a:lnTo>
                  <a:pt x="6159" y="828"/>
                </a:lnTo>
                <a:lnTo>
                  <a:pt x="6148" y="815"/>
                </a:lnTo>
                <a:lnTo>
                  <a:pt x="6137" y="803"/>
                </a:lnTo>
                <a:lnTo>
                  <a:pt x="6133" y="796"/>
                </a:lnTo>
                <a:lnTo>
                  <a:pt x="6128" y="789"/>
                </a:lnTo>
                <a:lnTo>
                  <a:pt x="6126" y="782"/>
                </a:lnTo>
                <a:lnTo>
                  <a:pt x="6125" y="772"/>
                </a:lnTo>
                <a:lnTo>
                  <a:pt x="6126" y="767"/>
                </a:lnTo>
                <a:lnTo>
                  <a:pt x="6128" y="764"/>
                </a:lnTo>
                <a:lnTo>
                  <a:pt x="6132" y="761"/>
                </a:lnTo>
                <a:lnTo>
                  <a:pt x="6135" y="760"/>
                </a:lnTo>
                <a:lnTo>
                  <a:pt x="6140" y="759"/>
                </a:lnTo>
                <a:lnTo>
                  <a:pt x="6146" y="759"/>
                </a:lnTo>
                <a:lnTo>
                  <a:pt x="6152" y="760"/>
                </a:lnTo>
                <a:lnTo>
                  <a:pt x="6159" y="762"/>
                </a:lnTo>
                <a:lnTo>
                  <a:pt x="6188" y="771"/>
                </a:lnTo>
                <a:lnTo>
                  <a:pt x="6212" y="778"/>
                </a:lnTo>
                <a:lnTo>
                  <a:pt x="6202" y="779"/>
                </a:lnTo>
                <a:lnTo>
                  <a:pt x="6193" y="782"/>
                </a:lnTo>
                <a:lnTo>
                  <a:pt x="6184" y="784"/>
                </a:lnTo>
                <a:lnTo>
                  <a:pt x="6179" y="785"/>
                </a:lnTo>
                <a:lnTo>
                  <a:pt x="6180" y="792"/>
                </a:lnTo>
                <a:lnTo>
                  <a:pt x="6183" y="797"/>
                </a:lnTo>
                <a:lnTo>
                  <a:pt x="6186" y="802"/>
                </a:lnTo>
                <a:lnTo>
                  <a:pt x="6191" y="807"/>
                </a:lnTo>
                <a:lnTo>
                  <a:pt x="6201" y="815"/>
                </a:lnTo>
                <a:lnTo>
                  <a:pt x="6211" y="822"/>
                </a:lnTo>
                <a:lnTo>
                  <a:pt x="6222" y="829"/>
                </a:lnTo>
                <a:lnTo>
                  <a:pt x="6230" y="837"/>
                </a:lnTo>
                <a:lnTo>
                  <a:pt x="6234" y="842"/>
                </a:lnTo>
                <a:lnTo>
                  <a:pt x="6236" y="847"/>
                </a:lnTo>
                <a:lnTo>
                  <a:pt x="6238" y="853"/>
                </a:lnTo>
                <a:lnTo>
                  <a:pt x="6238" y="859"/>
                </a:lnTo>
                <a:lnTo>
                  <a:pt x="6237" y="867"/>
                </a:lnTo>
                <a:lnTo>
                  <a:pt x="6231" y="878"/>
                </a:lnTo>
                <a:lnTo>
                  <a:pt x="6224" y="893"/>
                </a:lnTo>
                <a:lnTo>
                  <a:pt x="6215" y="907"/>
                </a:lnTo>
                <a:lnTo>
                  <a:pt x="6206" y="922"/>
                </a:lnTo>
                <a:lnTo>
                  <a:pt x="6200" y="937"/>
                </a:lnTo>
                <a:lnTo>
                  <a:pt x="6196" y="944"/>
                </a:lnTo>
                <a:lnTo>
                  <a:pt x="6194" y="952"/>
                </a:lnTo>
                <a:lnTo>
                  <a:pt x="6192" y="958"/>
                </a:lnTo>
                <a:lnTo>
                  <a:pt x="6192" y="964"/>
                </a:lnTo>
                <a:lnTo>
                  <a:pt x="6193" y="970"/>
                </a:lnTo>
                <a:lnTo>
                  <a:pt x="6195" y="974"/>
                </a:lnTo>
                <a:lnTo>
                  <a:pt x="6198" y="977"/>
                </a:lnTo>
                <a:lnTo>
                  <a:pt x="6202" y="979"/>
                </a:lnTo>
                <a:lnTo>
                  <a:pt x="6205" y="981"/>
                </a:lnTo>
                <a:lnTo>
                  <a:pt x="6208" y="984"/>
                </a:lnTo>
                <a:lnTo>
                  <a:pt x="6211" y="988"/>
                </a:lnTo>
                <a:lnTo>
                  <a:pt x="6212" y="994"/>
                </a:lnTo>
                <a:lnTo>
                  <a:pt x="6212" y="1001"/>
                </a:lnTo>
                <a:lnTo>
                  <a:pt x="6211" y="1010"/>
                </a:lnTo>
                <a:lnTo>
                  <a:pt x="6208" y="1018"/>
                </a:lnTo>
                <a:lnTo>
                  <a:pt x="6204" y="1026"/>
                </a:lnTo>
                <a:lnTo>
                  <a:pt x="6202" y="1030"/>
                </a:lnTo>
                <a:lnTo>
                  <a:pt x="6200" y="1033"/>
                </a:lnTo>
                <a:lnTo>
                  <a:pt x="6196" y="1036"/>
                </a:lnTo>
                <a:lnTo>
                  <a:pt x="6192" y="1039"/>
                </a:lnTo>
                <a:lnTo>
                  <a:pt x="6188" y="1041"/>
                </a:lnTo>
                <a:lnTo>
                  <a:pt x="6183" y="1042"/>
                </a:lnTo>
                <a:lnTo>
                  <a:pt x="6178" y="1043"/>
                </a:lnTo>
                <a:lnTo>
                  <a:pt x="6172" y="1043"/>
                </a:lnTo>
                <a:lnTo>
                  <a:pt x="6173" y="1062"/>
                </a:lnTo>
                <a:lnTo>
                  <a:pt x="6175" y="1079"/>
                </a:lnTo>
                <a:lnTo>
                  <a:pt x="6181" y="1095"/>
                </a:lnTo>
                <a:lnTo>
                  <a:pt x="6186" y="1111"/>
                </a:lnTo>
                <a:lnTo>
                  <a:pt x="6194" y="1126"/>
                </a:lnTo>
                <a:lnTo>
                  <a:pt x="6204" y="1140"/>
                </a:lnTo>
                <a:lnTo>
                  <a:pt x="6214" y="1153"/>
                </a:lnTo>
                <a:lnTo>
                  <a:pt x="6226" y="1166"/>
                </a:lnTo>
                <a:lnTo>
                  <a:pt x="6238" y="1179"/>
                </a:lnTo>
                <a:lnTo>
                  <a:pt x="6252" y="1190"/>
                </a:lnTo>
                <a:lnTo>
                  <a:pt x="6267" y="1201"/>
                </a:lnTo>
                <a:lnTo>
                  <a:pt x="6281" y="1211"/>
                </a:lnTo>
                <a:lnTo>
                  <a:pt x="6296" y="1220"/>
                </a:lnTo>
                <a:lnTo>
                  <a:pt x="6313" y="1230"/>
                </a:lnTo>
                <a:lnTo>
                  <a:pt x="6328" y="1239"/>
                </a:lnTo>
                <a:lnTo>
                  <a:pt x="6345" y="1247"/>
                </a:lnTo>
                <a:lnTo>
                  <a:pt x="6352" y="1251"/>
                </a:lnTo>
                <a:lnTo>
                  <a:pt x="6360" y="1256"/>
                </a:lnTo>
                <a:lnTo>
                  <a:pt x="6365" y="1261"/>
                </a:lnTo>
                <a:lnTo>
                  <a:pt x="6371" y="1267"/>
                </a:lnTo>
                <a:lnTo>
                  <a:pt x="6379" y="1282"/>
                </a:lnTo>
                <a:lnTo>
                  <a:pt x="6387" y="1297"/>
                </a:lnTo>
                <a:lnTo>
                  <a:pt x="6392" y="1304"/>
                </a:lnTo>
                <a:lnTo>
                  <a:pt x="6396" y="1311"/>
                </a:lnTo>
                <a:lnTo>
                  <a:pt x="6402" y="1318"/>
                </a:lnTo>
                <a:lnTo>
                  <a:pt x="6407" y="1325"/>
                </a:lnTo>
                <a:lnTo>
                  <a:pt x="6415" y="1331"/>
                </a:lnTo>
                <a:lnTo>
                  <a:pt x="6422" y="1337"/>
                </a:lnTo>
                <a:lnTo>
                  <a:pt x="6432" y="1342"/>
                </a:lnTo>
                <a:lnTo>
                  <a:pt x="6444" y="1346"/>
                </a:lnTo>
                <a:lnTo>
                  <a:pt x="6452" y="1347"/>
                </a:lnTo>
                <a:lnTo>
                  <a:pt x="6464" y="1351"/>
                </a:lnTo>
                <a:lnTo>
                  <a:pt x="6471" y="1353"/>
                </a:lnTo>
                <a:lnTo>
                  <a:pt x="6476" y="1356"/>
                </a:lnTo>
                <a:lnTo>
                  <a:pt x="6481" y="1360"/>
                </a:lnTo>
                <a:lnTo>
                  <a:pt x="6484" y="1364"/>
                </a:lnTo>
                <a:lnTo>
                  <a:pt x="6491" y="1374"/>
                </a:lnTo>
                <a:lnTo>
                  <a:pt x="6497" y="1384"/>
                </a:lnTo>
                <a:lnTo>
                  <a:pt x="6506" y="1395"/>
                </a:lnTo>
                <a:lnTo>
                  <a:pt x="6515" y="1404"/>
                </a:lnTo>
                <a:lnTo>
                  <a:pt x="6525" y="1413"/>
                </a:lnTo>
                <a:lnTo>
                  <a:pt x="6533" y="1420"/>
                </a:lnTo>
                <a:lnTo>
                  <a:pt x="6538" y="1422"/>
                </a:lnTo>
                <a:lnTo>
                  <a:pt x="6542" y="1424"/>
                </a:lnTo>
                <a:lnTo>
                  <a:pt x="6547" y="1425"/>
                </a:lnTo>
                <a:lnTo>
                  <a:pt x="6551" y="1426"/>
                </a:lnTo>
                <a:lnTo>
                  <a:pt x="6554" y="1425"/>
                </a:lnTo>
                <a:lnTo>
                  <a:pt x="6558" y="1425"/>
                </a:lnTo>
                <a:lnTo>
                  <a:pt x="6561" y="1423"/>
                </a:lnTo>
                <a:lnTo>
                  <a:pt x="6564" y="1421"/>
                </a:lnTo>
                <a:lnTo>
                  <a:pt x="6570" y="1416"/>
                </a:lnTo>
                <a:lnTo>
                  <a:pt x="6575" y="1410"/>
                </a:lnTo>
                <a:lnTo>
                  <a:pt x="6578" y="1402"/>
                </a:lnTo>
                <a:lnTo>
                  <a:pt x="6582" y="1391"/>
                </a:lnTo>
                <a:lnTo>
                  <a:pt x="6583" y="1381"/>
                </a:lnTo>
                <a:lnTo>
                  <a:pt x="6584" y="1370"/>
                </a:lnTo>
                <a:lnTo>
                  <a:pt x="6583" y="1366"/>
                </a:lnTo>
                <a:lnTo>
                  <a:pt x="6582" y="1362"/>
                </a:lnTo>
                <a:lnTo>
                  <a:pt x="6579" y="1359"/>
                </a:lnTo>
                <a:lnTo>
                  <a:pt x="6576" y="1356"/>
                </a:lnTo>
                <a:lnTo>
                  <a:pt x="6570" y="1350"/>
                </a:lnTo>
                <a:lnTo>
                  <a:pt x="6561" y="1345"/>
                </a:lnTo>
                <a:lnTo>
                  <a:pt x="6552" y="1340"/>
                </a:lnTo>
                <a:lnTo>
                  <a:pt x="6544" y="1333"/>
                </a:lnTo>
                <a:lnTo>
                  <a:pt x="6542" y="1329"/>
                </a:lnTo>
                <a:lnTo>
                  <a:pt x="6539" y="1325"/>
                </a:lnTo>
                <a:lnTo>
                  <a:pt x="6538" y="1320"/>
                </a:lnTo>
                <a:lnTo>
                  <a:pt x="6538" y="1315"/>
                </a:lnTo>
                <a:lnTo>
                  <a:pt x="6539" y="1313"/>
                </a:lnTo>
                <a:lnTo>
                  <a:pt x="6542" y="1310"/>
                </a:lnTo>
                <a:lnTo>
                  <a:pt x="6547" y="1308"/>
                </a:lnTo>
                <a:lnTo>
                  <a:pt x="6552" y="1306"/>
                </a:lnTo>
                <a:lnTo>
                  <a:pt x="6565" y="1301"/>
                </a:lnTo>
                <a:lnTo>
                  <a:pt x="6577" y="1297"/>
                </a:lnTo>
                <a:lnTo>
                  <a:pt x="6569" y="1280"/>
                </a:lnTo>
                <a:lnTo>
                  <a:pt x="6560" y="1268"/>
                </a:lnTo>
                <a:lnTo>
                  <a:pt x="6550" y="1256"/>
                </a:lnTo>
                <a:lnTo>
                  <a:pt x="6538" y="1241"/>
                </a:lnTo>
                <a:lnTo>
                  <a:pt x="6540" y="1239"/>
                </a:lnTo>
                <a:lnTo>
                  <a:pt x="6544" y="1238"/>
                </a:lnTo>
                <a:lnTo>
                  <a:pt x="6550" y="1237"/>
                </a:lnTo>
                <a:lnTo>
                  <a:pt x="6556" y="1236"/>
                </a:lnTo>
                <a:lnTo>
                  <a:pt x="6572" y="1235"/>
                </a:lnTo>
                <a:lnTo>
                  <a:pt x="6590" y="1235"/>
                </a:lnTo>
                <a:lnTo>
                  <a:pt x="6583" y="1229"/>
                </a:lnTo>
                <a:lnTo>
                  <a:pt x="6572" y="1219"/>
                </a:lnTo>
                <a:lnTo>
                  <a:pt x="6566" y="1214"/>
                </a:lnTo>
                <a:lnTo>
                  <a:pt x="6562" y="1210"/>
                </a:lnTo>
                <a:lnTo>
                  <a:pt x="6559" y="1207"/>
                </a:lnTo>
                <a:lnTo>
                  <a:pt x="6558" y="1204"/>
                </a:lnTo>
                <a:lnTo>
                  <a:pt x="6550" y="1199"/>
                </a:lnTo>
                <a:lnTo>
                  <a:pt x="6544" y="1194"/>
                </a:lnTo>
                <a:lnTo>
                  <a:pt x="6540" y="1187"/>
                </a:lnTo>
                <a:lnTo>
                  <a:pt x="6537" y="1180"/>
                </a:lnTo>
                <a:lnTo>
                  <a:pt x="6533" y="1173"/>
                </a:lnTo>
                <a:lnTo>
                  <a:pt x="6532" y="1163"/>
                </a:lnTo>
                <a:lnTo>
                  <a:pt x="6531" y="1153"/>
                </a:lnTo>
                <a:lnTo>
                  <a:pt x="6531" y="1142"/>
                </a:lnTo>
                <a:lnTo>
                  <a:pt x="6536" y="1142"/>
                </a:lnTo>
                <a:lnTo>
                  <a:pt x="6540" y="1140"/>
                </a:lnTo>
                <a:lnTo>
                  <a:pt x="6545" y="1138"/>
                </a:lnTo>
                <a:lnTo>
                  <a:pt x="6549" y="1136"/>
                </a:lnTo>
                <a:lnTo>
                  <a:pt x="6552" y="1133"/>
                </a:lnTo>
                <a:lnTo>
                  <a:pt x="6555" y="1130"/>
                </a:lnTo>
                <a:lnTo>
                  <a:pt x="6556" y="1127"/>
                </a:lnTo>
                <a:lnTo>
                  <a:pt x="6558" y="1124"/>
                </a:lnTo>
                <a:lnTo>
                  <a:pt x="6539" y="1118"/>
                </a:lnTo>
                <a:lnTo>
                  <a:pt x="6522" y="1110"/>
                </a:lnTo>
                <a:lnTo>
                  <a:pt x="6508" y="1103"/>
                </a:lnTo>
                <a:lnTo>
                  <a:pt x="6496" y="1095"/>
                </a:lnTo>
                <a:lnTo>
                  <a:pt x="6476" y="1078"/>
                </a:lnTo>
                <a:lnTo>
                  <a:pt x="6460" y="1063"/>
                </a:lnTo>
                <a:lnTo>
                  <a:pt x="6452" y="1055"/>
                </a:lnTo>
                <a:lnTo>
                  <a:pt x="6444" y="1048"/>
                </a:lnTo>
                <a:lnTo>
                  <a:pt x="6437" y="1043"/>
                </a:lnTo>
                <a:lnTo>
                  <a:pt x="6427" y="1039"/>
                </a:lnTo>
                <a:lnTo>
                  <a:pt x="6417" y="1036"/>
                </a:lnTo>
                <a:lnTo>
                  <a:pt x="6406" y="1035"/>
                </a:lnTo>
                <a:lnTo>
                  <a:pt x="6393" y="1035"/>
                </a:lnTo>
                <a:lnTo>
                  <a:pt x="6377" y="1037"/>
                </a:lnTo>
                <a:lnTo>
                  <a:pt x="6375" y="1038"/>
                </a:lnTo>
                <a:lnTo>
                  <a:pt x="6373" y="1037"/>
                </a:lnTo>
                <a:lnTo>
                  <a:pt x="6372" y="1036"/>
                </a:lnTo>
                <a:lnTo>
                  <a:pt x="6370" y="1035"/>
                </a:lnTo>
                <a:lnTo>
                  <a:pt x="6368" y="1031"/>
                </a:lnTo>
                <a:lnTo>
                  <a:pt x="6365" y="1025"/>
                </a:lnTo>
                <a:lnTo>
                  <a:pt x="6363" y="1009"/>
                </a:lnTo>
                <a:lnTo>
                  <a:pt x="6360" y="990"/>
                </a:lnTo>
                <a:lnTo>
                  <a:pt x="6358" y="981"/>
                </a:lnTo>
                <a:lnTo>
                  <a:pt x="6354" y="972"/>
                </a:lnTo>
                <a:lnTo>
                  <a:pt x="6351" y="963"/>
                </a:lnTo>
                <a:lnTo>
                  <a:pt x="6346" y="956"/>
                </a:lnTo>
                <a:lnTo>
                  <a:pt x="6340" y="949"/>
                </a:lnTo>
                <a:lnTo>
                  <a:pt x="6332" y="943"/>
                </a:lnTo>
                <a:lnTo>
                  <a:pt x="6328" y="941"/>
                </a:lnTo>
                <a:lnTo>
                  <a:pt x="6323" y="940"/>
                </a:lnTo>
                <a:lnTo>
                  <a:pt x="6317" y="939"/>
                </a:lnTo>
                <a:lnTo>
                  <a:pt x="6312" y="939"/>
                </a:lnTo>
                <a:lnTo>
                  <a:pt x="6392" y="889"/>
                </a:lnTo>
                <a:lnTo>
                  <a:pt x="6396" y="890"/>
                </a:lnTo>
                <a:lnTo>
                  <a:pt x="6399" y="894"/>
                </a:lnTo>
                <a:lnTo>
                  <a:pt x="6403" y="898"/>
                </a:lnTo>
                <a:lnTo>
                  <a:pt x="6405" y="902"/>
                </a:lnTo>
                <a:lnTo>
                  <a:pt x="6408" y="907"/>
                </a:lnTo>
                <a:lnTo>
                  <a:pt x="6413" y="911"/>
                </a:lnTo>
                <a:lnTo>
                  <a:pt x="6415" y="912"/>
                </a:lnTo>
                <a:lnTo>
                  <a:pt x="6418" y="913"/>
                </a:lnTo>
                <a:lnTo>
                  <a:pt x="6421" y="914"/>
                </a:lnTo>
                <a:lnTo>
                  <a:pt x="6425" y="914"/>
                </a:lnTo>
                <a:lnTo>
                  <a:pt x="6435" y="913"/>
                </a:lnTo>
                <a:lnTo>
                  <a:pt x="6446" y="910"/>
                </a:lnTo>
                <a:lnTo>
                  <a:pt x="6458" y="906"/>
                </a:lnTo>
                <a:lnTo>
                  <a:pt x="6470" y="901"/>
                </a:lnTo>
                <a:lnTo>
                  <a:pt x="6495" y="888"/>
                </a:lnTo>
                <a:lnTo>
                  <a:pt x="6525" y="877"/>
                </a:lnTo>
                <a:lnTo>
                  <a:pt x="6544" y="877"/>
                </a:lnTo>
                <a:lnTo>
                  <a:pt x="6547" y="885"/>
                </a:lnTo>
                <a:lnTo>
                  <a:pt x="6551" y="893"/>
                </a:lnTo>
                <a:lnTo>
                  <a:pt x="6556" y="899"/>
                </a:lnTo>
                <a:lnTo>
                  <a:pt x="6562" y="905"/>
                </a:lnTo>
                <a:lnTo>
                  <a:pt x="6576" y="915"/>
                </a:lnTo>
                <a:lnTo>
                  <a:pt x="6590" y="927"/>
                </a:lnTo>
                <a:lnTo>
                  <a:pt x="6596" y="906"/>
                </a:lnTo>
                <a:lnTo>
                  <a:pt x="6601" y="884"/>
                </a:lnTo>
                <a:lnTo>
                  <a:pt x="6605" y="873"/>
                </a:lnTo>
                <a:lnTo>
                  <a:pt x="6609" y="863"/>
                </a:lnTo>
                <a:lnTo>
                  <a:pt x="6614" y="854"/>
                </a:lnTo>
                <a:lnTo>
                  <a:pt x="6619" y="845"/>
                </a:lnTo>
                <a:lnTo>
                  <a:pt x="6626" y="835"/>
                </a:lnTo>
                <a:lnTo>
                  <a:pt x="6633" y="827"/>
                </a:lnTo>
                <a:lnTo>
                  <a:pt x="6642" y="821"/>
                </a:lnTo>
                <a:lnTo>
                  <a:pt x="6651" y="815"/>
                </a:lnTo>
                <a:lnTo>
                  <a:pt x="6662" y="810"/>
                </a:lnTo>
                <a:lnTo>
                  <a:pt x="6674" y="806"/>
                </a:lnTo>
                <a:lnTo>
                  <a:pt x="6688" y="804"/>
                </a:lnTo>
                <a:lnTo>
                  <a:pt x="6704" y="803"/>
                </a:lnTo>
                <a:lnTo>
                  <a:pt x="6701" y="799"/>
                </a:lnTo>
                <a:lnTo>
                  <a:pt x="6700" y="794"/>
                </a:lnTo>
                <a:lnTo>
                  <a:pt x="6700" y="790"/>
                </a:lnTo>
                <a:lnTo>
                  <a:pt x="6701" y="785"/>
                </a:lnTo>
                <a:lnTo>
                  <a:pt x="6702" y="775"/>
                </a:lnTo>
                <a:lnTo>
                  <a:pt x="6704" y="766"/>
                </a:lnTo>
                <a:lnTo>
                  <a:pt x="6709" y="770"/>
                </a:lnTo>
                <a:lnTo>
                  <a:pt x="6715" y="773"/>
                </a:lnTo>
                <a:lnTo>
                  <a:pt x="6721" y="775"/>
                </a:lnTo>
                <a:lnTo>
                  <a:pt x="6729" y="777"/>
                </a:lnTo>
                <a:lnTo>
                  <a:pt x="6744" y="778"/>
                </a:lnTo>
                <a:lnTo>
                  <a:pt x="6763" y="778"/>
                </a:lnTo>
                <a:lnTo>
                  <a:pt x="6774" y="781"/>
                </a:lnTo>
                <a:lnTo>
                  <a:pt x="6787" y="784"/>
                </a:lnTo>
                <a:lnTo>
                  <a:pt x="6795" y="785"/>
                </a:lnTo>
                <a:lnTo>
                  <a:pt x="6801" y="784"/>
                </a:lnTo>
                <a:lnTo>
                  <a:pt x="6809" y="783"/>
                </a:lnTo>
                <a:lnTo>
                  <a:pt x="6817" y="778"/>
                </a:lnTo>
                <a:lnTo>
                  <a:pt x="6813" y="767"/>
                </a:lnTo>
                <a:lnTo>
                  <a:pt x="6813" y="762"/>
                </a:lnTo>
                <a:lnTo>
                  <a:pt x="6816" y="757"/>
                </a:lnTo>
                <a:lnTo>
                  <a:pt x="6817" y="742"/>
                </a:lnTo>
                <a:lnTo>
                  <a:pt x="6790" y="738"/>
                </a:lnTo>
                <a:lnTo>
                  <a:pt x="6766" y="733"/>
                </a:lnTo>
                <a:lnTo>
                  <a:pt x="6743" y="727"/>
                </a:lnTo>
                <a:lnTo>
                  <a:pt x="6722" y="720"/>
                </a:lnTo>
                <a:lnTo>
                  <a:pt x="6685" y="706"/>
                </a:lnTo>
                <a:lnTo>
                  <a:pt x="6650" y="692"/>
                </a:lnTo>
                <a:lnTo>
                  <a:pt x="6632" y="685"/>
                </a:lnTo>
                <a:lnTo>
                  <a:pt x="6616" y="678"/>
                </a:lnTo>
                <a:lnTo>
                  <a:pt x="6598" y="672"/>
                </a:lnTo>
                <a:lnTo>
                  <a:pt x="6579" y="666"/>
                </a:lnTo>
                <a:lnTo>
                  <a:pt x="6561" y="662"/>
                </a:lnTo>
                <a:lnTo>
                  <a:pt x="6541" y="658"/>
                </a:lnTo>
                <a:lnTo>
                  <a:pt x="6520" y="656"/>
                </a:lnTo>
                <a:lnTo>
                  <a:pt x="6497" y="655"/>
                </a:lnTo>
                <a:lnTo>
                  <a:pt x="6543" y="659"/>
                </a:lnTo>
                <a:lnTo>
                  <a:pt x="6582" y="663"/>
                </a:lnTo>
                <a:lnTo>
                  <a:pt x="6592" y="663"/>
                </a:lnTo>
                <a:lnTo>
                  <a:pt x="6600" y="663"/>
                </a:lnTo>
                <a:lnTo>
                  <a:pt x="6610" y="662"/>
                </a:lnTo>
                <a:lnTo>
                  <a:pt x="6619" y="660"/>
                </a:lnTo>
                <a:lnTo>
                  <a:pt x="6628" y="658"/>
                </a:lnTo>
                <a:lnTo>
                  <a:pt x="6638" y="654"/>
                </a:lnTo>
                <a:lnTo>
                  <a:pt x="6648" y="649"/>
                </a:lnTo>
                <a:lnTo>
                  <a:pt x="6657" y="643"/>
                </a:lnTo>
                <a:lnTo>
                  <a:pt x="6653" y="637"/>
                </a:lnTo>
                <a:lnTo>
                  <a:pt x="6649" y="632"/>
                </a:lnTo>
                <a:lnTo>
                  <a:pt x="6644" y="627"/>
                </a:lnTo>
                <a:lnTo>
                  <a:pt x="6639" y="624"/>
                </a:lnTo>
                <a:lnTo>
                  <a:pt x="6628" y="618"/>
                </a:lnTo>
                <a:lnTo>
                  <a:pt x="6616" y="612"/>
                </a:lnTo>
                <a:lnTo>
                  <a:pt x="6605" y="607"/>
                </a:lnTo>
                <a:lnTo>
                  <a:pt x="6593" y="601"/>
                </a:lnTo>
                <a:lnTo>
                  <a:pt x="6587" y="598"/>
                </a:lnTo>
                <a:lnTo>
                  <a:pt x="6581" y="593"/>
                </a:lnTo>
                <a:lnTo>
                  <a:pt x="6576" y="588"/>
                </a:lnTo>
                <a:lnTo>
                  <a:pt x="6571" y="582"/>
                </a:lnTo>
                <a:lnTo>
                  <a:pt x="6597" y="582"/>
                </a:lnTo>
                <a:lnTo>
                  <a:pt x="6600" y="587"/>
                </a:lnTo>
                <a:lnTo>
                  <a:pt x="6605" y="592"/>
                </a:lnTo>
                <a:lnTo>
                  <a:pt x="6610" y="599"/>
                </a:lnTo>
                <a:lnTo>
                  <a:pt x="6617" y="604"/>
                </a:lnTo>
                <a:lnTo>
                  <a:pt x="6626" y="610"/>
                </a:lnTo>
                <a:lnTo>
                  <a:pt x="6634" y="615"/>
                </a:lnTo>
                <a:lnTo>
                  <a:pt x="6640" y="617"/>
                </a:lnTo>
                <a:lnTo>
                  <a:pt x="6645" y="618"/>
                </a:lnTo>
                <a:lnTo>
                  <a:pt x="6651" y="619"/>
                </a:lnTo>
                <a:lnTo>
                  <a:pt x="6657" y="619"/>
                </a:lnTo>
                <a:lnTo>
                  <a:pt x="6665" y="618"/>
                </a:lnTo>
                <a:lnTo>
                  <a:pt x="6670" y="617"/>
                </a:lnTo>
                <a:lnTo>
                  <a:pt x="6673" y="615"/>
                </a:lnTo>
                <a:lnTo>
                  <a:pt x="6675" y="612"/>
                </a:lnTo>
                <a:lnTo>
                  <a:pt x="6678" y="610"/>
                </a:lnTo>
                <a:lnTo>
                  <a:pt x="6683" y="608"/>
                </a:lnTo>
                <a:lnTo>
                  <a:pt x="6691" y="606"/>
                </a:lnTo>
                <a:lnTo>
                  <a:pt x="6704" y="606"/>
                </a:lnTo>
                <a:lnTo>
                  <a:pt x="6718" y="606"/>
                </a:lnTo>
                <a:lnTo>
                  <a:pt x="6730" y="607"/>
                </a:lnTo>
                <a:lnTo>
                  <a:pt x="6742" y="609"/>
                </a:lnTo>
                <a:lnTo>
                  <a:pt x="6752" y="612"/>
                </a:lnTo>
                <a:lnTo>
                  <a:pt x="6762" y="616"/>
                </a:lnTo>
                <a:lnTo>
                  <a:pt x="6771" y="619"/>
                </a:lnTo>
                <a:lnTo>
                  <a:pt x="6778" y="623"/>
                </a:lnTo>
                <a:lnTo>
                  <a:pt x="6786" y="627"/>
                </a:lnTo>
                <a:lnTo>
                  <a:pt x="6799" y="636"/>
                </a:lnTo>
                <a:lnTo>
                  <a:pt x="6812" y="645"/>
                </a:lnTo>
                <a:lnTo>
                  <a:pt x="6827" y="654"/>
                </a:lnTo>
                <a:lnTo>
                  <a:pt x="6843" y="661"/>
                </a:lnTo>
                <a:lnTo>
                  <a:pt x="6943" y="661"/>
                </a:lnTo>
                <a:lnTo>
                  <a:pt x="6945" y="667"/>
                </a:lnTo>
                <a:lnTo>
                  <a:pt x="6950" y="673"/>
                </a:lnTo>
                <a:lnTo>
                  <a:pt x="6955" y="676"/>
                </a:lnTo>
                <a:lnTo>
                  <a:pt x="6961" y="678"/>
                </a:lnTo>
                <a:lnTo>
                  <a:pt x="6971" y="680"/>
                </a:lnTo>
                <a:lnTo>
                  <a:pt x="6982" y="680"/>
                </a:lnTo>
                <a:lnTo>
                  <a:pt x="6989" y="680"/>
                </a:lnTo>
                <a:lnTo>
                  <a:pt x="7006" y="680"/>
                </a:lnTo>
                <a:lnTo>
                  <a:pt x="7027" y="678"/>
                </a:lnTo>
                <a:lnTo>
                  <a:pt x="7049" y="674"/>
                </a:lnTo>
                <a:lnTo>
                  <a:pt x="7031" y="668"/>
                </a:lnTo>
                <a:lnTo>
                  <a:pt x="7011" y="659"/>
                </a:lnTo>
                <a:lnTo>
                  <a:pt x="7002" y="654"/>
                </a:lnTo>
                <a:lnTo>
                  <a:pt x="6996" y="647"/>
                </a:lnTo>
                <a:lnTo>
                  <a:pt x="6993" y="644"/>
                </a:lnTo>
                <a:lnTo>
                  <a:pt x="6991" y="640"/>
                </a:lnTo>
                <a:lnTo>
                  <a:pt x="6989" y="636"/>
                </a:lnTo>
                <a:lnTo>
                  <a:pt x="6989" y="631"/>
                </a:lnTo>
                <a:lnTo>
                  <a:pt x="6990" y="621"/>
                </a:lnTo>
                <a:lnTo>
                  <a:pt x="6991" y="614"/>
                </a:lnTo>
                <a:lnTo>
                  <a:pt x="6992" y="608"/>
                </a:lnTo>
                <a:lnTo>
                  <a:pt x="6992" y="602"/>
                </a:lnTo>
                <a:lnTo>
                  <a:pt x="6991" y="593"/>
                </a:lnTo>
                <a:lnTo>
                  <a:pt x="6989" y="582"/>
                </a:lnTo>
                <a:lnTo>
                  <a:pt x="6975" y="581"/>
                </a:lnTo>
                <a:lnTo>
                  <a:pt x="6961" y="579"/>
                </a:lnTo>
                <a:lnTo>
                  <a:pt x="6947" y="577"/>
                </a:lnTo>
                <a:lnTo>
                  <a:pt x="6934" y="573"/>
                </a:lnTo>
                <a:lnTo>
                  <a:pt x="6910" y="564"/>
                </a:lnTo>
                <a:lnTo>
                  <a:pt x="6886" y="553"/>
                </a:lnTo>
                <a:lnTo>
                  <a:pt x="6861" y="543"/>
                </a:lnTo>
                <a:lnTo>
                  <a:pt x="6835" y="535"/>
                </a:lnTo>
                <a:lnTo>
                  <a:pt x="6821" y="531"/>
                </a:lnTo>
                <a:lnTo>
                  <a:pt x="6807" y="529"/>
                </a:lnTo>
                <a:lnTo>
                  <a:pt x="6793" y="527"/>
                </a:lnTo>
                <a:lnTo>
                  <a:pt x="6776" y="526"/>
                </a:lnTo>
                <a:lnTo>
                  <a:pt x="6769" y="527"/>
                </a:lnTo>
                <a:lnTo>
                  <a:pt x="6761" y="531"/>
                </a:lnTo>
                <a:lnTo>
                  <a:pt x="6756" y="533"/>
                </a:lnTo>
                <a:lnTo>
                  <a:pt x="6753" y="536"/>
                </a:lnTo>
                <a:lnTo>
                  <a:pt x="6751" y="540"/>
                </a:lnTo>
                <a:lnTo>
                  <a:pt x="6750" y="544"/>
                </a:lnTo>
                <a:lnTo>
                  <a:pt x="6751" y="547"/>
                </a:lnTo>
                <a:lnTo>
                  <a:pt x="6752" y="548"/>
                </a:lnTo>
                <a:lnTo>
                  <a:pt x="6754" y="550"/>
                </a:lnTo>
                <a:lnTo>
                  <a:pt x="6757" y="552"/>
                </a:lnTo>
                <a:lnTo>
                  <a:pt x="6765" y="555"/>
                </a:lnTo>
                <a:lnTo>
                  <a:pt x="6775" y="559"/>
                </a:lnTo>
                <a:lnTo>
                  <a:pt x="6785" y="563"/>
                </a:lnTo>
                <a:lnTo>
                  <a:pt x="6795" y="567"/>
                </a:lnTo>
                <a:lnTo>
                  <a:pt x="6799" y="570"/>
                </a:lnTo>
                <a:lnTo>
                  <a:pt x="6803" y="574"/>
                </a:lnTo>
                <a:lnTo>
                  <a:pt x="6807" y="577"/>
                </a:lnTo>
                <a:lnTo>
                  <a:pt x="6810" y="582"/>
                </a:lnTo>
                <a:lnTo>
                  <a:pt x="6778" y="567"/>
                </a:lnTo>
                <a:lnTo>
                  <a:pt x="6751" y="552"/>
                </a:lnTo>
                <a:lnTo>
                  <a:pt x="6728" y="539"/>
                </a:lnTo>
                <a:lnTo>
                  <a:pt x="6706" y="528"/>
                </a:lnTo>
                <a:lnTo>
                  <a:pt x="6684" y="517"/>
                </a:lnTo>
                <a:lnTo>
                  <a:pt x="6660" y="506"/>
                </a:lnTo>
                <a:lnTo>
                  <a:pt x="6631" y="494"/>
                </a:lnTo>
                <a:lnTo>
                  <a:pt x="6597" y="483"/>
                </a:lnTo>
                <a:lnTo>
                  <a:pt x="6573" y="477"/>
                </a:lnTo>
                <a:lnTo>
                  <a:pt x="6548" y="471"/>
                </a:lnTo>
                <a:lnTo>
                  <a:pt x="6525" y="466"/>
                </a:lnTo>
                <a:lnTo>
                  <a:pt x="6500" y="462"/>
                </a:lnTo>
                <a:lnTo>
                  <a:pt x="6454" y="455"/>
                </a:lnTo>
                <a:lnTo>
                  <a:pt x="6408" y="450"/>
                </a:lnTo>
                <a:lnTo>
                  <a:pt x="6363" y="443"/>
                </a:lnTo>
                <a:lnTo>
                  <a:pt x="6318" y="436"/>
                </a:lnTo>
                <a:lnTo>
                  <a:pt x="6295" y="432"/>
                </a:lnTo>
                <a:lnTo>
                  <a:pt x="6272" y="427"/>
                </a:lnTo>
                <a:lnTo>
                  <a:pt x="6249" y="422"/>
                </a:lnTo>
                <a:lnTo>
                  <a:pt x="6225" y="415"/>
                </a:lnTo>
                <a:lnTo>
                  <a:pt x="6146" y="415"/>
                </a:lnTo>
                <a:lnTo>
                  <a:pt x="6133" y="407"/>
                </a:lnTo>
                <a:lnTo>
                  <a:pt x="6121" y="402"/>
                </a:lnTo>
                <a:lnTo>
                  <a:pt x="6114" y="400"/>
                </a:lnTo>
                <a:lnTo>
                  <a:pt x="6106" y="398"/>
                </a:lnTo>
                <a:lnTo>
                  <a:pt x="6096" y="397"/>
                </a:lnTo>
                <a:lnTo>
                  <a:pt x="6085" y="397"/>
                </a:lnTo>
                <a:lnTo>
                  <a:pt x="6071" y="398"/>
                </a:lnTo>
                <a:lnTo>
                  <a:pt x="6058" y="400"/>
                </a:lnTo>
                <a:lnTo>
                  <a:pt x="6045" y="403"/>
                </a:lnTo>
                <a:lnTo>
                  <a:pt x="6033" y="406"/>
                </a:lnTo>
                <a:lnTo>
                  <a:pt x="6020" y="410"/>
                </a:lnTo>
                <a:lnTo>
                  <a:pt x="6007" y="412"/>
                </a:lnTo>
                <a:lnTo>
                  <a:pt x="5993" y="415"/>
                </a:lnTo>
                <a:lnTo>
                  <a:pt x="5979" y="415"/>
                </a:lnTo>
                <a:lnTo>
                  <a:pt x="5971" y="415"/>
                </a:lnTo>
                <a:lnTo>
                  <a:pt x="5960" y="412"/>
                </a:lnTo>
                <a:lnTo>
                  <a:pt x="5945" y="409"/>
                </a:lnTo>
                <a:lnTo>
                  <a:pt x="5929" y="405"/>
                </a:lnTo>
                <a:lnTo>
                  <a:pt x="5913" y="400"/>
                </a:lnTo>
                <a:lnTo>
                  <a:pt x="5899" y="395"/>
                </a:lnTo>
                <a:lnTo>
                  <a:pt x="5887" y="389"/>
                </a:lnTo>
                <a:lnTo>
                  <a:pt x="5880" y="384"/>
                </a:lnTo>
                <a:lnTo>
                  <a:pt x="5833" y="384"/>
                </a:lnTo>
                <a:lnTo>
                  <a:pt x="5835" y="394"/>
                </a:lnTo>
                <a:lnTo>
                  <a:pt x="5838" y="402"/>
                </a:lnTo>
                <a:lnTo>
                  <a:pt x="5843" y="410"/>
                </a:lnTo>
                <a:lnTo>
                  <a:pt x="5847" y="417"/>
                </a:lnTo>
                <a:lnTo>
                  <a:pt x="5853" y="423"/>
                </a:lnTo>
                <a:lnTo>
                  <a:pt x="5859" y="429"/>
                </a:lnTo>
                <a:lnTo>
                  <a:pt x="5866" y="435"/>
                </a:lnTo>
                <a:lnTo>
                  <a:pt x="5872" y="439"/>
                </a:lnTo>
                <a:lnTo>
                  <a:pt x="5895" y="454"/>
                </a:lnTo>
                <a:lnTo>
                  <a:pt x="5906" y="459"/>
                </a:lnTo>
                <a:lnTo>
                  <a:pt x="5883" y="448"/>
                </a:lnTo>
                <a:lnTo>
                  <a:pt x="5860" y="435"/>
                </a:lnTo>
                <a:lnTo>
                  <a:pt x="5848" y="430"/>
                </a:lnTo>
                <a:lnTo>
                  <a:pt x="5834" y="425"/>
                </a:lnTo>
                <a:lnTo>
                  <a:pt x="5826" y="424"/>
                </a:lnTo>
                <a:lnTo>
                  <a:pt x="5819" y="422"/>
                </a:lnTo>
                <a:lnTo>
                  <a:pt x="5810" y="422"/>
                </a:lnTo>
                <a:lnTo>
                  <a:pt x="5800" y="421"/>
                </a:lnTo>
                <a:lnTo>
                  <a:pt x="5804" y="417"/>
                </a:lnTo>
                <a:lnTo>
                  <a:pt x="5807" y="412"/>
                </a:lnTo>
                <a:lnTo>
                  <a:pt x="5809" y="405"/>
                </a:lnTo>
                <a:lnTo>
                  <a:pt x="5813" y="397"/>
                </a:lnTo>
                <a:lnTo>
                  <a:pt x="5796" y="397"/>
                </a:lnTo>
                <a:lnTo>
                  <a:pt x="5781" y="396"/>
                </a:lnTo>
                <a:lnTo>
                  <a:pt x="5767" y="395"/>
                </a:lnTo>
                <a:lnTo>
                  <a:pt x="5754" y="390"/>
                </a:lnTo>
                <a:lnTo>
                  <a:pt x="5753" y="395"/>
                </a:lnTo>
                <a:lnTo>
                  <a:pt x="5752" y="399"/>
                </a:lnTo>
                <a:lnTo>
                  <a:pt x="5751" y="402"/>
                </a:lnTo>
                <a:lnTo>
                  <a:pt x="5748" y="405"/>
                </a:lnTo>
                <a:lnTo>
                  <a:pt x="5745" y="407"/>
                </a:lnTo>
                <a:lnTo>
                  <a:pt x="5742" y="409"/>
                </a:lnTo>
                <a:lnTo>
                  <a:pt x="5737" y="411"/>
                </a:lnTo>
                <a:lnTo>
                  <a:pt x="5733" y="412"/>
                </a:lnTo>
                <a:lnTo>
                  <a:pt x="5724" y="414"/>
                </a:lnTo>
                <a:lnTo>
                  <a:pt x="5714" y="415"/>
                </a:lnTo>
                <a:lnTo>
                  <a:pt x="5703" y="415"/>
                </a:lnTo>
                <a:lnTo>
                  <a:pt x="5693" y="415"/>
                </a:lnTo>
                <a:lnTo>
                  <a:pt x="5667" y="415"/>
                </a:lnTo>
                <a:lnTo>
                  <a:pt x="5643" y="413"/>
                </a:lnTo>
                <a:lnTo>
                  <a:pt x="5621" y="411"/>
                </a:lnTo>
                <a:lnTo>
                  <a:pt x="5599" y="409"/>
                </a:lnTo>
                <a:lnTo>
                  <a:pt x="5578" y="407"/>
                </a:lnTo>
                <a:lnTo>
                  <a:pt x="5557" y="408"/>
                </a:lnTo>
                <a:lnTo>
                  <a:pt x="5546" y="409"/>
                </a:lnTo>
                <a:lnTo>
                  <a:pt x="5536" y="410"/>
                </a:lnTo>
                <a:lnTo>
                  <a:pt x="5525" y="412"/>
                </a:lnTo>
                <a:lnTo>
                  <a:pt x="5514" y="415"/>
                </a:lnTo>
                <a:lnTo>
                  <a:pt x="5528" y="430"/>
                </a:lnTo>
                <a:lnTo>
                  <a:pt x="5539" y="439"/>
                </a:lnTo>
                <a:lnTo>
                  <a:pt x="5551" y="450"/>
                </a:lnTo>
                <a:lnTo>
                  <a:pt x="5567" y="465"/>
                </a:lnTo>
                <a:lnTo>
                  <a:pt x="5531" y="450"/>
                </a:lnTo>
                <a:lnTo>
                  <a:pt x="5497" y="437"/>
                </a:lnTo>
                <a:lnTo>
                  <a:pt x="5465" y="426"/>
                </a:lnTo>
                <a:lnTo>
                  <a:pt x="5433" y="414"/>
                </a:lnTo>
                <a:lnTo>
                  <a:pt x="5419" y="407"/>
                </a:lnTo>
                <a:lnTo>
                  <a:pt x="5404" y="400"/>
                </a:lnTo>
                <a:lnTo>
                  <a:pt x="5388" y="392"/>
                </a:lnTo>
                <a:lnTo>
                  <a:pt x="5374" y="383"/>
                </a:lnTo>
                <a:lnTo>
                  <a:pt x="5360" y="373"/>
                </a:lnTo>
                <a:lnTo>
                  <a:pt x="5344" y="362"/>
                </a:lnTo>
                <a:lnTo>
                  <a:pt x="5330" y="350"/>
                </a:lnTo>
                <a:lnTo>
                  <a:pt x="5315" y="336"/>
                </a:lnTo>
                <a:lnTo>
                  <a:pt x="5109" y="336"/>
                </a:lnTo>
                <a:lnTo>
                  <a:pt x="5104" y="337"/>
                </a:lnTo>
                <a:lnTo>
                  <a:pt x="5099" y="339"/>
                </a:lnTo>
                <a:lnTo>
                  <a:pt x="5094" y="343"/>
                </a:lnTo>
                <a:lnTo>
                  <a:pt x="5090" y="348"/>
                </a:lnTo>
                <a:lnTo>
                  <a:pt x="5009" y="354"/>
                </a:lnTo>
                <a:lnTo>
                  <a:pt x="5003" y="353"/>
                </a:lnTo>
                <a:lnTo>
                  <a:pt x="4996" y="353"/>
                </a:lnTo>
                <a:lnTo>
                  <a:pt x="4991" y="351"/>
                </a:lnTo>
                <a:lnTo>
                  <a:pt x="4986" y="349"/>
                </a:lnTo>
                <a:lnTo>
                  <a:pt x="4979" y="344"/>
                </a:lnTo>
                <a:lnTo>
                  <a:pt x="4972" y="339"/>
                </a:lnTo>
                <a:lnTo>
                  <a:pt x="4964" y="332"/>
                </a:lnTo>
                <a:lnTo>
                  <a:pt x="4956" y="327"/>
                </a:lnTo>
                <a:lnTo>
                  <a:pt x="4951" y="325"/>
                </a:lnTo>
                <a:lnTo>
                  <a:pt x="4945" y="324"/>
                </a:lnTo>
                <a:lnTo>
                  <a:pt x="4938" y="323"/>
                </a:lnTo>
                <a:lnTo>
                  <a:pt x="4929" y="323"/>
                </a:lnTo>
                <a:lnTo>
                  <a:pt x="4924" y="323"/>
                </a:lnTo>
                <a:lnTo>
                  <a:pt x="4918" y="324"/>
                </a:lnTo>
                <a:lnTo>
                  <a:pt x="4916" y="326"/>
                </a:lnTo>
                <a:lnTo>
                  <a:pt x="4913" y="329"/>
                </a:lnTo>
                <a:lnTo>
                  <a:pt x="4911" y="331"/>
                </a:lnTo>
                <a:lnTo>
                  <a:pt x="4907" y="333"/>
                </a:lnTo>
                <a:lnTo>
                  <a:pt x="4903" y="334"/>
                </a:lnTo>
                <a:lnTo>
                  <a:pt x="4896" y="336"/>
                </a:lnTo>
                <a:lnTo>
                  <a:pt x="4884" y="334"/>
                </a:lnTo>
                <a:lnTo>
                  <a:pt x="4873" y="332"/>
                </a:lnTo>
                <a:lnTo>
                  <a:pt x="4863" y="328"/>
                </a:lnTo>
                <a:lnTo>
                  <a:pt x="4853" y="324"/>
                </a:lnTo>
                <a:lnTo>
                  <a:pt x="4836" y="314"/>
                </a:lnTo>
                <a:lnTo>
                  <a:pt x="4816" y="304"/>
                </a:lnTo>
                <a:lnTo>
                  <a:pt x="4830" y="292"/>
                </a:lnTo>
                <a:lnTo>
                  <a:pt x="4826" y="290"/>
                </a:lnTo>
                <a:lnTo>
                  <a:pt x="4816" y="286"/>
                </a:lnTo>
                <a:lnTo>
                  <a:pt x="4808" y="284"/>
                </a:lnTo>
                <a:lnTo>
                  <a:pt x="4799" y="282"/>
                </a:lnTo>
                <a:lnTo>
                  <a:pt x="4789" y="281"/>
                </a:lnTo>
                <a:lnTo>
                  <a:pt x="4777" y="279"/>
                </a:lnTo>
                <a:lnTo>
                  <a:pt x="4766" y="281"/>
                </a:lnTo>
                <a:lnTo>
                  <a:pt x="4757" y="281"/>
                </a:lnTo>
                <a:lnTo>
                  <a:pt x="4748" y="283"/>
                </a:lnTo>
                <a:lnTo>
                  <a:pt x="4740" y="285"/>
                </a:lnTo>
                <a:lnTo>
                  <a:pt x="4728" y="290"/>
                </a:lnTo>
                <a:lnTo>
                  <a:pt x="4717" y="295"/>
                </a:lnTo>
                <a:lnTo>
                  <a:pt x="4710" y="301"/>
                </a:lnTo>
                <a:lnTo>
                  <a:pt x="4701" y="306"/>
                </a:lnTo>
                <a:lnTo>
                  <a:pt x="4698" y="308"/>
                </a:lnTo>
                <a:lnTo>
                  <a:pt x="4693" y="309"/>
                </a:lnTo>
                <a:lnTo>
                  <a:pt x="4689" y="310"/>
                </a:lnTo>
                <a:lnTo>
                  <a:pt x="4683" y="310"/>
                </a:lnTo>
                <a:lnTo>
                  <a:pt x="4670" y="310"/>
                </a:lnTo>
                <a:lnTo>
                  <a:pt x="4657" y="310"/>
                </a:lnTo>
                <a:lnTo>
                  <a:pt x="4657" y="279"/>
                </a:lnTo>
                <a:lnTo>
                  <a:pt x="4650" y="275"/>
                </a:lnTo>
                <a:lnTo>
                  <a:pt x="4644" y="272"/>
                </a:lnTo>
                <a:lnTo>
                  <a:pt x="4638" y="271"/>
                </a:lnTo>
                <a:lnTo>
                  <a:pt x="4633" y="270"/>
                </a:lnTo>
                <a:lnTo>
                  <a:pt x="4627" y="271"/>
                </a:lnTo>
                <a:lnTo>
                  <a:pt x="4621" y="272"/>
                </a:lnTo>
                <a:lnTo>
                  <a:pt x="4613" y="275"/>
                </a:lnTo>
                <a:lnTo>
                  <a:pt x="4604" y="279"/>
                </a:lnTo>
                <a:lnTo>
                  <a:pt x="4603" y="277"/>
                </a:lnTo>
                <a:lnTo>
                  <a:pt x="4601" y="275"/>
                </a:lnTo>
                <a:lnTo>
                  <a:pt x="4599" y="273"/>
                </a:lnTo>
                <a:lnTo>
                  <a:pt x="4597" y="272"/>
                </a:lnTo>
                <a:lnTo>
                  <a:pt x="4589" y="270"/>
                </a:lnTo>
                <a:lnTo>
                  <a:pt x="4579" y="268"/>
                </a:lnTo>
                <a:lnTo>
                  <a:pt x="4557" y="267"/>
                </a:lnTo>
                <a:lnTo>
                  <a:pt x="4532" y="267"/>
                </a:lnTo>
                <a:lnTo>
                  <a:pt x="4486" y="271"/>
                </a:lnTo>
                <a:lnTo>
                  <a:pt x="4465" y="273"/>
                </a:lnTo>
                <a:lnTo>
                  <a:pt x="4398" y="273"/>
                </a:lnTo>
                <a:lnTo>
                  <a:pt x="4399" y="276"/>
                </a:lnTo>
                <a:lnTo>
                  <a:pt x="4400" y="279"/>
                </a:lnTo>
                <a:lnTo>
                  <a:pt x="4402" y="283"/>
                </a:lnTo>
                <a:lnTo>
                  <a:pt x="4405" y="285"/>
                </a:lnTo>
                <a:lnTo>
                  <a:pt x="4409" y="288"/>
                </a:lnTo>
                <a:lnTo>
                  <a:pt x="4412" y="290"/>
                </a:lnTo>
                <a:lnTo>
                  <a:pt x="4415" y="292"/>
                </a:lnTo>
                <a:lnTo>
                  <a:pt x="4418" y="292"/>
                </a:lnTo>
                <a:lnTo>
                  <a:pt x="4420" y="299"/>
                </a:lnTo>
                <a:lnTo>
                  <a:pt x="4425" y="307"/>
                </a:lnTo>
                <a:lnTo>
                  <a:pt x="4432" y="316"/>
                </a:lnTo>
                <a:lnTo>
                  <a:pt x="4438" y="323"/>
                </a:lnTo>
                <a:lnTo>
                  <a:pt x="4429" y="323"/>
                </a:lnTo>
                <a:lnTo>
                  <a:pt x="4420" y="324"/>
                </a:lnTo>
                <a:lnTo>
                  <a:pt x="4412" y="326"/>
                </a:lnTo>
                <a:lnTo>
                  <a:pt x="4403" y="329"/>
                </a:lnTo>
                <a:lnTo>
                  <a:pt x="4394" y="331"/>
                </a:lnTo>
                <a:lnTo>
                  <a:pt x="4383" y="333"/>
                </a:lnTo>
                <a:lnTo>
                  <a:pt x="4373" y="334"/>
                </a:lnTo>
                <a:lnTo>
                  <a:pt x="4358" y="336"/>
                </a:lnTo>
                <a:lnTo>
                  <a:pt x="4337" y="334"/>
                </a:lnTo>
                <a:lnTo>
                  <a:pt x="4317" y="331"/>
                </a:lnTo>
                <a:lnTo>
                  <a:pt x="4295" y="327"/>
                </a:lnTo>
                <a:lnTo>
                  <a:pt x="4272" y="323"/>
                </a:lnTo>
                <a:lnTo>
                  <a:pt x="4250" y="318"/>
                </a:lnTo>
                <a:lnTo>
                  <a:pt x="4228" y="314"/>
                </a:lnTo>
                <a:lnTo>
                  <a:pt x="4206" y="311"/>
                </a:lnTo>
                <a:lnTo>
                  <a:pt x="4186" y="310"/>
                </a:lnTo>
                <a:lnTo>
                  <a:pt x="4176" y="310"/>
                </a:lnTo>
                <a:lnTo>
                  <a:pt x="4166" y="310"/>
                </a:lnTo>
                <a:lnTo>
                  <a:pt x="4166" y="348"/>
                </a:lnTo>
                <a:lnTo>
                  <a:pt x="4139" y="348"/>
                </a:lnTo>
                <a:lnTo>
                  <a:pt x="4131" y="345"/>
                </a:lnTo>
                <a:lnTo>
                  <a:pt x="4122" y="342"/>
                </a:lnTo>
                <a:lnTo>
                  <a:pt x="4113" y="340"/>
                </a:lnTo>
                <a:lnTo>
                  <a:pt x="4102" y="338"/>
                </a:lnTo>
                <a:lnTo>
                  <a:pt x="4082" y="333"/>
                </a:lnTo>
                <a:lnTo>
                  <a:pt x="4060" y="330"/>
                </a:lnTo>
                <a:lnTo>
                  <a:pt x="4039" y="326"/>
                </a:lnTo>
                <a:lnTo>
                  <a:pt x="4019" y="321"/>
                </a:lnTo>
                <a:lnTo>
                  <a:pt x="4009" y="318"/>
                </a:lnTo>
                <a:lnTo>
                  <a:pt x="4000" y="314"/>
                </a:lnTo>
                <a:lnTo>
                  <a:pt x="3993" y="310"/>
                </a:lnTo>
                <a:lnTo>
                  <a:pt x="3986" y="304"/>
                </a:lnTo>
                <a:lnTo>
                  <a:pt x="3946" y="304"/>
                </a:lnTo>
                <a:lnTo>
                  <a:pt x="3953" y="317"/>
                </a:lnTo>
                <a:lnTo>
                  <a:pt x="3960" y="329"/>
                </a:lnTo>
                <a:lnTo>
                  <a:pt x="3941" y="318"/>
                </a:lnTo>
                <a:lnTo>
                  <a:pt x="3920" y="305"/>
                </a:lnTo>
                <a:lnTo>
                  <a:pt x="3898" y="294"/>
                </a:lnTo>
                <a:lnTo>
                  <a:pt x="3880" y="286"/>
                </a:lnTo>
                <a:lnTo>
                  <a:pt x="3820" y="286"/>
                </a:lnTo>
                <a:lnTo>
                  <a:pt x="3820" y="287"/>
                </a:lnTo>
                <a:lnTo>
                  <a:pt x="3819" y="288"/>
                </a:lnTo>
                <a:lnTo>
                  <a:pt x="3818" y="288"/>
                </a:lnTo>
                <a:lnTo>
                  <a:pt x="3816" y="287"/>
                </a:lnTo>
                <a:lnTo>
                  <a:pt x="3809" y="286"/>
                </a:lnTo>
                <a:lnTo>
                  <a:pt x="3800" y="283"/>
                </a:lnTo>
                <a:lnTo>
                  <a:pt x="3777" y="274"/>
                </a:lnTo>
                <a:lnTo>
                  <a:pt x="3752" y="265"/>
                </a:lnTo>
                <a:lnTo>
                  <a:pt x="3727" y="256"/>
                </a:lnTo>
                <a:lnTo>
                  <a:pt x="3706" y="249"/>
                </a:lnTo>
                <a:lnTo>
                  <a:pt x="3698" y="247"/>
                </a:lnTo>
                <a:lnTo>
                  <a:pt x="3694" y="246"/>
                </a:lnTo>
                <a:lnTo>
                  <a:pt x="3693" y="246"/>
                </a:lnTo>
                <a:lnTo>
                  <a:pt x="3692" y="247"/>
                </a:lnTo>
                <a:lnTo>
                  <a:pt x="3693" y="248"/>
                </a:lnTo>
                <a:lnTo>
                  <a:pt x="3694" y="249"/>
                </a:lnTo>
                <a:lnTo>
                  <a:pt x="3677" y="249"/>
                </a:lnTo>
                <a:lnTo>
                  <a:pt x="3663" y="251"/>
                </a:lnTo>
                <a:lnTo>
                  <a:pt x="3650" y="253"/>
                </a:lnTo>
                <a:lnTo>
                  <a:pt x="3637" y="255"/>
                </a:lnTo>
                <a:lnTo>
                  <a:pt x="3624" y="257"/>
                </a:lnTo>
                <a:lnTo>
                  <a:pt x="3608" y="259"/>
                </a:lnTo>
                <a:lnTo>
                  <a:pt x="3593" y="261"/>
                </a:lnTo>
                <a:lnTo>
                  <a:pt x="3574" y="261"/>
                </a:lnTo>
                <a:lnTo>
                  <a:pt x="3559" y="261"/>
                </a:lnTo>
                <a:lnTo>
                  <a:pt x="3544" y="260"/>
                </a:lnTo>
                <a:lnTo>
                  <a:pt x="3528" y="258"/>
                </a:lnTo>
                <a:lnTo>
                  <a:pt x="3515" y="256"/>
                </a:lnTo>
                <a:lnTo>
                  <a:pt x="3488" y="252"/>
                </a:lnTo>
                <a:lnTo>
                  <a:pt x="3461" y="246"/>
                </a:lnTo>
                <a:lnTo>
                  <a:pt x="3435" y="240"/>
                </a:lnTo>
                <a:lnTo>
                  <a:pt x="3408" y="236"/>
                </a:lnTo>
                <a:lnTo>
                  <a:pt x="3394" y="234"/>
                </a:lnTo>
                <a:lnTo>
                  <a:pt x="3379" y="232"/>
                </a:lnTo>
                <a:lnTo>
                  <a:pt x="3365" y="231"/>
                </a:lnTo>
                <a:lnTo>
                  <a:pt x="3348" y="231"/>
                </a:lnTo>
                <a:lnTo>
                  <a:pt x="3334" y="227"/>
                </a:lnTo>
                <a:lnTo>
                  <a:pt x="3313" y="219"/>
                </a:lnTo>
                <a:lnTo>
                  <a:pt x="3304" y="216"/>
                </a:lnTo>
                <a:lnTo>
                  <a:pt x="3296" y="214"/>
                </a:lnTo>
                <a:lnTo>
                  <a:pt x="3293" y="214"/>
                </a:lnTo>
                <a:lnTo>
                  <a:pt x="3291" y="215"/>
                </a:lnTo>
                <a:lnTo>
                  <a:pt x="3289" y="216"/>
                </a:lnTo>
                <a:lnTo>
                  <a:pt x="3289" y="218"/>
                </a:lnTo>
                <a:lnTo>
                  <a:pt x="3289" y="221"/>
                </a:lnTo>
                <a:lnTo>
                  <a:pt x="3290" y="226"/>
                </a:lnTo>
                <a:lnTo>
                  <a:pt x="3292" y="229"/>
                </a:lnTo>
                <a:lnTo>
                  <a:pt x="3295" y="233"/>
                </a:lnTo>
                <a:lnTo>
                  <a:pt x="3302" y="240"/>
                </a:lnTo>
                <a:lnTo>
                  <a:pt x="3310" y="247"/>
                </a:lnTo>
                <a:lnTo>
                  <a:pt x="3320" y="252"/>
                </a:lnTo>
                <a:lnTo>
                  <a:pt x="3328" y="257"/>
                </a:lnTo>
                <a:lnTo>
                  <a:pt x="3336" y="260"/>
                </a:lnTo>
                <a:lnTo>
                  <a:pt x="3341" y="261"/>
                </a:lnTo>
                <a:lnTo>
                  <a:pt x="3332" y="260"/>
                </a:lnTo>
                <a:lnTo>
                  <a:pt x="3323" y="257"/>
                </a:lnTo>
                <a:lnTo>
                  <a:pt x="3314" y="255"/>
                </a:lnTo>
                <a:lnTo>
                  <a:pt x="3305" y="251"/>
                </a:lnTo>
                <a:lnTo>
                  <a:pt x="3290" y="244"/>
                </a:lnTo>
                <a:lnTo>
                  <a:pt x="3273" y="235"/>
                </a:lnTo>
                <a:lnTo>
                  <a:pt x="3257" y="225"/>
                </a:lnTo>
                <a:lnTo>
                  <a:pt x="3239" y="213"/>
                </a:lnTo>
                <a:lnTo>
                  <a:pt x="3219" y="203"/>
                </a:lnTo>
                <a:lnTo>
                  <a:pt x="3195" y="193"/>
                </a:lnTo>
                <a:lnTo>
                  <a:pt x="3198" y="192"/>
                </a:lnTo>
                <a:lnTo>
                  <a:pt x="3200" y="190"/>
                </a:lnTo>
                <a:lnTo>
                  <a:pt x="3201" y="186"/>
                </a:lnTo>
                <a:lnTo>
                  <a:pt x="3201" y="181"/>
                </a:lnTo>
                <a:lnTo>
                  <a:pt x="3202" y="173"/>
                </a:lnTo>
                <a:lnTo>
                  <a:pt x="3202" y="169"/>
                </a:lnTo>
                <a:lnTo>
                  <a:pt x="3169" y="169"/>
                </a:lnTo>
                <a:lnTo>
                  <a:pt x="3164" y="170"/>
                </a:lnTo>
                <a:lnTo>
                  <a:pt x="3159" y="173"/>
                </a:lnTo>
                <a:lnTo>
                  <a:pt x="3154" y="177"/>
                </a:lnTo>
                <a:lnTo>
                  <a:pt x="3149" y="181"/>
                </a:lnTo>
                <a:lnTo>
                  <a:pt x="3153" y="187"/>
                </a:lnTo>
                <a:lnTo>
                  <a:pt x="3156" y="193"/>
                </a:lnTo>
                <a:lnTo>
                  <a:pt x="3144" y="196"/>
                </a:lnTo>
                <a:lnTo>
                  <a:pt x="3133" y="199"/>
                </a:lnTo>
                <a:lnTo>
                  <a:pt x="3122" y="203"/>
                </a:lnTo>
                <a:lnTo>
                  <a:pt x="3112" y="206"/>
                </a:lnTo>
                <a:lnTo>
                  <a:pt x="3093" y="215"/>
                </a:lnTo>
                <a:lnTo>
                  <a:pt x="3076" y="225"/>
                </a:lnTo>
                <a:lnTo>
                  <a:pt x="3058" y="235"/>
                </a:lnTo>
                <a:lnTo>
                  <a:pt x="3040" y="245"/>
                </a:lnTo>
                <a:lnTo>
                  <a:pt x="3030" y="249"/>
                </a:lnTo>
                <a:lnTo>
                  <a:pt x="3020" y="253"/>
                </a:lnTo>
                <a:lnTo>
                  <a:pt x="3008" y="257"/>
                </a:lnTo>
                <a:lnTo>
                  <a:pt x="2997" y="261"/>
                </a:lnTo>
                <a:lnTo>
                  <a:pt x="2997" y="257"/>
                </a:lnTo>
                <a:lnTo>
                  <a:pt x="2998" y="252"/>
                </a:lnTo>
                <a:lnTo>
                  <a:pt x="2999" y="248"/>
                </a:lnTo>
                <a:lnTo>
                  <a:pt x="3002" y="243"/>
                </a:lnTo>
                <a:lnTo>
                  <a:pt x="3008" y="235"/>
                </a:lnTo>
                <a:lnTo>
                  <a:pt x="3016" y="226"/>
                </a:lnTo>
                <a:lnTo>
                  <a:pt x="3026" y="217"/>
                </a:lnTo>
                <a:lnTo>
                  <a:pt x="3038" y="209"/>
                </a:lnTo>
                <a:lnTo>
                  <a:pt x="3052" y="201"/>
                </a:lnTo>
                <a:lnTo>
                  <a:pt x="3065" y="193"/>
                </a:lnTo>
                <a:lnTo>
                  <a:pt x="3093" y="179"/>
                </a:lnTo>
                <a:lnTo>
                  <a:pt x="3122" y="165"/>
                </a:lnTo>
                <a:lnTo>
                  <a:pt x="3148" y="154"/>
                </a:lnTo>
                <a:lnTo>
                  <a:pt x="3169" y="144"/>
                </a:lnTo>
                <a:lnTo>
                  <a:pt x="3157" y="136"/>
                </a:lnTo>
                <a:lnTo>
                  <a:pt x="3144" y="129"/>
                </a:lnTo>
                <a:lnTo>
                  <a:pt x="3130" y="122"/>
                </a:lnTo>
                <a:lnTo>
                  <a:pt x="3114" y="115"/>
                </a:lnTo>
                <a:lnTo>
                  <a:pt x="3098" y="107"/>
                </a:lnTo>
                <a:lnTo>
                  <a:pt x="3080" y="102"/>
                </a:lnTo>
                <a:lnTo>
                  <a:pt x="3063" y="96"/>
                </a:lnTo>
                <a:lnTo>
                  <a:pt x="3044" y="91"/>
                </a:lnTo>
                <a:lnTo>
                  <a:pt x="3024" y="86"/>
                </a:lnTo>
                <a:lnTo>
                  <a:pt x="3004" y="82"/>
                </a:lnTo>
                <a:lnTo>
                  <a:pt x="2985" y="79"/>
                </a:lnTo>
                <a:lnTo>
                  <a:pt x="2965" y="76"/>
                </a:lnTo>
                <a:lnTo>
                  <a:pt x="2944" y="74"/>
                </a:lnTo>
                <a:lnTo>
                  <a:pt x="2923" y="72"/>
                </a:lnTo>
                <a:lnTo>
                  <a:pt x="2903" y="71"/>
                </a:lnTo>
                <a:lnTo>
                  <a:pt x="2884" y="70"/>
                </a:lnTo>
                <a:lnTo>
                  <a:pt x="2875" y="71"/>
                </a:lnTo>
                <a:lnTo>
                  <a:pt x="2867" y="72"/>
                </a:lnTo>
                <a:lnTo>
                  <a:pt x="2862" y="74"/>
                </a:lnTo>
                <a:lnTo>
                  <a:pt x="2856" y="76"/>
                </a:lnTo>
                <a:lnTo>
                  <a:pt x="2850" y="79"/>
                </a:lnTo>
                <a:lnTo>
                  <a:pt x="2843" y="81"/>
                </a:lnTo>
                <a:lnTo>
                  <a:pt x="2834" y="82"/>
                </a:lnTo>
                <a:lnTo>
                  <a:pt x="2823" y="83"/>
                </a:lnTo>
                <a:lnTo>
                  <a:pt x="2723" y="64"/>
                </a:lnTo>
                <a:lnTo>
                  <a:pt x="2724" y="58"/>
                </a:lnTo>
                <a:lnTo>
                  <a:pt x="2726" y="52"/>
                </a:lnTo>
                <a:lnTo>
                  <a:pt x="2729" y="47"/>
                </a:lnTo>
                <a:lnTo>
                  <a:pt x="2731" y="42"/>
                </a:lnTo>
                <a:lnTo>
                  <a:pt x="2738" y="33"/>
                </a:lnTo>
                <a:lnTo>
                  <a:pt x="2744" y="21"/>
                </a:lnTo>
                <a:lnTo>
                  <a:pt x="2743" y="19"/>
                </a:lnTo>
                <a:lnTo>
                  <a:pt x="2742" y="17"/>
                </a:lnTo>
                <a:lnTo>
                  <a:pt x="2739" y="15"/>
                </a:lnTo>
                <a:lnTo>
                  <a:pt x="2735" y="13"/>
                </a:lnTo>
                <a:lnTo>
                  <a:pt x="2727" y="10"/>
                </a:lnTo>
                <a:lnTo>
                  <a:pt x="2717" y="9"/>
                </a:lnTo>
                <a:lnTo>
                  <a:pt x="2712" y="5"/>
                </a:lnTo>
                <a:lnTo>
                  <a:pt x="2707" y="1"/>
                </a:lnTo>
                <a:lnTo>
                  <a:pt x="2701" y="0"/>
                </a:lnTo>
                <a:lnTo>
                  <a:pt x="2696" y="0"/>
                </a:lnTo>
                <a:lnTo>
                  <a:pt x="2691" y="3"/>
                </a:lnTo>
                <a:lnTo>
                  <a:pt x="2687" y="7"/>
                </a:lnTo>
                <a:lnTo>
                  <a:pt x="2685" y="13"/>
                </a:lnTo>
                <a:lnTo>
                  <a:pt x="2684" y="21"/>
                </a:lnTo>
                <a:lnTo>
                  <a:pt x="2667" y="24"/>
                </a:lnTo>
                <a:lnTo>
                  <a:pt x="2653" y="29"/>
                </a:lnTo>
                <a:lnTo>
                  <a:pt x="2641" y="34"/>
                </a:lnTo>
                <a:lnTo>
                  <a:pt x="2630" y="40"/>
                </a:lnTo>
                <a:lnTo>
                  <a:pt x="2610" y="53"/>
                </a:lnTo>
                <a:lnTo>
                  <a:pt x="2590" y="64"/>
                </a:lnTo>
                <a:lnTo>
                  <a:pt x="2618" y="83"/>
                </a:lnTo>
                <a:lnTo>
                  <a:pt x="2611" y="83"/>
                </a:lnTo>
                <a:lnTo>
                  <a:pt x="2597" y="83"/>
                </a:lnTo>
                <a:lnTo>
                  <a:pt x="2575" y="83"/>
                </a:lnTo>
                <a:lnTo>
                  <a:pt x="2551" y="83"/>
                </a:lnTo>
                <a:lnTo>
                  <a:pt x="2567" y="97"/>
                </a:lnTo>
                <a:lnTo>
                  <a:pt x="2587" y="118"/>
                </a:lnTo>
                <a:lnTo>
                  <a:pt x="2598" y="128"/>
                </a:lnTo>
                <a:lnTo>
                  <a:pt x="2610" y="136"/>
                </a:lnTo>
                <a:lnTo>
                  <a:pt x="2617" y="140"/>
                </a:lnTo>
                <a:lnTo>
                  <a:pt x="2623" y="142"/>
                </a:lnTo>
                <a:lnTo>
                  <a:pt x="2630" y="144"/>
                </a:lnTo>
                <a:lnTo>
                  <a:pt x="2638" y="144"/>
                </a:lnTo>
                <a:lnTo>
                  <a:pt x="2630" y="144"/>
                </a:lnTo>
                <a:lnTo>
                  <a:pt x="2623" y="142"/>
                </a:lnTo>
                <a:lnTo>
                  <a:pt x="2618" y="140"/>
                </a:lnTo>
                <a:lnTo>
                  <a:pt x="2611" y="137"/>
                </a:lnTo>
                <a:lnTo>
                  <a:pt x="2600" y="130"/>
                </a:lnTo>
                <a:lnTo>
                  <a:pt x="2590" y="121"/>
                </a:lnTo>
                <a:lnTo>
                  <a:pt x="2579" y="110"/>
                </a:lnTo>
                <a:lnTo>
                  <a:pt x="2567" y="100"/>
                </a:lnTo>
                <a:lnTo>
                  <a:pt x="2561" y="95"/>
                </a:lnTo>
                <a:lnTo>
                  <a:pt x="2554" y="90"/>
                </a:lnTo>
                <a:lnTo>
                  <a:pt x="2547" y="86"/>
                </a:lnTo>
                <a:lnTo>
                  <a:pt x="2538" y="83"/>
                </a:lnTo>
                <a:lnTo>
                  <a:pt x="2465" y="114"/>
                </a:lnTo>
                <a:lnTo>
                  <a:pt x="2462" y="110"/>
                </a:lnTo>
                <a:lnTo>
                  <a:pt x="2455" y="104"/>
                </a:lnTo>
                <a:lnTo>
                  <a:pt x="2451" y="100"/>
                </a:lnTo>
                <a:lnTo>
                  <a:pt x="2446" y="98"/>
                </a:lnTo>
                <a:lnTo>
                  <a:pt x="2439" y="95"/>
                </a:lnTo>
                <a:lnTo>
                  <a:pt x="2431" y="95"/>
                </a:lnTo>
                <a:lnTo>
                  <a:pt x="2410" y="95"/>
                </a:lnTo>
                <a:lnTo>
                  <a:pt x="2391" y="98"/>
                </a:lnTo>
                <a:lnTo>
                  <a:pt x="2372" y="101"/>
                </a:lnTo>
                <a:lnTo>
                  <a:pt x="2354" y="105"/>
                </a:lnTo>
                <a:lnTo>
                  <a:pt x="2319" y="117"/>
                </a:lnTo>
                <a:lnTo>
                  <a:pt x="2284" y="129"/>
                </a:lnTo>
                <a:lnTo>
                  <a:pt x="2250" y="141"/>
                </a:lnTo>
                <a:lnTo>
                  <a:pt x="2214" y="152"/>
                </a:lnTo>
                <a:lnTo>
                  <a:pt x="2195" y="156"/>
                </a:lnTo>
                <a:lnTo>
                  <a:pt x="2175" y="159"/>
                </a:lnTo>
                <a:lnTo>
                  <a:pt x="2155" y="161"/>
                </a:lnTo>
                <a:lnTo>
                  <a:pt x="2133" y="162"/>
                </a:lnTo>
                <a:lnTo>
                  <a:pt x="2134" y="167"/>
                </a:lnTo>
                <a:lnTo>
                  <a:pt x="2137" y="173"/>
                </a:lnTo>
                <a:lnTo>
                  <a:pt x="2142" y="178"/>
                </a:lnTo>
                <a:lnTo>
                  <a:pt x="2149" y="183"/>
                </a:lnTo>
                <a:lnTo>
                  <a:pt x="2157" y="187"/>
                </a:lnTo>
                <a:lnTo>
                  <a:pt x="2167" y="190"/>
                </a:lnTo>
                <a:lnTo>
                  <a:pt x="2175" y="193"/>
                </a:lnTo>
                <a:lnTo>
                  <a:pt x="2185" y="193"/>
                </a:lnTo>
                <a:lnTo>
                  <a:pt x="2186" y="198"/>
                </a:lnTo>
                <a:lnTo>
                  <a:pt x="2187" y="203"/>
                </a:lnTo>
                <a:lnTo>
                  <a:pt x="2190" y="208"/>
                </a:lnTo>
                <a:lnTo>
                  <a:pt x="2192" y="213"/>
                </a:lnTo>
                <a:lnTo>
                  <a:pt x="2198" y="225"/>
                </a:lnTo>
                <a:lnTo>
                  <a:pt x="2207" y="235"/>
                </a:lnTo>
                <a:lnTo>
                  <a:pt x="2216" y="244"/>
                </a:lnTo>
                <a:lnTo>
                  <a:pt x="2225" y="251"/>
                </a:lnTo>
                <a:lnTo>
                  <a:pt x="2233" y="257"/>
                </a:lnTo>
                <a:lnTo>
                  <a:pt x="2239" y="261"/>
                </a:lnTo>
                <a:lnTo>
                  <a:pt x="2233" y="261"/>
                </a:lnTo>
                <a:lnTo>
                  <a:pt x="2227" y="260"/>
                </a:lnTo>
                <a:lnTo>
                  <a:pt x="2223" y="259"/>
                </a:lnTo>
                <a:lnTo>
                  <a:pt x="2217" y="257"/>
                </a:lnTo>
                <a:lnTo>
                  <a:pt x="2214" y="254"/>
                </a:lnTo>
                <a:lnTo>
                  <a:pt x="2209" y="251"/>
                </a:lnTo>
                <a:lnTo>
                  <a:pt x="2206" y="248"/>
                </a:lnTo>
                <a:lnTo>
                  <a:pt x="2203" y="244"/>
                </a:lnTo>
                <a:lnTo>
                  <a:pt x="2198" y="236"/>
                </a:lnTo>
                <a:lnTo>
                  <a:pt x="2195" y="225"/>
                </a:lnTo>
                <a:lnTo>
                  <a:pt x="2193" y="213"/>
                </a:lnTo>
                <a:lnTo>
                  <a:pt x="2192" y="200"/>
                </a:lnTo>
                <a:lnTo>
                  <a:pt x="2190" y="201"/>
                </a:lnTo>
                <a:lnTo>
                  <a:pt x="2186" y="202"/>
                </a:lnTo>
                <a:lnTo>
                  <a:pt x="2182" y="202"/>
                </a:lnTo>
                <a:lnTo>
                  <a:pt x="2179" y="202"/>
                </a:lnTo>
                <a:lnTo>
                  <a:pt x="2169" y="200"/>
                </a:lnTo>
                <a:lnTo>
                  <a:pt x="2159" y="200"/>
                </a:lnTo>
                <a:lnTo>
                  <a:pt x="2150" y="200"/>
                </a:lnTo>
                <a:lnTo>
                  <a:pt x="2141" y="202"/>
                </a:lnTo>
                <a:lnTo>
                  <a:pt x="2134" y="205"/>
                </a:lnTo>
                <a:lnTo>
                  <a:pt x="2126" y="209"/>
                </a:lnTo>
                <a:lnTo>
                  <a:pt x="2118" y="212"/>
                </a:lnTo>
                <a:lnTo>
                  <a:pt x="2111" y="215"/>
                </a:lnTo>
                <a:lnTo>
                  <a:pt x="2102" y="217"/>
                </a:lnTo>
                <a:lnTo>
                  <a:pt x="2093" y="218"/>
                </a:lnTo>
                <a:lnTo>
                  <a:pt x="2083" y="217"/>
                </a:lnTo>
                <a:lnTo>
                  <a:pt x="2073" y="214"/>
                </a:lnTo>
                <a:lnTo>
                  <a:pt x="2066" y="210"/>
                </a:lnTo>
                <a:lnTo>
                  <a:pt x="2059" y="206"/>
                </a:lnTo>
                <a:lnTo>
                  <a:pt x="2020" y="218"/>
                </a:lnTo>
                <a:lnTo>
                  <a:pt x="2013" y="218"/>
                </a:lnTo>
                <a:lnTo>
                  <a:pt x="2000" y="219"/>
                </a:lnTo>
                <a:lnTo>
                  <a:pt x="1992" y="221"/>
                </a:lnTo>
                <a:lnTo>
                  <a:pt x="1985" y="223"/>
                </a:lnTo>
                <a:lnTo>
                  <a:pt x="1983" y="225"/>
                </a:lnTo>
                <a:lnTo>
                  <a:pt x="1981" y="227"/>
                </a:lnTo>
                <a:lnTo>
                  <a:pt x="1980" y="229"/>
                </a:lnTo>
                <a:lnTo>
                  <a:pt x="1980" y="231"/>
                </a:lnTo>
                <a:lnTo>
                  <a:pt x="1980" y="234"/>
                </a:lnTo>
                <a:lnTo>
                  <a:pt x="1982" y="238"/>
                </a:lnTo>
                <a:lnTo>
                  <a:pt x="1984" y="242"/>
                </a:lnTo>
                <a:lnTo>
                  <a:pt x="1988" y="245"/>
                </a:lnTo>
                <a:lnTo>
                  <a:pt x="1996" y="253"/>
                </a:lnTo>
                <a:lnTo>
                  <a:pt x="2009" y="261"/>
                </a:lnTo>
                <a:lnTo>
                  <a:pt x="2023" y="270"/>
                </a:lnTo>
                <a:lnTo>
                  <a:pt x="2038" y="278"/>
                </a:lnTo>
                <a:lnTo>
                  <a:pt x="2056" y="287"/>
                </a:lnTo>
                <a:lnTo>
                  <a:pt x="2074" y="295"/>
                </a:lnTo>
                <a:lnTo>
                  <a:pt x="2112" y="311"/>
                </a:lnTo>
                <a:lnTo>
                  <a:pt x="2148" y="324"/>
                </a:lnTo>
                <a:lnTo>
                  <a:pt x="2178" y="334"/>
                </a:lnTo>
                <a:lnTo>
                  <a:pt x="2198" y="342"/>
                </a:lnTo>
                <a:lnTo>
                  <a:pt x="2200" y="352"/>
                </a:lnTo>
                <a:lnTo>
                  <a:pt x="2202" y="361"/>
                </a:lnTo>
                <a:lnTo>
                  <a:pt x="2204" y="369"/>
                </a:lnTo>
                <a:lnTo>
                  <a:pt x="2207" y="376"/>
                </a:lnTo>
                <a:lnTo>
                  <a:pt x="2216" y="389"/>
                </a:lnTo>
                <a:lnTo>
                  <a:pt x="2226" y="403"/>
                </a:lnTo>
                <a:lnTo>
                  <a:pt x="2214" y="405"/>
                </a:lnTo>
                <a:lnTo>
                  <a:pt x="2203" y="404"/>
                </a:lnTo>
                <a:lnTo>
                  <a:pt x="2193" y="402"/>
                </a:lnTo>
                <a:lnTo>
                  <a:pt x="2184" y="399"/>
                </a:lnTo>
                <a:lnTo>
                  <a:pt x="2177" y="394"/>
                </a:lnTo>
                <a:lnTo>
                  <a:pt x="2169" y="387"/>
                </a:lnTo>
                <a:lnTo>
                  <a:pt x="2161" y="381"/>
                </a:lnTo>
                <a:lnTo>
                  <a:pt x="2155" y="374"/>
                </a:lnTo>
                <a:lnTo>
                  <a:pt x="2142" y="360"/>
                </a:lnTo>
                <a:lnTo>
                  <a:pt x="2129" y="345"/>
                </a:lnTo>
                <a:lnTo>
                  <a:pt x="2123" y="339"/>
                </a:lnTo>
                <a:lnTo>
                  <a:pt x="2115" y="332"/>
                </a:lnTo>
                <a:lnTo>
                  <a:pt x="2107" y="327"/>
                </a:lnTo>
                <a:lnTo>
                  <a:pt x="2100" y="323"/>
                </a:lnTo>
                <a:lnTo>
                  <a:pt x="2065" y="315"/>
                </a:lnTo>
                <a:lnTo>
                  <a:pt x="2020" y="305"/>
                </a:lnTo>
                <a:lnTo>
                  <a:pt x="2009" y="302"/>
                </a:lnTo>
                <a:lnTo>
                  <a:pt x="1999" y="298"/>
                </a:lnTo>
                <a:lnTo>
                  <a:pt x="1989" y="293"/>
                </a:lnTo>
                <a:lnTo>
                  <a:pt x="1980" y="288"/>
                </a:lnTo>
                <a:lnTo>
                  <a:pt x="1972" y="281"/>
                </a:lnTo>
                <a:lnTo>
                  <a:pt x="1967" y="273"/>
                </a:lnTo>
                <a:lnTo>
                  <a:pt x="1964" y="269"/>
                </a:lnTo>
                <a:lnTo>
                  <a:pt x="1962" y="265"/>
                </a:lnTo>
                <a:lnTo>
                  <a:pt x="1960" y="260"/>
                </a:lnTo>
                <a:lnTo>
                  <a:pt x="1960" y="255"/>
                </a:lnTo>
                <a:lnTo>
                  <a:pt x="1947" y="255"/>
                </a:lnTo>
                <a:lnTo>
                  <a:pt x="1940" y="255"/>
                </a:lnTo>
                <a:lnTo>
                  <a:pt x="1933" y="256"/>
                </a:lnTo>
                <a:lnTo>
                  <a:pt x="1927" y="258"/>
                </a:lnTo>
                <a:lnTo>
                  <a:pt x="1922" y="261"/>
                </a:lnTo>
                <a:lnTo>
                  <a:pt x="1916" y="264"/>
                </a:lnTo>
                <a:lnTo>
                  <a:pt x="1910" y="267"/>
                </a:lnTo>
                <a:lnTo>
                  <a:pt x="1903" y="270"/>
                </a:lnTo>
                <a:lnTo>
                  <a:pt x="1895" y="272"/>
                </a:lnTo>
                <a:lnTo>
                  <a:pt x="1887" y="273"/>
                </a:lnTo>
                <a:lnTo>
                  <a:pt x="1882" y="287"/>
                </a:lnTo>
                <a:lnTo>
                  <a:pt x="1879" y="297"/>
                </a:lnTo>
                <a:lnTo>
                  <a:pt x="1877" y="301"/>
                </a:lnTo>
                <a:lnTo>
                  <a:pt x="1875" y="305"/>
                </a:lnTo>
                <a:lnTo>
                  <a:pt x="1871" y="308"/>
                </a:lnTo>
                <a:lnTo>
                  <a:pt x="1867" y="310"/>
                </a:lnTo>
                <a:lnTo>
                  <a:pt x="1871" y="316"/>
                </a:lnTo>
                <a:lnTo>
                  <a:pt x="1876" y="320"/>
                </a:lnTo>
                <a:lnTo>
                  <a:pt x="1882" y="325"/>
                </a:lnTo>
                <a:lnTo>
                  <a:pt x="1889" y="328"/>
                </a:lnTo>
                <a:lnTo>
                  <a:pt x="1903" y="334"/>
                </a:lnTo>
                <a:lnTo>
                  <a:pt x="1921" y="340"/>
                </a:lnTo>
                <a:lnTo>
                  <a:pt x="1959" y="349"/>
                </a:lnTo>
                <a:lnTo>
                  <a:pt x="2000" y="360"/>
                </a:lnTo>
                <a:lnTo>
                  <a:pt x="1954" y="360"/>
                </a:lnTo>
                <a:lnTo>
                  <a:pt x="1929" y="354"/>
                </a:lnTo>
                <a:lnTo>
                  <a:pt x="1906" y="349"/>
                </a:lnTo>
                <a:lnTo>
                  <a:pt x="1886" y="344"/>
                </a:lnTo>
                <a:lnTo>
                  <a:pt x="1866" y="338"/>
                </a:lnTo>
                <a:lnTo>
                  <a:pt x="1857" y="333"/>
                </a:lnTo>
                <a:lnTo>
                  <a:pt x="1849" y="328"/>
                </a:lnTo>
                <a:lnTo>
                  <a:pt x="1842" y="322"/>
                </a:lnTo>
                <a:lnTo>
                  <a:pt x="1835" y="315"/>
                </a:lnTo>
                <a:lnTo>
                  <a:pt x="1828" y="307"/>
                </a:lnTo>
                <a:lnTo>
                  <a:pt x="1823" y="298"/>
                </a:lnTo>
                <a:lnTo>
                  <a:pt x="1817" y="287"/>
                </a:lnTo>
                <a:lnTo>
                  <a:pt x="1814" y="273"/>
                </a:lnTo>
                <a:lnTo>
                  <a:pt x="1787" y="273"/>
                </a:lnTo>
                <a:lnTo>
                  <a:pt x="1787" y="282"/>
                </a:lnTo>
                <a:lnTo>
                  <a:pt x="1786" y="288"/>
                </a:lnTo>
                <a:lnTo>
                  <a:pt x="1785" y="293"/>
                </a:lnTo>
                <a:lnTo>
                  <a:pt x="1782" y="298"/>
                </a:lnTo>
                <a:lnTo>
                  <a:pt x="1776" y="306"/>
                </a:lnTo>
                <a:lnTo>
                  <a:pt x="1767" y="316"/>
                </a:lnTo>
                <a:lnTo>
                  <a:pt x="1771" y="323"/>
                </a:lnTo>
                <a:lnTo>
                  <a:pt x="1775" y="328"/>
                </a:lnTo>
                <a:lnTo>
                  <a:pt x="1779" y="332"/>
                </a:lnTo>
                <a:lnTo>
                  <a:pt x="1785" y="336"/>
                </a:lnTo>
                <a:lnTo>
                  <a:pt x="1793" y="342"/>
                </a:lnTo>
                <a:lnTo>
                  <a:pt x="1803" y="346"/>
                </a:lnTo>
                <a:lnTo>
                  <a:pt x="1813" y="351"/>
                </a:lnTo>
                <a:lnTo>
                  <a:pt x="1823" y="358"/>
                </a:lnTo>
                <a:lnTo>
                  <a:pt x="1827" y="363"/>
                </a:lnTo>
                <a:lnTo>
                  <a:pt x="1832" y="369"/>
                </a:lnTo>
                <a:lnTo>
                  <a:pt x="1836" y="376"/>
                </a:lnTo>
                <a:lnTo>
                  <a:pt x="1841" y="384"/>
                </a:lnTo>
                <a:lnTo>
                  <a:pt x="1842" y="389"/>
                </a:lnTo>
                <a:lnTo>
                  <a:pt x="1843" y="396"/>
                </a:lnTo>
                <a:lnTo>
                  <a:pt x="1844" y="402"/>
                </a:lnTo>
                <a:lnTo>
                  <a:pt x="1844" y="409"/>
                </a:lnTo>
                <a:lnTo>
                  <a:pt x="1844" y="415"/>
                </a:lnTo>
                <a:lnTo>
                  <a:pt x="1844" y="420"/>
                </a:lnTo>
                <a:lnTo>
                  <a:pt x="1845" y="424"/>
                </a:lnTo>
                <a:lnTo>
                  <a:pt x="1847" y="427"/>
                </a:lnTo>
                <a:lnTo>
                  <a:pt x="1859" y="436"/>
                </a:lnTo>
                <a:lnTo>
                  <a:pt x="1868" y="444"/>
                </a:lnTo>
                <a:lnTo>
                  <a:pt x="1872" y="448"/>
                </a:lnTo>
                <a:lnTo>
                  <a:pt x="1878" y="451"/>
                </a:lnTo>
                <a:lnTo>
                  <a:pt x="1884" y="452"/>
                </a:lnTo>
                <a:lnTo>
                  <a:pt x="1893" y="453"/>
                </a:lnTo>
                <a:lnTo>
                  <a:pt x="1902" y="452"/>
                </a:lnTo>
                <a:lnTo>
                  <a:pt x="1910" y="450"/>
                </a:lnTo>
                <a:lnTo>
                  <a:pt x="1917" y="446"/>
                </a:lnTo>
                <a:lnTo>
                  <a:pt x="1923" y="443"/>
                </a:lnTo>
                <a:lnTo>
                  <a:pt x="1929" y="439"/>
                </a:lnTo>
                <a:lnTo>
                  <a:pt x="1936" y="436"/>
                </a:lnTo>
                <a:lnTo>
                  <a:pt x="1944" y="434"/>
                </a:lnTo>
                <a:lnTo>
                  <a:pt x="1954" y="433"/>
                </a:lnTo>
                <a:lnTo>
                  <a:pt x="1961" y="434"/>
                </a:lnTo>
                <a:lnTo>
                  <a:pt x="1970" y="435"/>
                </a:lnTo>
                <a:lnTo>
                  <a:pt x="1978" y="437"/>
                </a:lnTo>
                <a:lnTo>
                  <a:pt x="1985" y="439"/>
                </a:lnTo>
                <a:lnTo>
                  <a:pt x="1999" y="445"/>
                </a:lnTo>
                <a:lnTo>
                  <a:pt x="2013" y="453"/>
                </a:lnTo>
                <a:lnTo>
                  <a:pt x="2027" y="459"/>
                </a:lnTo>
                <a:lnTo>
                  <a:pt x="2041" y="465"/>
                </a:lnTo>
                <a:lnTo>
                  <a:pt x="2048" y="467"/>
                </a:lnTo>
                <a:lnTo>
                  <a:pt x="2056" y="469"/>
                </a:lnTo>
                <a:lnTo>
                  <a:pt x="2065" y="470"/>
                </a:lnTo>
                <a:lnTo>
                  <a:pt x="2073" y="471"/>
                </a:lnTo>
                <a:lnTo>
                  <a:pt x="2076" y="482"/>
                </a:lnTo>
                <a:lnTo>
                  <a:pt x="2078" y="492"/>
                </a:lnTo>
                <a:lnTo>
                  <a:pt x="2082" y="503"/>
                </a:lnTo>
                <a:lnTo>
                  <a:pt x="2086" y="511"/>
                </a:lnTo>
                <a:lnTo>
                  <a:pt x="2090" y="515"/>
                </a:lnTo>
                <a:lnTo>
                  <a:pt x="2093" y="518"/>
                </a:lnTo>
                <a:lnTo>
                  <a:pt x="2097" y="522"/>
                </a:lnTo>
                <a:lnTo>
                  <a:pt x="2102" y="525"/>
                </a:lnTo>
                <a:lnTo>
                  <a:pt x="2106" y="527"/>
                </a:lnTo>
                <a:lnTo>
                  <a:pt x="2113" y="529"/>
                </a:lnTo>
                <a:lnTo>
                  <a:pt x="2118" y="531"/>
                </a:lnTo>
                <a:lnTo>
                  <a:pt x="2126" y="532"/>
                </a:lnTo>
                <a:lnTo>
                  <a:pt x="2111" y="532"/>
                </a:lnTo>
                <a:lnTo>
                  <a:pt x="2100" y="532"/>
                </a:lnTo>
                <a:lnTo>
                  <a:pt x="2093" y="532"/>
                </a:lnTo>
                <a:lnTo>
                  <a:pt x="2086" y="531"/>
                </a:lnTo>
                <a:lnTo>
                  <a:pt x="2081" y="530"/>
                </a:lnTo>
                <a:lnTo>
                  <a:pt x="2076" y="529"/>
                </a:lnTo>
                <a:lnTo>
                  <a:pt x="2067" y="524"/>
                </a:lnTo>
                <a:lnTo>
                  <a:pt x="2059" y="519"/>
                </a:lnTo>
                <a:lnTo>
                  <a:pt x="2052" y="513"/>
                </a:lnTo>
                <a:lnTo>
                  <a:pt x="2046" y="506"/>
                </a:lnTo>
                <a:lnTo>
                  <a:pt x="2040" y="497"/>
                </a:lnTo>
                <a:lnTo>
                  <a:pt x="2035" y="489"/>
                </a:lnTo>
                <a:lnTo>
                  <a:pt x="2030" y="481"/>
                </a:lnTo>
                <a:lnTo>
                  <a:pt x="2024" y="473"/>
                </a:lnTo>
                <a:lnTo>
                  <a:pt x="2017" y="466"/>
                </a:lnTo>
                <a:lnTo>
                  <a:pt x="2011" y="460"/>
                </a:lnTo>
                <a:lnTo>
                  <a:pt x="2002" y="454"/>
                </a:lnTo>
                <a:lnTo>
                  <a:pt x="1992" y="450"/>
                </a:lnTo>
                <a:lnTo>
                  <a:pt x="1980" y="448"/>
                </a:lnTo>
                <a:lnTo>
                  <a:pt x="1967" y="446"/>
                </a:lnTo>
                <a:lnTo>
                  <a:pt x="1959" y="446"/>
                </a:lnTo>
                <a:lnTo>
                  <a:pt x="1953" y="449"/>
                </a:lnTo>
                <a:lnTo>
                  <a:pt x="1946" y="451"/>
                </a:lnTo>
                <a:lnTo>
                  <a:pt x="1939" y="453"/>
                </a:lnTo>
                <a:lnTo>
                  <a:pt x="1927" y="459"/>
                </a:lnTo>
                <a:lnTo>
                  <a:pt x="1913" y="465"/>
                </a:lnTo>
                <a:lnTo>
                  <a:pt x="1918" y="477"/>
                </a:lnTo>
                <a:lnTo>
                  <a:pt x="1932" y="499"/>
                </a:lnTo>
                <a:lnTo>
                  <a:pt x="1939" y="512"/>
                </a:lnTo>
                <a:lnTo>
                  <a:pt x="1947" y="523"/>
                </a:lnTo>
                <a:lnTo>
                  <a:pt x="1954" y="532"/>
                </a:lnTo>
                <a:lnTo>
                  <a:pt x="1960" y="538"/>
                </a:lnTo>
                <a:lnTo>
                  <a:pt x="1945" y="554"/>
                </a:lnTo>
                <a:lnTo>
                  <a:pt x="1929" y="573"/>
                </a:lnTo>
                <a:lnTo>
                  <a:pt x="1924" y="578"/>
                </a:lnTo>
                <a:lnTo>
                  <a:pt x="1918" y="581"/>
                </a:lnTo>
                <a:lnTo>
                  <a:pt x="1913" y="585"/>
                </a:lnTo>
                <a:lnTo>
                  <a:pt x="1906" y="588"/>
                </a:lnTo>
                <a:lnTo>
                  <a:pt x="1900" y="590"/>
                </a:lnTo>
                <a:lnTo>
                  <a:pt x="1892" y="592"/>
                </a:lnTo>
                <a:lnTo>
                  <a:pt x="1883" y="593"/>
                </a:lnTo>
                <a:lnTo>
                  <a:pt x="1873" y="594"/>
                </a:lnTo>
                <a:lnTo>
                  <a:pt x="1855" y="595"/>
                </a:lnTo>
                <a:lnTo>
                  <a:pt x="1838" y="597"/>
                </a:lnTo>
                <a:lnTo>
                  <a:pt x="1823" y="600"/>
                </a:lnTo>
                <a:lnTo>
                  <a:pt x="1810" y="603"/>
                </a:lnTo>
                <a:lnTo>
                  <a:pt x="1797" y="604"/>
                </a:lnTo>
                <a:lnTo>
                  <a:pt x="1785" y="604"/>
                </a:lnTo>
                <a:lnTo>
                  <a:pt x="1779" y="603"/>
                </a:lnTo>
                <a:lnTo>
                  <a:pt x="1772" y="601"/>
                </a:lnTo>
                <a:lnTo>
                  <a:pt x="1767" y="598"/>
                </a:lnTo>
                <a:lnTo>
                  <a:pt x="1760" y="594"/>
                </a:lnTo>
                <a:lnTo>
                  <a:pt x="1778" y="593"/>
                </a:lnTo>
                <a:lnTo>
                  <a:pt x="1793" y="591"/>
                </a:lnTo>
                <a:lnTo>
                  <a:pt x="1806" y="589"/>
                </a:lnTo>
                <a:lnTo>
                  <a:pt x="1821" y="588"/>
                </a:lnTo>
                <a:lnTo>
                  <a:pt x="1826" y="587"/>
                </a:lnTo>
                <a:lnTo>
                  <a:pt x="1832" y="586"/>
                </a:lnTo>
                <a:lnTo>
                  <a:pt x="1837" y="585"/>
                </a:lnTo>
                <a:lnTo>
                  <a:pt x="1843" y="583"/>
                </a:lnTo>
                <a:lnTo>
                  <a:pt x="1847" y="580"/>
                </a:lnTo>
                <a:lnTo>
                  <a:pt x="1852" y="577"/>
                </a:lnTo>
                <a:lnTo>
                  <a:pt x="1856" y="573"/>
                </a:lnTo>
                <a:lnTo>
                  <a:pt x="1859" y="569"/>
                </a:lnTo>
                <a:lnTo>
                  <a:pt x="1866" y="560"/>
                </a:lnTo>
                <a:lnTo>
                  <a:pt x="1870" y="548"/>
                </a:lnTo>
                <a:lnTo>
                  <a:pt x="1872" y="538"/>
                </a:lnTo>
                <a:lnTo>
                  <a:pt x="1873" y="526"/>
                </a:lnTo>
                <a:lnTo>
                  <a:pt x="1873" y="520"/>
                </a:lnTo>
                <a:lnTo>
                  <a:pt x="1873" y="512"/>
                </a:lnTo>
                <a:lnTo>
                  <a:pt x="1873" y="499"/>
                </a:lnTo>
                <a:lnTo>
                  <a:pt x="1873" y="483"/>
                </a:lnTo>
                <a:lnTo>
                  <a:pt x="1860" y="480"/>
                </a:lnTo>
                <a:lnTo>
                  <a:pt x="1849" y="476"/>
                </a:lnTo>
                <a:lnTo>
                  <a:pt x="1839" y="470"/>
                </a:lnTo>
                <a:lnTo>
                  <a:pt x="1832" y="464"/>
                </a:lnTo>
                <a:lnTo>
                  <a:pt x="1824" y="457"/>
                </a:lnTo>
                <a:lnTo>
                  <a:pt x="1817" y="449"/>
                </a:lnTo>
                <a:lnTo>
                  <a:pt x="1812" y="440"/>
                </a:lnTo>
                <a:lnTo>
                  <a:pt x="1806" y="431"/>
                </a:lnTo>
                <a:lnTo>
                  <a:pt x="1796" y="413"/>
                </a:lnTo>
                <a:lnTo>
                  <a:pt x="1785" y="396"/>
                </a:lnTo>
                <a:lnTo>
                  <a:pt x="1778" y="387"/>
                </a:lnTo>
                <a:lnTo>
                  <a:pt x="1771" y="379"/>
                </a:lnTo>
                <a:lnTo>
                  <a:pt x="1764" y="372"/>
                </a:lnTo>
                <a:lnTo>
                  <a:pt x="1754" y="366"/>
                </a:lnTo>
                <a:lnTo>
                  <a:pt x="1708" y="348"/>
                </a:lnTo>
                <a:lnTo>
                  <a:pt x="1705" y="342"/>
                </a:lnTo>
                <a:lnTo>
                  <a:pt x="1707" y="333"/>
                </a:lnTo>
                <a:lnTo>
                  <a:pt x="1708" y="324"/>
                </a:lnTo>
                <a:lnTo>
                  <a:pt x="1709" y="313"/>
                </a:lnTo>
                <a:lnTo>
                  <a:pt x="1710" y="303"/>
                </a:lnTo>
                <a:lnTo>
                  <a:pt x="1709" y="294"/>
                </a:lnTo>
                <a:lnTo>
                  <a:pt x="1708" y="290"/>
                </a:lnTo>
                <a:lnTo>
                  <a:pt x="1707" y="286"/>
                </a:lnTo>
                <a:lnTo>
                  <a:pt x="1704" y="283"/>
                </a:lnTo>
                <a:lnTo>
                  <a:pt x="1701" y="279"/>
                </a:lnTo>
                <a:lnTo>
                  <a:pt x="1698" y="276"/>
                </a:lnTo>
                <a:lnTo>
                  <a:pt x="1693" y="273"/>
                </a:lnTo>
                <a:lnTo>
                  <a:pt x="1689" y="271"/>
                </a:lnTo>
                <a:lnTo>
                  <a:pt x="1682" y="269"/>
                </a:lnTo>
                <a:lnTo>
                  <a:pt x="1669" y="266"/>
                </a:lnTo>
                <a:lnTo>
                  <a:pt x="1654" y="263"/>
                </a:lnTo>
                <a:lnTo>
                  <a:pt x="1618" y="261"/>
                </a:lnTo>
                <a:lnTo>
                  <a:pt x="1581" y="261"/>
                </a:lnTo>
                <a:lnTo>
                  <a:pt x="1596" y="257"/>
                </a:lnTo>
                <a:lnTo>
                  <a:pt x="1609" y="253"/>
                </a:lnTo>
                <a:lnTo>
                  <a:pt x="1613" y="249"/>
                </a:lnTo>
                <a:lnTo>
                  <a:pt x="1618" y="245"/>
                </a:lnTo>
                <a:lnTo>
                  <a:pt x="1620" y="239"/>
                </a:lnTo>
                <a:lnTo>
                  <a:pt x="1621" y="231"/>
                </a:lnTo>
                <a:lnTo>
                  <a:pt x="1608" y="231"/>
                </a:lnTo>
                <a:lnTo>
                  <a:pt x="1596" y="231"/>
                </a:lnTo>
                <a:lnTo>
                  <a:pt x="1581" y="231"/>
                </a:lnTo>
                <a:lnTo>
                  <a:pt x="1562" y="231"/>
                </a:lnTo>
                <a:lnTo>
                  <a:pt x="1559" y="246"/>
                </a:lnTo>
                <a:lnTo>
                  <a:pt x="1555" y="263"/>
                </a:lnTo>
                <a:lnTo>
                  <a:pt x="1550" y="279"/>
                </a:lnTo>
                <a:lnTo>
                  <a:pt x="1548" y="292"/>
                </a:lnTo>
                <a:lnTo>
                  <a:pt x="1548" y="294"/>
                </a:lnTo>
                <a:lnTo>
                  <a:pt x="1550" y="295"/>
                </a:lnTo>
                <a:lnTo>
                  <a:pt x="1552" y="295"/>
                </a:lnTo>
                <a:lnTo>
                  <a:pt x="1555" y="295"/>
                </a:lnTo>
                <a:lnTo>
                  <a:pt x="1559" y="293"/>
                </a:lnTo>
                <a:lnTo>
                  <a:pt x="1562" y="292"/>
                </a:lnTo>
                <a:lnTo>
                  <a:pt x="1562" y="323"/>
                </a:lnTo>
                <a:lnTo>
                  <a:pt x="1552" y="327"/>
                </a:lnTo>
                <a:lnTo>
                  <a:pt x="1543" y="331"/>
                </a:lnTo>
                <a:lnTo>
                  <a:pt x="1537" y="332"/>
                </a:lnTo>
                <a:lnTo>
                  <a:pt x="1531" y="334"/>
                </a:lnTo>
                <a:lnTo>
                  <a:pt x="1524" y="334"/>
                </a:lnTo>
                <a:lnTo>
                  <a:pt x="1514" y="336"/>
                </a:lnTo>
                <a:lnTo>
                  <a:pt x="1514" y="345"/>
                </a:lnTo>
                <a:lnTo>
                  <a:pt x="1514" y="354"/>
                </a:lnTo>
                <a:lnTo>
                  <a:pt x="1532" y="375"/>
                </a:lnTo>
                <a:lnTo>
                  <a:pt x="1555" y="404"/>
                </a:lnTo>
                <a:lnTo>
                  <a:pt x="1562" y="411"/>
                </a:lnTo>
                <a:lnTo>
                  <a:pt x="1569" y="418"/>
                </a:lnTo>
                <a:lnTo>
                  <a:pt x="1577" y="424"/>
                </a:lnTo>
                <a:lnTo>
                  <a:pt x="1585" y="429"/>
                </a:lnTo>
                <a:lnTo>
                  <a:pt x="1593" y="433"/>
                </a:lnTo>
                <a:lnTo>
                  <a:pt x="1602" y="437"/>
                </a:lnTo>
                <a:lnTo>
                  <a:pt x="1611" y="439"/>
                </a:lnTo>
                <a:lnTo>
                  <a:pt x="1621" y="439"/>
                </a:lnTo>
                <a:lnTo>
                  <a:pt x="1622" y="445"/>
                </a:lnTo>
                <a:lnTo>
                  <a:pt x="1623" y="451"/>
                </a:lnTo>
                <a:lnTo>
                  <a:pt x="1625" y="455"/>
                </a:lnTo>
                <a:lnTo>
                  <a:pt x="1629" y="458"/>
                </a:lnTo>
                <a:lnTo>
                  <a:pt x="1636" y="465"/>
                </a:lnTo>
                <a:lnTo>
                  <a:pt x="1645" y="471"/>
                </a:lnTo>
                <a:lnTo>
                  <a:pt x="1654" y="477"/>
                </a:lnTo>
                <a:lnTo>
                  <a:pt x="1663" y="483"/>
                </a:lnTo>
                <a:lnTo>
                  <a:pt x="1667" y="487"/>
                </a:lnTo>
                <a:lnTo>
                  <a:pt x="1670" y="491"/>
                </a:lnTo>
                <a:lnTo>
                  <a:pt x="1673" y="496"/>
                </a:lnTo>
                <a:lnTo>
                  <a:pt x="1674" y="501"/>
                </a:lnTo>
                <a:lnTo>
                  <a:pt x="1667" y="501"/>
                </a:lnTo>
                <a:lnTo>
                  <a:pt x="1654" y="501"/>
                </a:lnTo>
                <a:lnTo>
                  <a:pt x="1645" y="499"/>
                </a:lnTo>
                <a:lnTo>
                  <a:pt x="1625" y="494"/>
                </a:lnTo>
                <a:lnTo>
                  <a:pt x="1599" y="487"/>
                </a:lnTo>
                <a:lnTo>
                  <a:pt x="1568" y="478"/>
                </a:lnTo>
                <a:lnTo>
                  <a:pt x="1539" y="468"/>
                </a:lnTo>
                <a:lnTo>
                  <a:pt x="1513" y="458"/>
                </a:lnTo>
                <a:lnTo>
                  <a:pt x="1502" y="453"/>
                </a:lnTo>
                <a:lnTo>
                  <a:pt x="1495" y="448"/>
                </a:lnTo>
                <a:lnTo>
                  <a:pt x="1492" y="445"/>
                </a:lnTo>
                <a:lnTo>
                  <a:pt x="1490" y="443"/>
                </a:lnTo>
                <a:lnTo>
                  <a:pt x="1488" y="441"/>
                </a:lnTo>
                <a:lnTo>
                  <a:pt x="1488" y="439"/>
                </a:lnTo>
                <a:lnTo>
                  <a:pt x="1467" y="439"/>
                </a:lnTo>
                <a:lnTo>
                  <a:pt x="1432" y="436"/>
                </a:lnTo>
                <a:lnTo>
                  <a:pt x="1389" y="432"/>
                </a:lnTo>
                <a:lnTo>
                  <a:pt x="1343" y="425"/>
                </a:lnTo>
                <a:lnTo>
                  <a:pt x="1320" y="421"/>
                </a:lnTo>
                <a:lnTo>
                  <a:pt x="1298" y="417"/>
                </a:lnTo>
                <a:lnTo>
                  <a:pt x="1277" y="412"/>
                </a:lnTo>
                <a:lnTo>
                  <a:pt x="1260" y="406"/>
                </a:lnTo>
                <a:lnTo>
                  <a:pt x="1251" y="403"/>
                </a:lnTo>
                <a:lnTo>
                  <a:pt x="1244" y="400"/>
                </a:lnTo>
                <a:lnTo>
                  <a:pt x="1238" y="397"/>
                </a:lnTo>
                <a:lnTo>
                  <a:pt x="1232" y="394"/>
                </a:lnTo>
                <a:lnTo>
                  <a:pt x="1228" y="389"/>
                </a:lnTo>
                <a:lnTo>
                  <a:pt x="1225" y="386"/>
                </a:lnTo>
                <a:lnTo>
                  <a:pt x="1223" y="382"/>
                </a:lnTo>
                <a:lnTo>
                  <a:pt x="1222" y="378"/>
                </a:lnTo>
                <a:lnTo>
                  <a:pt x="1210" y="381"/>
                </a:lnTo>
                <a:lnTo>
                  <a:pt x="1203" y="384"/>
                </a:lnTo>
                <a:lnTo>
                  <a:pt x="1203" y="389"/>
                </a:lnTo>
                <a:lnTo>
                  <a:pt x="1204" y="395"/>
                </a:lnTo>
                <a:lnTo>
                  <a:pt x="1205" y="399"/>
                </a:lnTo>
                <a:lnTo>
                  <a:pt x="1207" y="403"/>
                </a:lnTo>
                <a:lnTo>
                  <a:pt x="1211" y="410"/>
                </a:lnTo>
                <a:lnTo>
                  <a:pt x="1218" y="416"/>
                </a:lnTo>
                <a:lnTo>
                  <a:pt x="1225" y="421"/>
                </a:lnTo>
                <a:lnTo>
                  <a:pt x="1233" y="425"/>
                </a:lnTo>
                <a:lnTo>
                  <a:pt x="1243" y="429"/>
                </a:lnTo>
                <a:lnTo>
                  <a:pt x="1253" y="433"/>
                </a:lnTo>
                <a:lnTo>
                  <a:pt x="1274" y="442"/>
                </a:lnTo>
                <a:lnTo>
                  <a:pt x="1295" y="452"/>
                </a:lnTo>
                <a:lnTo>
                  <a:pt x="1305" y="458"/>
                </a:lnTo>
                <a:lnTo>
                  <a:pt x="1313" y="465"/>
                </a:lnTo>
                <a:lnTo>
                  <a:pt x="1322" y="473"/>
                </a:lnTo>
                <a:lnTo>
                  <a:pt x="1329" y="483"/>
                </a:lnTo>
                <a:lnTo>
                  <a:pt x="1319" y="483"/>
                </a:lnTo>
                <a:lnTo>
                  <a:pt x="1309" y="483"/>
                </a:lnTo>
                <a:lnTo>
                  <a:pt x="1297" y="481"/>
                </a:lnTo>
                <a:lnTo>
                  <a:pt x="1281" y="477"/>
                </a:lnTo>
                <a:lnTo>
                  <a:pt x="1272" y="475"/>
                </a:lnTo>
                <a:lnTo>
                  <a:pt x="1262" y="473"/>
                </a:lnTo>
                <a:lnTo>
                  <a:pt x="1252" y="471"/>
                </a:lnTo>
                <a:lnTo>
                  <a:pt x="1242" y="471"/>
                </a:lnTo>
                <a:lnTo>
                  <a:pt x="1232" y="471"/>
                </a:lnTo>
                <a:lnTo>
                  <a:pt x="1221" y="473"/>
                </a:lnTo>
                <a:lnTo>
                  <a:pt x="1210" y="475"/>
                </a:lnTo>
                <a:lnTo>
                  <a:pt x="1198" y="477"/>
                </a:lnTo>
                <a:lnTo>
                  <a:pt x="1174" y="484"/>
                </a:lnTo>
                <a:lnTo>
                  <a:pt x="1149" y="492"/>
                </a:lnTo>
                <a:lnTo>
                  <a:pt x="1122" y="500"/>
                </a:lnTo>
                <a:lnTo>
                  <a:pt x="1097" y="508"/>
                </a:lnTo>
                <a:lnTo>
                  <a:pt x="1085" y="510"/>
                </a:lnTo>
                <a:lnTo>
                  <a:pt x="1073" y="512"/>
                </a:lnTo>
                <a:lnTo>
                  <a:pt x="1061" y="514"/>
                </a:lnTo>
                <a:lnTo>
                  <a:pt x="1050" y="514"/>
                </a:lnTo>
                <a:lnTo>
                  <a:pt x="1046" y="513"/>
                </a:lnTo>
                <a:lnTo>
                  <a:pt x="1042" y="511"/>
                </a:lnTo>
                <a:lnTo>
                  <a:pt x="1040" y="507"/>
                </a:lnTo>
                <a:lnTo>
                  <a:pt x="1040" y="503"/>
                </a:lnTo>
                <a:lnTo>
                  <a:pt x="1040" y="496"/>
                </a:lnTo>
                <a:lnTo>
                  <a:pt x="1042" y="490"/>
                </a:lnTo>
                <a:lnTo>
                  <a:pt x="1046" y="484"/>
                </a:lnTo>
                <a:lnTo>
                  <a:pt x="1050" y="477"/>
                </a:lnTo>
                <a:lnTo>
                  <a:pt x="1040" y="473"/>
                </a:lnTo>
                <a:lnTo>
                  <a:pt x="1030" y="472"/>
                </a:lnTo>
                <a:lnTo>
                  <a:pt x="1019" y="471"/>
                </a:lnTo>
                <a:lnTo>
                  <a:pt x="1009" y="471"/>
                </a:lnTo>
                <a:lnTo>
                  <a:pt x="1007" y="475"/>
                </a:lnTo>
                <a:lnTo>
                  <a:pt x="1004" y="477"/>
                </a:lnTo>
                <a:lnTo>
                  <a:pt x="999" y="479"/>
                </a:lnTo>
                <a:lnTo>
                  <a:pt x="994" y="480"/>
                </a:lnTo>
                <a:lnTo>
                  <a:pt x="984" y="480"/>
                </a:lnTo>
                <a:lnTo>
                  <a:pt x="972" y="479"/>
                </a:lnTo>
                <a:lnTo>
                  <a:pt x="961" y="477"/>
                </a:lnTo>
                <a:lnTo>
                  <a:pt x="949" y="477"/>
                </a:lnTo>
                <a:lnTo>
                  <a:pt x="943" y="477"/>
                </a:lnTo>
                <a:lnTo>
                  <a:pt x="939" y="478"/>
                </a:lnTo>
                <a:lnTo>
                  <a:pt x="934" y="480"/>
                </a:lnTo>
                <a:lnTo>
                  <a:pt x="930" y="483"/>
                </a:lnTo>
                <a:lnTo>
                  <a:pt x="924" y="489"/>
                </a:lnTo>
                <a:lnTo>
                  <a:pt x="916" y="495"/>
                </a:lnTo>
                <a:lnTo>
                  <a:pt x="908" y="500"/>
                </a:lnTo>
                <a:lnTo>
                  <a:pt x="900" y="505"/>
                </a:lnTo>
                <a:lnTo>
                  <a:pt x="882" y="513"/>
                </a:lnTo>
                <a:lnTo>
                  <a:pt x="864" y="522"/>
                </a:lnTo>
                <a:lnTo>
                  <a:pt x="857" y="526"/>
                </a:lnTo>
                <a:lnTo>
                  <a:pt x="849" y="532"/>
                </a:lnTo>
                <a:lnTo>
                  <a:pt x="841" y="538"/>
                </a:lnTo>
                <a:lnTo>
                  <a:pt x="836" y="545"/>
                </a:lnTo>
                <a:lnTo>
                  <a:pt x="830" y="553"/>
                </a:lnTo>
                <a:lnTo>
                  <a:pt x="827" y="564"/>
                </a:lnTo>
                <a:lnTo>
                  <a:pt x="825" y="575"/>
                </a:lnTo>
                <a:lnTo>
                  <a:pt x="824" y="588"/>
                </a:lnTo>
                <a:lnTo>
                  <a:pt x="810" y="584"/>
                </a:lnTo>
                <a:lnTo>
                  <a:pt x="797" y="581"/>
                </a:lnTo>
                <a:lnTo>
                  <a:pt x="791" y="581"/>
                </a:lnTo>
                <a:lnTo>
                  <a:pt x="784" y="582"/>
                </a:lnTo>
                <a:lnTo>
                  <a:pt x="778" y="584"/>
                </a:lnTo>
                <a:lnTo>
                  <a:pt x="771" y="588"/>
                </a:lnTo>
                <a:lnTo>
                  <a:pt x="758" y="582"/>
                </a:lnTo>
                <a:lnTo>
                  <a:pt x="740" y="575"/>
                </a:lnTo>
                <a:lnTo>
                  <a:pt x="732" y="571"/>
                </a:lnTo>
                <a:lnTo>
                  <a:pt x="724" y="566"/>
                </a:lnTo>
                <a:lnTo>
                  <a:pt x="716" y="562"/>
                </a:lnTo>
                <a:lnTo>
                  <a:pt x="711" y="556"/>
                </a:lnTo>
                <a:lnTo>
                  <a:pt x="711" y="526"/>
                </a:lnTo>
                <a:lnTo>
                  <a:pt x="721" y="526"/>
                </a:lnTo>
                <a:lnTo>
                  <a:pt x="730" y="526"/>
                </a:lnTo>
                <a:lnTo>
                  <a:pt x="738" y="526"/>
                </a:lnTo>
                <a:lnTo>
                  <a:pt x="744" y="526"/>
                </a:lnTo>
                <a:lnTo>
                  <a:pt x="740" y="516"/>
                </a:lnTo>
                <a:lnTo>
                  <a:pt x="736" y="507"/>
                </a:lnTo>
                <a:lnTo>
                  <a:pt x="730" y="499"/>
                </a:lnTo>
                <a:lnTo>
                  <a:pt x="723" y="493"/>
                </a:lnTo>
                <a:lnTo>
                  <a:pt x="714" y="488"/>
                </a:lnTo>
                <a:lnTo>
                  <a:pt x="704" y="485"/>
                </a:lnTo>
                <a:lnTo>
                  <a:pt x="692" y="483"/>
                </a:lnTo>
                <a:lnTo>
                  <a:pt x="678" y="483"/>
                </a:lnTo>
                <a:lnTo>
                  <a:pt x="668" y="483"/>
                </a:lnTo>
                <a:lnTo>
                  <a:pt x="656" y="483"/>
                </a:lnTo>
                <a:lnTo>
                  <a:pt x="643" y="483"/>
                </a:lnTo>
                <a:lnTo>
                  <a:pt x="624" y="483"/>
                </a:lnTo>
                <a:lnTo>
                  <a:pt x="627" y="487"/>
                </a:lnTo>
                <a:lnTo>
                  <a:pt x="632" y="491"/>
                </a:lnTo>
                <a:lnTo>
                  <a:pt x="636" y="495"/>
                </a:lnTo>
                <a:lnTo>
                  <a:pt x="640" y="498"/>
                </a:lnTo>
                <a:lnTo>
                  <a:pt x="645" y="501"/>
                </a:lnTo>
                <a:lnTo>
                  <a:pt x="648" y="506"/>
                </a:lnTo>
                <a:lnTo>
                  <a:pt x="650" y="510"/>
                </a:lnTo>
                <a:lnTo>
                  <a:pt x="651" y="514"/>
                </a:lnTo>
                <a:lnTo>
                  <a:pt x="650" y="519"/>
                </a:lnTo>
                <a:lnTo>
                  <a:pt x="649" y="523"/>
                </a:lnTo>
                <a:lnTo>
                  <a:pt x="648" y="525"/>
                </a:lnTo>
                <a:lnTo>
                  <a:pt x="646" y="528"/>
                </a:lnTo>
                <a:lnTo>
                  <a:pt x="643" y="530"/>
                </a:lnTo>
                <a:lnTo>
                  <a:pt x="638" y="532"/>
                </a:lnTo>
                <a:lnTo>
                  <a:pt x="647" y="541"/>
                </a:lnTo>
                <a:lnTo>
                  <a:pt x="656" y="550"/>
                </a:lnTo>
                <a:lnTo>
                  <a:pt x="661" y="554"/>
                </a:lnTo>
                <a:lnTo>
                  <a:pt x="668" y="557"/>
                </a:lnTo>
                <a:lnTo>
                  <a:pt x="676" y="561"/>
                </a:lnTo>
                <a:lnTo>
                  <a:pt x="684" y="564"/>
                </a:lnTo>
                <a:lnTo>
                  <a:pt x="684" y="619"/>
                </a:lnTo>
                <a:lnTo>
                  <a:pt x="677" y="619"/>
                </a:lnTo>
                <a:lnTo>
                  <a:pt x="665" y="619"/>
                </a:lnTo>
                <a:lnTo>
                  <a:pt x="659" y="610"/>
                </a:lnTo>
                <a:lnTo>
                  <a:pt x="654" y="604"/>
                </a:lnTo>
                <a:lnTo>
                  <a:pt x="647" y="599"/>
                </a:lnTo>
                <a:lnTo>
                  <a:pt x="639" y="595"/>
                </a:lnTo>
                <a:lnTo>
                  <a:pt x="623" y="589"/>
                </a:lnTo>
                <a:lnTo>
                  <a:pt x="604" y="582"/>
                </a:lnTo>
                <a:lnTo>
                  <a:pt x="602" y="585"/>
                </a:lnTo>
                <a:lnTo>
                  <a:pt x="599" y="589"/>
                </a:lnTo>
                <a:lnTo>
                  <a:pt x="594" y="593"/>
                </a:lnTo>
                <a:lnTo>
                  <a:pt x="588" y="597"/>
                </a:lnTo>
                <a:lnTo>
                  <a:pt x="575" y="606"/>
                </a:lnTo>
                <a:lnTo>
                  <a:pt x="559" y="615"/>
                </a:lnTo>
                <a:lnTo>
                  <a:pt x="544" y="624"/>
                </a:lnTo>
                <a:lnTo>
                  <a:pt x="531" y="631"/>
                </a:lnTo>
                <a:lnTo>
                  <a:pt x="525" y="635"/>
                </a:lnTo>
                <a:lnTo>
                  <a:pt x="522" y="638"/>
                </a:lnTo>
                <a:lnTo>
                  <a:pt x="519" y="641"/>
                </a:lnTo>
                <a:lnTo>
                  <a:pt x="519" y="643"/>
                </a:lnTo>
                <a:lnTo>
                  <a:pt x="519" y="647"/>
                </a:lnTo>
                <a:lnTo>
                  <a:pt x="520" y="651"/>
                </a:lnTo>
                <a:lnTo>
                  <a:pt x="521" y="655"/>
                </a:lnTo>
                <a:lnTo>
                  <a:pt x="523" y="658"/>
                </a:lnTo>
                <a:lnTo>
                  <a:pt x="528" y="663"/>
                </a:lnTo>
                <a:lnTo>
                  <a:pt x="536" y="667"/>
                </a:lnTo>
                <a:lnTo>
                  <a:pt x="543" y="673"/>
                </a:lnTo>
                <a:lnTo>
                  <a:pt x="549" y="678"/>
                </a:lnTo>
                <a:lnTo>
                  <a:pt x="551" y="681"/>
                </a:lnTo>
                <a:lnTo>
                  <a:pt x="555" y="685"/>
                </a:lnTo>
                <a:lnTo>
                  <a:pt x="557" y="688"/>
                </a:lnTo>
                <a:lnTo>
                  <a:pt x="558" y="693"/>
                </a:lnTo>
                <a:lnTo>
                  <a:pt x="471" y="693"/>
                </a:lnTo>
                <a:lnTo>
                  <a:pt x="467" y="705"/>
                </a:lnTo>
                <a:lnTo>
                  <a:pt x="464" y="721"/>
                </a:lnTo>
                <a:lnTo>
                  <a:pt x="460" y="730"/>
                </a:lnTo>
                <a:lnTo>
                  <a:pt x="457" y="736"/>
                </a:lnTo>
                <a:lnTo>
                  <a:pt x="454" y="739"/>
                </a:lnTo>
                <a:lnTo>
                  <a:pt x="452" y="740"/>
                </a:lnTo>
                <a:lnTo>
                  <a:pt x="448" y="742"/>
                </a:lnTo>
                <a:lnTo>
                  <a:pt x="445" y="742"/>
                </a:lnTo>
                <a:lnTo>
                  <a:pt x="433" y="742"/>
                </a:lnTo>
                <a:lnTo>
                  <a:pt x="420" y="741"/>
                </a:lnTo>
                <a:lnTo>
                  <a:pt x="407" y="739"/>
                </a:lnTo>
                <a:lnTo>
                  <a:pt x="393" y="736"/>
                </a:lnTo>
                <a:lnTo>
                  <a:pt x="380" y="733"/>
                </a:lnTo>
                <a:lnTo>
                  <a:pt x="367" y="729"/>
                </a:lnTo>
                <a:lnTo>
                  <a:pt x="355" y="723"/>
                </a:lnTo>
                <a:lnTo>
                  <a:pt x="344" y="718"/>
                </a:lnTo>
                <a:lnTo>
                  <a:pt x="333" y="711"/>
                </a:lnTo>
                <a:lnTo>
                  <a:pt x="323" y="704"/>
                </a:lnTo>
                <a:lnTo>
                  <a:pt x="314" y="696"/>
                </a:lnTo>
                <a:lnTo>
                  <a:pt x="307" y="687"/>
                </a:lnTo>
                <a:lnTo>
                  <a:pt x="301" y="678"/>
                </a:lnTo>
                <a:lnTo>
                  <a:pt x="296" y="666"/>
                </a:lnTo>
                <a:lnTo>
                  <a:pt x="293" y="655"/>
                </a:lnTo>
                <a:lnTo>
                  <a:pt x="292" y="643"/>
                </a:lnTo>
                <a:lnTo>
                  <a:pt x="289" y="636"/>
                </a:lnTo>
                <a:lnTo>
                  <a:pt x="286" y="625"/>
                </a:lnTo>
                <a:lnTo>
                  <a:pt x="273" y="622"/>
                </a:lnTo>
                <a:lnTo>
                  <a:pt x="254" y="616"/>
                </a:lnTo>
                <a:lnTo>
                  <a:pt x="232" y="609"/>
                </a:lnTo>
                <a:lnTo>
                  <a:pt x="209" y="601"/>
                </a:lnTo>
                <a:lnTo>
                  <a:pt x="188" y="592"/>
                </a:lnTo>
                <a:lnTo>
                  <a:pt x="169" y="582"/>
                </a:lnTo>
                <a:lnTo>
                  <a:pt x="163" y="578"/>
                </a:lnTo>
                <a:lnTo>
                  <a:pt x="157" y="573"/>
                </a:lnTo>
                <a:lnTo>
                  <a:pt x="154" y="568"/>
                </a:lnTo>
                <a:lnTo>
                  <a:pt x="153" y="564"/>
                </a:lnTo>
                <a:lnTo>
                  <a:pt x="162" y="567"/>
                </a:lnTo>
                <a:lnTo>
                  <a:pt x="183" y="574"/>
                </a:lnTo>
                <a:lnTo>
                  <a:pt x="211" y="582"/>
                </a:lnTo>
                <a:lnTo>
                  <a:pt x="244" y="590"/>
                </a:lnTo>
                <a:lnTo>
                  <a:pt x="277" y="598"/>
                </a:lnTo>
                <a:lnTo>
                  <a:pt x="308" y="605"/>
                </a:lnTo>
                <a:lnTo>
                  <a:pt x="332" y="610"/>
                </a:lnTo>
                <a:lnTo>
                  <a:pt x="345" y="612"/>
                </a:lnTo>
                <a:lnTo>
                  <a:pt x="368" y="612"/>
                </a:lnTo>
                <a:lnTo>
                  <a:pt x="390" y="612"/>
                </a:lnTo>
                <a:lnTo>
                  <a:pt x="414" y="612"/>
                </a:lnTo>
                <a:lnTo>
                  <a:pt x="445" y="612"/>
                </a:lnTo>
                <a:lnTo>
                  <a:pt x="454" y="612"/>
                </a:lnTo>
                <a:lnTo>
                  <a:pt x="461" y="611"/>
                </a:lnTo>
                <a:lnTo>
                  <a:pt x="469" y="609"/>
                </a:lnTo>
                <a:lnTo>
                  <a:pt x="477" y="607"/>
                </a:lnTo>
                <a:lnTo>
                  <a:pt x="490" y="601"/>
                </a:lnTo>
                <a:lnTo>
                  <a:pt x="502" y="594"/>
                </a:lnTo>
                <a:lnTo>
                  <a:pt x="514" y="585"/>
                </a:lnTo>
                <a:lnTo>
                  <a:pt x="524" y="576"/>
                </a:lnTo>
                <a:lnTo>
                  <a:pt x="535" y="567"/>
                </a:lnTo>
                <a:lnTo>
                  <a:pt x="545" y="556"/>
                </a:lnTo>
                <a:lnTo>
                  <a:pt x="536" y="547"/>
                </a:lnTo>
                <a:lnTo>
                  <a:pt x="527" y="536"/>
                </a:lnTo>
                <a:lnTo>
                  <a:pt x="523" y="531"/>
                </a:lnTo>
                <a:lnTo>
                  <a:pt x="517" y="527"/>
                </a:lnTo>
                <a:lnTo>
                  <a:pt x="512" y="523"/>
                </a:lnTo>
                <a:lnTo>
                  <a:pt x="505" y="520"/>
                </a:lnTo>
                <a:lnTo>
                  <a:pt x="500" y="518"/>
                </a:lnTo>
                <a:lnTo>
                  <a:pt x="484" y="511"/>
                </a:lnTo>
                <a:lnTo>
                  <a:pt x="459" y="499"/>
                </a:lnTo>
                <a:lnTo>
                  <a:pt x="424" y="487"/>
                </a:lnTo>
                <a:lnTo>
                  <a:pt x="403" y="481"/>
                </a:lnTo>
                <a:lnTo>
                  <a:pt x="379" y="475"/>
                </a:lnTo>
                <a:lnTo>
                  <a:pt x="352" y="469"/>
                </a:lnTo>
                <a:lnTo>
                  <a:pt x="323" y="463"/>
                </a:lnTo>
                <a:lnTo>
                  <a:pt x="291" y="458"/>
                </a:lnTo>
                <a:lnTo>
                  <a:pt x="256" y="453"/>
                </a:lnTo>
                <a:lnTo>
                  <a:pt x="219" y="449"/>
                </a:lnTo>
                <a:lnTo>
                  <a:pt x="179" y="446"/>
                </a:lnTo>
                <a:lnTo>
                  <a:pt x="172" y="446"/>
                </a:lnTo>
                <a:lnTo>
                  <a:pt x="165" y="445"/>
                </a:lnTo>
                <a:lnTo>
                  <a:pt x="158" y="444"/>
                </a:lnTo>
                <a:lnTo>
                  <a:pt x="152" y="442"/>
                </a:lnTo>
                <a:lnTo>
                  <a:pt x="150" y="440"/>
                </a:lnTo>
                <a:lnTo>
                  <a:pt x="146" y="438"/>
                </a:lnTo>
                <a:lnTo>
                  <a:pt x="144" y="436"/>
                </a:lnTo>
                <a:lnTo>
                  <a:pt x="143" y="433"/>
                </a:lnTo>
                <a:lnTo>
                  <a:pt x="141" y="425"/>
                </a:lnTo>
                <a:lnTo>
                  <a:pt x="140" y="415"/>
                </a:lnTo>
                <a:lnTo>
                  <a:pt x="120" y="420"/>
                </a:lnTo>
                <a:lnTo>
                  <a:pt x="99" y="425"/>
                </a:lnTo>
                <a:lnTo>
                  <a:pt x="77" y="431"/>
                </a:lnTo>
                <a:lnTo>
                  <a:pt x="53" y="439"/>
                </a:lnTo>
                <a:lnTo>
                  <a:pt x="50" y="441"/>
                </a:lnTo>
                <a:lnTo>
                  <a:pt x="43" y="445"/>
                </a:lnTo>
                <a:lnTo>
                  <a:pt x="40" y="446"/>
                </a:lnTo>
                <a:lnTo>
                  <a:pt x="37" y="448"/>
                </a:lnTo>
                <a:lnTo>
                  <a:pt x="34" y="448"/>
                </a:lnTo>
                <a:lnTo>
                  <a:pt x="33" y="446"/>
                </a:lnTo>
                <a:lnTo>
                  <a:pt x="0" y="483"/>
                </a:lnTo>
                <a:lnTo>
                  <a:pt x="4" y="488"/>
                </a:lnTo>
                <a:lnTo>
                  <a:pt x="8" y="493"/>
                </a:lnTo>
                <a:lnTo>
                  <a:pt x="13" y="498"/>
                </a:lnTo>
                <a:lnTo>
                  <a:pt x="18" y="503"/>
                </a:lnTo>
                <a:lnTo>
                  <a:pt x="29" y="509"/>
                </a:lnTo>
                <a:lnTo>
                  <a:pt x="40" y="515"/>
                </a:lnTo>
                <a:lnTo>
                  <a:pt x="62" y="524"/>
                </a:lnTo>
                <a:lnTo>
                  <a:pt x="79" y="532"/>
                </a:lnTo>
                <a:lnTo>
                  <a:pt x="77" y="540"/>
                </a:lnTo>
                <a:lnTo>
                  <a:pt x="74" y="547"/>
                </a:lnTo>
                <a:lnTo>
                  <a:pt x="71" y="552"/>
                </a:lnTo>
                <a:lnTo>
                  <a:pt x="67" y="556"/>
                </a:lnTo>
                <a:lnTo>
                  <a:pt x="64" y="562"/>
                </a:lnTo>
                <a:lnTo>
                  <a:pt x="62" y="567"/>
                </a:lnTo>
                <a:lnTo>
                  <a:pt x="61" y="574"/>
                </a:lnTo>
                <a:lnTo>
                  <a:pt x="60" y="582"/>
                </a:lnTo>
                <a:lnTo>
                  <a:pt x="61" y="589"/>
                </a:lnTo>
                <a:lnTo>
                  <a:pt x="65" y="597"/>
                </a:lnTo>
                <a:lnTo>
                  <a:pt x="71" y="605"/>
                </a:lnTo>
                <a:lnTo>
                  <a:pt x="77" y="614"/>
                </a:lnTo>
                <a:lnTo>
                  <a:pt x="84" y="621"/>
                </a:lnTo>
                <a:lnTo>
                  <a:pt x="90" y="626"/>
                </a:lnTo>
                <a:lnTo>
                  <a:pt x="96" y="630"/>
                </a:lnTo>
                <a:lnTo>
                  <a:pt x="99" y="631"/>
                </a:lnTo>
                <a:lnTo>
                  <a:pt x="100" y="647"/>
                </a:lnTo>
                <a:lnTo>
                  <a:pt x="102" y="662"/>
                </a:lnTo>
                <a:lnTo>
                  <a:pt x="106" y="677"/>
                </a:lnTo>
                <a:lnTo>
                  <a:pt x="111" y="689"/>
                </a:lnTo>
                <a:lnTo>
                  <a:pt x="117" y="700"/>
                </a:lnTo>
                <a:lnTo>
                  <a:pt x="123" y="710"/>
                </a:lnTo>
                <a:lnTo>
                  <a:pt x="131" y="719"/>
                </a:lnTo>
                <a:lnTo>
                  <a:pt x="140" y="728"/>
                </a:lnTo>
                <a:lnTo>
                  <a:pt x="149" y="736"/>
                </a:lnTo>
                <a:lnTo>
                  <a:pt x="158" y="743"/>
                </a:lnTo>
                <a:lnTo>
                  <a:pt x="168" y="750"/>
                </a:lnTo>
                <a:lnTo>
                  <a:pt x="178" y="756"/>
                </a:lnTo>
                <a:lnTo>
                  <a:pt x="199" y="767"/>
                </a:lnTo>
                <a:lnTo>
                  <a:pt x="219" y="778"/>
                </a:lnTo>
                <a:lnTo>
                  <a:pt x="184" y="815"/>
                </a:lnTo>
                <a:lnTo>
                  <a:pt x="146" y="856"/>
                </a:lnTo>
                <a:lnTo>
                  <a:pt x="128" y="875"/>
                </a:lnTo>
                <a:lnTo>
                  <a:pt x="109" y="892"/>
                </a:lnTo>
                <a:lnTo>
                  <a:pt x="100" y="899"/>
                </a:lnTo>
                <a:lnTo>
                  <a:pt x="90" y="905"/>
                </a:lnTo>
                <a:lnTo>
                  <a:pt x="82" y="910"/>
                </a:lnTo>
                <a:lnTo>
                  <a:pt x="73" y="914"/>
                </a:lnTo>
                <a:lnTo>
                  <a:pt x="74" y="917"/>
                </a:lnTo>
                <a:lnTo>
                  <a:pt x="75" y="920"/>
                </a:lnTo>
                <a:lnTo>
                  <a:pt x="77" y="923"/>
                </a:lnTo>
                <a:lnTo>
                  <a:pt x="80" y="926"/>
                </a:lnTo>
                <a:lnTo>
                  <a:pt x="88" y="934"/>
                </a:lnTo>
                <a:lnTo>
                  <a:pt x="96" y="942"/>
                </a:lnTo>
                <a:lnTo>
                  <a:pt x="105" y="951"/>
                </a:lnTo>
                <a:lnTo>
                  <a:pt x="112" y="958"/>
                </a:lnTo>
                <a:lnTo>
                  <a:pt x="118" y="965"/>
                </a:lnTo>
                <a:lnTo>
                  <a:pt x="120" y="970"/>
                </a:lnTo>
                <a:lnTo>
                  <a:pt x="116" y="976"/>
                </a:lnTo>
                <a:lnTo>
                  <a:pt x="112" y="981"/>
                </a:lnTo>
                <a:lnTo>
                  <a:pt x="110" y="987"/>
                </a:lnTo>
                <a:lnTo>
                  <a:pt x="109" y="993"/>
                </a:lnTo>
                <a:lnTo>
                  <a:pt x="109" y="1005"/>
                </a:lnTo>
                <a:lnTo>
                  <a:pt x="111" y="1017"/>
                </a:lnTo>
                <a:lnTo>
                  <a:pt x="113" y="1029"/>
                </a:lnTo>
                <a:lnTo>
                  <a:pt x="116" y="1042"/>
                </a:lnTo>
                <a:lnTo>
                  <a:pt x="117" y="1048"/>
                </a:lnTo>
                <a:lnTo>
                  <a:pt x="116" y="1054"/>
                </a:lnTo>
                <a:lnTo>
                  <a:pt x="114" y="1062"/>
                </a:lnTo>
                <a:lnTo>
                  <a:pt x="113" y="1069"/>
                </a:lnTo>
                <a:lnTo>
                  <a:pt x="120" y="1090"/>
                </a:lnTo>
                <a:lnTo>
                  <a:pt x="130" y="1115"/>
                </a:lnTo>
                <a:lnTo>
                  <a:pt x="142" y="1139"/>
                </a:lnTo>
                <a:lnTo>
                  <a:pt x="153" y="1160"/>
                </a:lnTo>
                <a:lnTo>
                  <a:pt x="192" y="1180"/>
                </a:lnTo>
                <a:lnTo>
                  <a:pt x="232" y="1180"/>
                </a:lnTo>
                <a:lnTo>
                  <a:pt x="240" y="1204"/>
                </a:lnTo>
                <a:lnTo>
                  <a:pt x="279" y="1192"/>
                </a:lnTo>
                <a:lnTo>
                  <a:pt x="312" y="1204"/>
                </a:lnTo>
                <a:lnTo>
                  <a:pt x="319" y="1253"/>
                </a:lnTo>
                <a:lnTo>
                  <a:pt x="365" y="1291"/>
                </a:lnTo>
                <a:lnTo>
                  <a:pt x="399" y="1309"/>
                </a:lnTo>
                <a:lnTo>
                  <a:pt x="425" y="1327"/>
                </a:lnTo>
                <a:lnTo>
                  <a:pt x="399" y="1346"/>
                </a:lnTo>
                <a:lnTo>
                  <a:pt x="352" y="1333"/>
                </a:lnTo>
                <a:lnTo>
                  <a:pt x="358" y="1358"/>
                </a:lnTo>
                <a:lnTo>
                  <a:pt x="373" y="1370"/>
                </a:lnTo>
                <a:lnTo>
                  <a:pt x="373" y="1401"/>
                </a:lnTo>
                <a:lnTo>
                  <a:pt x="365" y="1401"/>
                </a:lnTo>
              </a:path>
            </a:pathLst>
          </a:custGeom>
          <a:solidFill>
            <a:srgbClr val="007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071" name="Freeform 23"/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3795720" y="1706169"/>
            <a:ext cx="280987" cy="185738"/>
          </a:xfrm>
          <a:custGeom>
            <a:avLst/>
            <a:gdLst/>
            <a:ahLst/>
            <a:cxnLst>
              <a:cxn ang="0">
                <a:pos x="406" y="27"/>
              </a:cxn>
              <a:cxn ang="0">
                <a:pos x="428" y="45"/>
              </a:cxn>
              <a:cxn ang="0">
                <a:pos x="458" y="60"/>
              </a:cxn>
              <a:cxn ang="0">
                <a:pos x="512" y="78"/>
              </a:cxn>
              <a:cxn ang="0">
                <a:pos x="538" y="81"/>
              </a:cxn>
              <a:cxn ang="0">
                <a:pos x="562" y="99"/>
              </a:cxn>
              <a:cxn ang="0">
                <a:pos x="567" y="97"/>
              </a:cxn>
              <a:cxn ang="0">
                <a:pos x="575" y="85"/>
              </a:cxn>
              <a:cxn ang="0">
                <a:pos x="583" y="78"/>
              </a:cxn>
              <a:cxn ang="0">
                <a:pos x="603" y="80"/>
              </a:cxn>
              <a:cxn ang="0">
                <a:pos x="624" y="79"/>
              </a:cxn>
              <a:cxn ang="0">
                <a:pos x="640" y="84"/>
              </a:cxn>
              <a:cxn ang="0">
                <a:pos x="646" y="103"/>
              </a:cxn>
              <a:cxn ang="0">
                <a:pos x="646" y="123"/>
              </a:cxn>
              <a:cxn ang="0">
                <a:pos x="618" y="131"/>
              </a:cxn>
              <a:cxn ang="0">
                <a:pos x="586" y="146"/>
              </a:cxn>
              <a:cxn ang="0">
                <a:pos x="560" y="165"/>
              </a:cxn>
              <a:cxn ang="0">
                <a:pos x="504" y="214"/>
              </a:cxn>
              <a:cxn ang="0">
                <a:pos x="489" y="227"/>
              </a:cxn>
              <a:cxn ang="0">
                <a:pos x="474" y="254"/>
              </a:cxn>
              <a:cxn ang="0">
                <a:pos x="473" y="282"/>
              </a:cxn>
              <a:cxn ang="0">
                <a:pos x="473" y="311"/>
              </a:cxn>
              <a:cxn ang="0">
                <a:pos x="463" y="340"/>
              </a:cxn>
              <a:cxn ang="0">
                <a:pos x="450" y="354"/>
              </a:cxn>
              <a:cxn ang="0">
                <a:pos x="411" y="384"/>
              </a:cxn>
              <a:cxn ang="0">
                <a:pos x="383" y="411"/>
              </a:cxn>
              <a:cxn ang="0">
                <a:pos x="374" y="425"/>
              </a:cxn>
              <a:cxn ang="0">
                <a:pos x="369" y="432"/>
              </a:cxn>
              <a:cxn ang="0">
                <a:pos x="310" y="429"/>
              </a:cxn>
              <a:cxn ang="0">
                <a:pos x="257" y="434"/>
              </a:cxn>
              <a:cxn ang="0">
                <a:pos x="224" y="446"/>
              </a:cxn>
              <a:cxn ang="0">
                <a:pos x="193" y="467"/>
              </a:cxn>
              <a:cxn ang="0">
                <a:pos x="179" y="469"/>
              </a:cxn>
              <a:cxn ang="0">
                <a:pos x="169" y="461"/>
              </a:cxn>
              <a:cxn ang="0">
                <a:pos x="153" y="432"/>
              </a:cxn>
              <a:cxn ang="0">
                <a:pos x="140" y="414"/>
              </a:cxn>
              <a:cxn ang="0">
                <a:pos x="122" y="400"/>
              </a:cxn>
              <a:cxn ang="0">
                <a:pos x="114" y="379"/>
              </a:cxn>
              <a:cxn ang="0">
                <a:pos x="126" y="336"/>
              </a:cxn>
              <a:cxn ang="0">
                <a:pos x="127" y="267"/>
              </a:cxn>
              <a:cxn ang="0">
                <a:pos x="147" y="206"/>
              </a:cxn>
              <a:cxn ang="0">
                <a:pos x="168" y="149"/>
              </a:cxn>
              <a:cxn ang="0">
                <a:pos x="172" y="131"/>
              </a:cxn>
              <a:cxn ang="0">
                <a:pos x="116" y="123"/>
              </a:cxn>
              <a:cxn ang="0">
                <a:pos x="62" y="109"/>
              </a:cxn>
              <a:cxn ang="0">
                <a:pos x="17" y="93"/>
              </a:cxn>
              <a:cxn ang="0">
                <a:pos x="0" y="38"/>
              </a:cxn>
              <a:cxn ang="0">
                <a:pos x="23" y="34"/>
              </a:cxn>
              <a:cxn ang="0">
                <a:pos x="51" y="20"/>
              </a:cxn>
              <a:cxn ang="0">
                <a:pos x="73" y="4"/>
              </a:cxn>
              <a:cxn ang="0">
                <a:pos x="86" y="0"/>
              </a:cxn>
              <a:cxn ang="0">
                <a:pos x="132" y="7"/>
              </a:cxn>
              <a:cxn ang="0">
                <a:pos x="171" y="17"/>
              </a:cxn>
              <a:cxn ang="0">
                <a:pos x="209" y="20"/>
              </a:cxn>
              <a:cxn ang="0">
                <a:pos x="235" y="29"/>
              </a:cxn>
              <a:cxn ang="0">
                <a:pos x="258" y="37"/>
              </a:cxn>
              <a:cxn ang="0">
                <a:pos x="385" y="26"/>
              </a:cxn>
            </a:cxnLst>
            <a:rect l="0" t="0" r="r" b="b"/>
            <a:pathLst>
              <a:path w="647" h="470">
                <a:moveTo>
                  <a:pt x="399" y="14"/>
                </a:moveTo>
                <a:lnTo>
                  <a:pt x="402" y="20"/>
                </a:lnTo>
                <a:lnTo>
                  <a:pt x="406" y="27"/>
                </a:lnTo>
                <a:lnTo>
                  <a:pt x="413" y="33"/>
                </a:lnTo>
                <a:lnTo>
                  <a:pt x="421" y="39"/>
                </a:lnTo>
                <a:lnTo>
                  <a:pt x="428" y="45"/>
                </a:lnTo>
                <a:lnTo>
                  <a:pt x="438" y="51"/>
                </a:lnTo>
                <a:lnTo>
                  <a:pt x="448" y="56"/>
                </a:lnTo>
                <a:lnTo>
                  <a:pt x="458" y="60"/>
                </a:lnTo>
                <a:lnTo>
                  <a:pt x="480" y="70"/>
                </a:lnTo>
                <a:lnTo>
                  <a:pt x="501" y="76"/>
                </a:lnTo>
                <a:lnTo>
                  <a:pt x="512" y="78"/>
                </a:lnTo>
                <a:lnTo>
                  <a:pt x="521" y="80"/>
                </a:lnTo>
                <a:lnTo>
                  <a:pt x="530" y="81"/>
                </a:lnTo>
                <a:lnTo>
                  <a:pt x="538" y="81"/>
                </a:lnTo>
                <a:lnTo>
                  <a:pt x="548" y="88"/>
                </a:lnTo>
                <a:lnTo>
                  <a:pt x="561" y="99"/>
                </a:lnTo>
                <a:lnTo>
                  <a:pt x="562" y="99"/>
                </a:lnTo>
                <a:lnTo>
                  <a:pt x="564" y="99"/>
                </a:lnTo>
                <a:lnTo>
                  <a:pt x="566" y="98"/>
                </a:lnTo>
                <a:lnTo>
                  <a:pt x="567" y="97"/>
                </a:lnTo>
                <a:lnTo>
                  <a:pt x="570" y="93"/>
                </a:lnTo>
                <a:lnTo>
                  <a:pt x="572" y="89"/>
                </a:lnTo>
                <a:lnTo>
                  <a:pt x="575" y="85"/>
                </a:lnTo>
                <a:lnTo>
                  <a:pt x="578" y="81"/>
                </a:lnTo>
                <a:lnTo>
                  <a:pt x="580" y="79"/>
                </a:lnTo>
                <a:lnTo>
                  <a:pt x="583" y="78"/>
                </a:lnTo>
                <a:lnTo>
                  <a:pt x="590" y="80"/>
                </a:lnTo>
                <a:lnTo>
                  <a:pt x="596" y="80"/>
                </a:lnTo>
                <a:lnTo>
                  <a:pt x="603" y="80"/>
                </a:lnTo>
                <a:lnTo>
                  <a:pt x="609" y="80"/>
                </a:lnTo>
                <a:lnTo>
                  <a:pt x="617" y="79"/>
                </a:lnTo>
                <a:lnTo>
                  <a:pt x="624" y="79"/>
                </a:lnTo>
                <a:lnTo>
                  <a:pt x="631" y="80"/>
                </a:lnTo>
                <a:lnTo>
                  <a:pt x="638" y="81"/>
                </a:lnTo>
                <a:lnTo>
                  <a:pt x="640" y="84"/>
                </a:lnTo>
                <a:lnTo>
                  <a:pt x="642" y="89"/>
                </a:lnTo>
                <a:lnTo>
                  <a:pt x="645" y="95"/>
                </a:lnTo>
                <a:lnTo>
                  <a:pt x="646" y="103"/>
                </a:lnTo>
                <a:lnTo>
                  <a:pt x="647" y="111"/>
                </a:lnTo>
                <a:lnTo>
                  <a:pt x="647" y="118"/>
                </a:lnTo>
                <a:lnTo>
                  <a:pt x="646" y="123"/>
                </a:lnTo>
                <a:lnTo>
                  <a:pt x="645" y="124"/>
                </a:lnTo>
                <a:lnTo>
                  <a:pt x="631" y="127"/>
                </a:lnTo>
                <a:lnTo>
                  <a:pt x="618" y="131"/>
                </a:lnTo>
                <a:lnTo>
                  <a:pt x="607" y="135"/>
                </a:lnTo>
                <a:lnTo>
                  <a:pt x="596" y="140"/>
                </a:lnTo>
                <a:lnTo>
                  <a:pt x="586" y="146"/>
                </a:lnTo>
                <a:lnTo>
                  <a:pt x="577" y="152"/>
                </a:lnTo>
                <a:lnTo>
                  <a:pt x="569" y="158"/>
                </a:lnTo>
                <a:lnTo>
                  <a:pt x="560" y="165"/>
                </a:lnTo>
                <a:lnTo>
                  <a:pt x="533" y="191"/>
                </a:lnTo>
                <a:lnTo>
                  <a:pt x="512" y="210"/>
                </a:lnTo>
                <a:lnTo>
                  <a:pt x="504" y="214"/>
                </a:lnTo>
                <a:lnTo>
                  <a:pt x="499" y="218"/>
                </a:lnTo>
                <a:lnTo>
                  <a:pt x="493" y="222"/>
                </a:lnTo>
                <a:lnTo>
                  <a:pt x="489" y="227"/>
                </a:lnTo>
                <a:lnTo>
                  <a:pt x="481" y="236"/>
                </a:lnTo>
                <a:lnTo>
                  <a:pt x="477" y="245"/>
                </a:lnTo>
                <a:lnTo>
                  <a:pt x="474" y="254"/>
                </a:lnTo>
                <a:lnTo>
                  <a:pt x="473" y="263"/>
                </a:lnTo>
                <a:lnTo>
                  <a:pt x="472" y="272"/>
                </a:lnTo>
                <a:lnTo>
                  <a:pt x="473" y="282"/>
                </a:lnTo>
                <a:lnTo>
                  <a:pt x="473" y="292"/>
                </a:lnTo>
                <a:lnTo>
                  <a:pt x="474" y="301"/>
                </a:lnTo>
                <a:lnTo>
                  <a:pt x="473" y="311"/>
                </a:lnTo>
                <a:lnTo>
                  <a:pt x="472" y="320"/>
                </a:lnTo>
                <a:lnTo>
                  <a:pt x="469" y="330"/>
                </a:lnTo>
                <a:lnTo>
                  <a:pt x="463" y="340"/>
                </a:lnTo>
                <a:lnTo>
                  <a:pt x="460" y="345"/>
                </a:lnTo>
                <a:lnTo>
                  <a:pt x="456" y="349"/>
                </a:lnTo>
                <a:lnTo>
                  <a:pt x="450" y="354"/>
                </a:lnTo>
                <a:lnTo>
                  <a:pt x="445" y="358"/>
                </a:lnTo>
                <a:lnTo>
                  <a:pt x="426" y="372"/>
                </a:lnTo>
                <a:lnTo>
                  <a:pt x="411" y="384"/>
                </a:lnTo>
                <a:lnTo>
                  <a:pt x="399" y="394"/>
                </a:lnTo>
                <a:lnTo>
                  <a:pt x="390" y="404"/>
                </a:lnTo>
                <a:lnTo>
                  <a:pt x="383" y="411"/>
                </a:lnTo>
                <a:lnTo>
                  <a:pt x="379" y="417"/>
                </a:lnTo>
                <a:lnTo>
                  <a:pt x="376" y="422"/>
                </a:lnTo>
                <a:lnTo>
                  <a:pt x="374" y="425"/>
                </a:lnTo>
                <a:lnTo>
                  <a:pt x="373" y="430"/>
                </a:lnTo>
                <a:lnTo>
                  <a:pt x="373" y="432"/>
                </a:lnTo>
                <a:lnTo>
                  <a:pt x="369" y="432"/>
                </a:lnTo>
                <a:lnTo>
                  <a:pt x="358" y="432"/>
                </a:lnTo>
                <a:lnTo>
                  <a:pt x="333" y="430"/>
                </a:lnTo>
                <a:lnTo>
                  <a:pt x="310" y="429"/>
                </a:lnTo>
                <a:lnTo>
                  <a:pt x="290" y="429"/>
                </a:lnTo>
                <a:lnTo>
                  <a:pt x="272" y="431"/>
                </a:lnTo>
                <a:lnTo>
                  <a:pt x="257" y="434"/>
                </a:lnTo>
                <a:lnTo>
                  <a:pt x="245" y="437"/>
                </a:lnTo>
                <a:lnTo>
                  <a:pt x="234" y="441"/>
                </a:lnTo>
                <a:lnTo>
                  <a:pt x="224" y="446"/>
                </a:lnTo>
                <a:lnTo>
                  <a:pt x="209" y="456"/>
                </a:lnTo>
                <a:lnTo>
                  <a:pt x="198" y="464"/>
                </a:lnTo>
                <a:lnTo>
                  <a:pt x="193" y="467"/>
                </a:lnTo>
                <a:lnTo>
                  <a:pt x="189" y="469"/>
                </a:lnTo>
                <a:lnTo>
                  <a:pt x="183" y="470"/>
                </a:lnTo>
                <a:lnTo>
                  <a:pt x="179" y="469"/>
                </a:lnTo>
                <a:lnTo>
                  <a:pt x="176" y="468"/>
                </a:lnTo>
                <a:lnTo>
                  <a:pt x="172" y="465"/>
                </a:lnTo>
                <a:lnTo>
                  <a:pt x="169" y="461"/>
                </a:lnTo>
                <a:lnTo>
                  <a:pt x="166" y="456"/>
                </a:lnTo>
                <a:lnTo>
                  <a:pt x="159" y="444"/>
                </a:lnTo>
                <a:lnTo>
                  <a:pt x="153" y="432"/>
                </a:lnTo>
                <a:lnTo>
                  <a:pt x="148" y="426"/>
                </a:lnTo>
                <a:lnTo>
                  <a:pt x="144" y="420"/>
                </a:lnTo>
                <a:lnTo>
                  <a:pt x="140" y="414"/>
                </a:lnTo>
                <a:lnTo>
                  <a:pt x="134" y="409"/>
                </a:lnTo>
                <a:lnTo>
                  <a:pt x="129" y="404"/>
                </a:lnTo>
                <a:lnTo>
                  <a:pt x="122" y="400"/>
                </a:lnTo>
                <a:lnTo>
                  <a:pt x="114" y="397"/>
                </a:lnTo>
                <a:lnTo>
                  <a:pt x="107" y="396"/>
                </a:lnTo>
                <a:lnTo>
                  <a:pt x="114" y="379"/>
                </a:lnTo>
                <a:lnTo>
                  <a:pt x="121" y="365"/>
                </a:lnTo>
                <a:lnTo>
                  <a:pt x="124" y="351"/>
                </a:lnTo>
                <a:lnTo>
                  <a:pt x="126" y="336"/>
                </a:lnTo>
                <a:lnTo>
                  <a:pt x="126" y="309"/>
                </a:lnTo>
                <a:lnTo>
                  <a:pt x="126" y="278"/>
                </a:lnTo>
                <a:lnTo>
                  <a:pt x="127" y="267"/>
                </a:lnTo>
                <a:lnTo>
                  <a:pt x="132" y="250"/>
                </a:lnTo>
                <a:lnTo>
                  <a:pt x="138" y="229"/>
                </a:lnTo>
                <a:lnTo>
                  <a:pt x="147" y="206"/>
                </a:lnTo>
                <a:lnTo>
                  <a:pt x="155" y="184"/>
                </a:lnTo>
                <a:lnTo>
                  <a:pt x="163" y="163"/>
                </a:lnTo>
                <a:lnTo>
                  <a:pt x="168" y="149"/>
                </a:lnTo>
                <a:lnTo>
                  <a:pt x="172" y="143"/>
                </a:lnTo>
                <a:lnTo>
                  <a:pt x="172" y="137"/>
                </a:lnTo>
                <a:lnTo>
                  <a:pt x="172" y="131"/>
                </a:lnTo>
                <a:lnTo>
                  <a:pt x="153" y="130"/>
                </a:lnTo>
                <a:lnTo>
                  <a:pt x="135" y="127"/>
                </a:lnTo>
                <a:lnTo>
                  <a:pt x="116" y="123"/>
                </a:lnTo>
                <a:lnTo>
                  <a:pt x="99" y="118"/>
                </a:lnTo>
                <a:lnTo>
                  <a:pt x="80" y="113"/>
                </a:lnTo>
                <a:lnTo>
                  <a:pt x="62" y="109"/>
                </a:lnTo>
                <a:lnTo>
                  <a:pt x="42" y="106"/>
                </a:lnTo>
                <a:lnTo>
                  <a:pt x="20" y="105"/>
                </a:lnTo>
                <a:lnTo>
                  <a:pt x="17" y="93"/>
                </a:lnTo>
                <a:lnTo>
                  <a:pt x="10" y="72"/>
                </a:lnTo>
                <a:lnTo>
                  <a:pt x="3" y="50"/>
                </a:lnTo>
                <a:lnTo>
                  <a:pt x="0" y="38"/>
                </a:lnTo>
                <a:lnTo>
                  <a:pt x="8" y="37"/>
                </a:lnTo>
                <a:lnTo>
                  <a:pt x="15" y="36"/>
                </a:lnTo>
                <a:lnTo>
                  <a:pt x="23" y="34"/>
                </a:lnTo>
                <a:lnTo>
                  <a:pt x="29" y="32"/>
                </a:lnTo>
                <a:lnTo>
                  <a:pt x="41" y="26"/>
                </a:lnTo>
                <a:lnTo>
                  <a:pt x="51" y="20"/>
                </a:lnTo>
                <a:lnTo>
                  <a:pt x="59" y="13"/>
                </a:lnTo>
                <a:lnTo>
                  <a:pt x="68" y="7"/>
                </a:lnTo>
                <a:lnTo>
                  <a:pt x="73" y="4"/>
                </a:lnTo>
                <a:lnTo>
                  <a:pt x="77" y="2"/>
                </a:lnTo>
                <a:lnTo>
                  <a:pt x="81" y="1"/>
                </a:lnTo>
                <a:lnTo>
                  <a:pt x="86" y="0"/>
                </a:lnTo>
                <a:lnTo>
                  <a:pt x="102" y="1"/>
                </a:lnTo>
                <a:lnTo>
                  <a:pt x="118" y="3"/>
                </a:lnTo>
                <a:lnTo>
                  <a:pt x="132" y="7"/>
                </a:lnTo>
                <a:lnTo>
                  <a:pt x="145" y="11"/>
                </a:lnTo>
                <a:lnTo>
                  <a:pt x="158" y="14"/>
                </a:lnTo>
                <a:lnTo>
                  <a:pt x="171" y="17"/>
                </a:lnTo>
                <a:lnTo>
                  <a:pt x="185" y="19"/>
                </a:lnTo>
                <a:lnTo>
                  <a:pt x="199" y="20"/>
                </a:lnTo>
                <a:lnTo>
                  <a:pt x="209" y="20"/>
                </a:lnTo>
                <a:lnTo>
                  <a:pt x="217" y="22"/>
                </a:lnTo>
                <a:lnTo>
                  <a:pt x="226" y="25"/>
                </a:lnTo>
                <a:lnTo>
                  <a:pt x="235" y="29"/>
                </a:lnTo>
                <a:lnTo>
                  <a:pt x="243" y="32"/>
                </a:lnTo>
                <a:lnTo>
                  <a:pt x="250" y="35"/>
                </a:lnTo>
                <a:lnTo>
                  <a:pt x="258" y="37"/>
                </a:lnTo>
                <a:lnTo>
                  <a:pt x="266" y="38"/>
                </a:lnTo>
                <a:lnTo>
                  <a:pt x="372" y="38"/>
                </a:lnTo>
                <a:lnTo>
                  <a:pt x="385" y="26"/>
                </a:lnTo>
                <a:lnTo>
                  <a:pt x="399" y="14"/>
                </a:lnTo>
              </a:path>
            </a:pathLst>
          </a:custGeom>
          <a:solidFill>
            <a:srgbClr val="007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072" name="Freeform 24"/>
          <p:cNvSpPr>
            <a:spLocks/>
          </p:cNvSpPr>
          <p:nvPr>
            <p:custDataLst>
              <p:tags r:id="rId19"/>
            </p:custDataLst>
          </p:nvPr>
        </p:nvSpPr>
        <p:spPr bwMode="auto">
          <a:xfrm>
            <a:off x="6427788" y="2259812"/>
            <a:ext cx="207962" cy="341710"/>
          </a:xfrm>
          <a:custGeom>
            <a:avLst/>
            <a:gdLst/>
            <a:ahLst/>
            <a:cxnLst>
              <a:cxn ang="0">
                <a:pos x="379" y="357"/>
              </a:cxn>
              <a:cxn ang="0">
                <a:pos x="333" y="370"/>
              </a:cxn>
              <a:cxn ang="0">
                <a:pos x="314" y="390"/>
              </a:cxn>
              <a:cxn ang="0">
                <a:pos x="316" y="428"/>
              </a:cxn>
              <a:cxn ang="0">
                <a:pos x="352" y="492"/>
              </a:cxn>
              <a:cxn ang="0">
                <a:pos x="359" y="530"/>
              </a:cxn>
              <a:cxn ang="0">
                <a:pos x="366" y="555"/>
              </a:cxn>
              <a:cxn ang="0">
                <a:pos x="323" y="526"/>
              </a:cxn>
              <a:cxn ang="0">
                <a:pos x="309" y="492"/>
              </a:cxn>
              <a:cxn ang="0">
                <a:pos x="269" y="467"/>
              </a:cxn>
              <a:cxn ang="0">
                <a:pos x="210" y="439"/>
              </a:cxn>
              <a:cxn ang="0">
                <a:pos x="193" y="406"/>
              </a:cxn>
              <a:cxn ang="0">
                <a:pos x="156" y="477"/>
              </a:cxn>
              <a:cxn ang="0">
                <a:pos x="156" y="524"/>
              </a:cxn>
              <a:cxn ang="0">
                <a:pos x="132" y="575"/>
              </a:cxn>
              <a:cxn ang="0">
                <a:pos x="128" y="621"/>
              </a:cxn>
              <a:cxn ang="0">
                <a:pos x="154" y="650"/>
              </a:cxn>
              <a:cxn ang="0">
                <a:pos x="175" y="685"/>
              </a:cxn>
              <a:cxn ang="0">
                <a:pos x="185" y="730"/>
              </a:cxn>
              <a:cxn ang="0">
                <a:pos x="226" y="780"/>
              </a:cxn>
              <a:cxn ang="0">
                <a:pos x="281" y="825"/>
              </a:cxn>
              <a:cxn ang="0">
                <a:pos x="340" y="850"/>
              </a:cxn>
              <a:cxn ang="0">
                <a:pos x="298" y="867"/>
              </a:cxn>
              <a:cxn ang="0">
                <a:pos x="269" y="864"/>
              </a:cxn>
              <a:cxn ang="0">
                <a:pos x="229" y="841"/>
              </a:cxn>
              <a:cxn ang="0">
                <a:pos x="200" y="823"/>
              </a:cxn>
              <a:cxn ang="0">
                <a:pos x="137" y="759"/>
              </a:cxn>
              <a:cxn ang="0">
                <a:pos x="83" y="730"/>
              </a:cxn>
              <a:cxn ang="0">
                <a:pos x="74" y="688"/>
              </a:cxn>
              <a:cxn ang="0">
                <a:pos x="80" y="653"/>
              </a:cxn>
              <a:cxn ang="0">
                <a:pos x="88" y="617"/>
              </a:cxn>
              <a:cxn ang="0">
                <a:pos x="120" y="498"/>
              </a:cxn>
              <a:cxn ang="0">
                <a:pos x="108" y="404"/>
              </a:cxn>
              <a:cxn ang="0">
                <a:pos x="62" y="319"/>
              </a:cxn>
              <a:cxn ang="0">
                <a:pos x="64" y="285"/>
              </a:cxn>
              <a:cxn ang="0">
                <a:pos x="74" y="265"/>
              </a:cxn>
              <a:cxn ang="0">
                <a:pos x="56" y="202"/>
              </a:cxn>
              <a:cxn ang="0">
                <a:pos x="23" y="158"/>
              </a:cxn>
              <a:cxn ang="0">
                <a:pos x="1" y="102"/>
              </a:cxn>
              <a:cxn ang="0">
                <a:pos x="11" y="44"/>
              </a:cxn>
              <a:cxn ang="0">
                <a:pos x="49" y="16"/>
              </a:cxn>
              <a:cxn ang="0">
                <a:pos x="120" y="0"/>
              </a:cxn>
              <a:cxn ang="0">
                <a:pos x="156" y="28"/>
              </a:cxn>
              <a:cxn ang="0">
                <a:pos x="179" y="36"/>
              </a:cxn>
              <a:cxn ang="0">
                <a:pos x="197" y="136"/>
              </a:cxn>
              <a:cxn ang="0">
                <a:pos x="213" y="166"/>
              </a:cxn>
              <a:cxn ang="0">
                <a:pos x="231" y="155"/>
              </a:cxn>
              <a:cxn ang="0">
                <a:pos x="258" y="126"/>
              </a:cxn>
              <a:cxn ang="0">
                <a:pos x="281" y="141"/>
              </a:cxn>
              <a:cxn ang="0">
                <a:pos x="298" y="136"/>
              </a:cxn>
              <a:cxn ang="0">
                <a:pos x="316" y="108"/>
              </a:cxn>
              <a:cxn ang="0">
                <a:pos x="346" y="108"/>
              </a:cxn>
              <a:cxn ang="0">
                <a:pos x="387" y="157"/>
              </a:cxn>
              <a:cxn ang="0">
                <a:pos x="454" y="246"/>
              </a:cxn>
              <a:cxn ang="0">
                <a:pos x="478" y="307"/>
              </a:cxn>
              <a:cxn ang="0">
                <a:pos x="468" y="338"/>
              </a:cxn>
            </a:cxnLst>
            <a:rect l="0" t="0" r="r" b="b"/>
            <a:pathLst>
              <a:path w="479" h="868">
                <a:moveTo>
                  <a:pt x="445" y="357"/>
                </a:moveTo>
                <a:lnTo>
                  <a:pt x="425" y="357"/>
                </a:lnTo>
                <a:lnTo>
                  <a:pt x="408" y="357"/>
                </a:lnTo>
                <a:lnTo>
                  <a:pt x="391" y="357"/>
                </a:lnTo>
                <a:lnTo>
                  <a:pt x="379" y="357"/>
                </a:lnTo>
                <a:lnTo>
                  <a:pt x="370" y="358"/>
                </a:lnTo>
                <a:lnTo>
                  <a:pt x="360" y="359"/>
                </a:lnTo>
                <a:lnTo>
                  <a:pt x="349" y="362"/>
                </a:lnTo>
                <a:lnTo>
                  <a:pt x="338" y="367"/>
                </a:lnTo>
                <a:lnTo>
                  <a:pt x="333" y="370"/>
                </a:lnTo>
                <a:lnTo>
                  <a:pt x="329" y="374"/>
                </a:lnTo>
                <a:lnTo>
                  <a:pt x="324" y="377"/>
                </a:lnTo>
                <a:lnTo>
                  <a:pt x="320" y="381"/>
                </a:lnTo>
                <a:lnTo>
                  <a:pt x="316" y="385"/>
                </a:lnTo>
                <a:lnTo>
                  <a:pt x="314" y="390"/>
                </a:lnTo>
                <a:lnTo>
                  <a:pt x="313" y="395"/>
                </a:lnTo>
                <a:lnTo>
                  <a:pt x="312" y="400"/>
                </a:lnTo>
                <a:lnTo>
                  <a:pt x="313" y="410"/>
                </a:lnTo>
                <a:lnTo>
                  <a:pt x="314" y="419"/>
                </a:lnTo>
                <a:lnTo>
                  <a:pt x="316" y="428"/>
                </a:lnTo>
                <a:lnTo>
                  <a:pt x="320" y="436"/>
                </a:lnTo>
                <a:lnTo>
                  <a:pt x="327" y="451"/>
                </a:lnTo>
                <a:lnTo>
                  <a:pt x="336" y="464"/>
                </a:lnTo>
                <a:lnTo>
                  <a:pt x="344" y="477"/>
                </a:lnTo>
                <a:lnTo>
                  <a:pt x="352" y="492"/>
                </a:lnTo>
                <a:lnTo>
                  <a:pt x="355" y="499"/>
                </a:lnTo>
                <a:lnTo>
                  <a:pt x="357" y="507"/>
                </a:lnTo>
                <a:lnTo>
                  <a:pt x="358" y="515"/>
                </a:lnTo>
                <a:lnTo>
                  <a:pt x="359" y="523"/>
                </a:lnTo>
                <a:lnTo>
                  <a:pt x="359" y="530"/>
                </a:lnTo>
                <a:lnTo>
                  <a:pt x="359" y="539"/>
                </a:lnTo>
                <a:lnTo>
                  <a:pt x="360" y="544"/>
                </a:lnTo>
                <a:lnTo>
                  <a:pt x="361" y="548"/>
                </a:lnTo>
                <a:lnTo>
                  <a:pt x="364" y="552"/>
                </a:lnTo>
                <a:lnTo>
                  <a:pt x="366" y="555"/>
                </a:lnTo>
                <a:lnTo>
                  <a:pt x="354" y="552"/>
                </a:lnTo>
                <a:lnTo>
                  <a:pt x="344" y="547"/>
                </a:lnTo>
                <a:lnTo>
                  <a:pt x="336" y="541"/>
                </a:lnTo>
                <a:lnTo>
                  <a:pt x="329" y="533"/>
                </a:lnTo>
                <a:lnTo>
                  <a:pt x="323" y="526"/>
                </a:lnTo>
                <a:lnTo>
                  <a:pt x="319" y="517"/>
                </a:lnTo>
                <a:lnTo>
                  <a:pt x="315" y="508"/>
                </a:lnTo>
                <a:lnTo>
                  <a:pt x="312" y="499"/>
                </a:lnTo>
                <a:lnTo>
                  <a:pt x="311" y="495"/>
                </a:lnTo>
                <a:lnTo>
                  <a:pt x="309" y="492"/>
                </a:lnTo>
                <a:lnTo>
                  <a:pt x="307" y="489"/>
                </a:lnTo>
                <a:lnTo>
                  <a:pt x="303" y="486"/>
                </a:lnTo>
                <a:lnTo>
                  <a:pt x="297" y="479"/>
                </a:lnTo>
                <a:lnTo>
                  <a:pt x="288" y="475"/>
                </a:lnTo>
                <a:lnTo>
                  <a:pt x="269" y="467"/>
                </a:lnTo>
                <a:lnTo>
                  <a:pt x="247" y="459"/>
                </a:lnTo>
                <a:lnTo>
                  <a:pt x="237" y="455"/>
                </a:lnTo>
                <a:lnTo>
                  <a:pt x="228" y="450"/>
                </a:lnTo>
                <a:lnTo>
                  <a:pt x="218" y="445"/>
                </a:lnTo>
                <a:lnTo>
                  <a:pt x="210" y="439"/>
                </a:lnTo>
                <a:lnTo>
                  <a:pt x="202" y="431"/>
                </a:lnTo>
                <a:lnTo>
                  <a:pt x="198" y="422"/>
                </a:lnTo>
                <a:lnTo>
                  <a:pt x="196" y="417"/>
                </a:lnTo>
                <a:lnTo>
                  <a:pt x="195" y="412"/>
                </a:lnTo>
                <a:lnTo>
                  <a:pt x="193" y="406"/>
                </a:lnTo>
                <a:lnTo>
                  <a:pt x="192" y="400"/>
                </a:lnTo>
                <a:lnTo>
                  <a:pt x="153" y="394"/>
                </a:lnTo>
                <a:lnTo>
                  <a:pt x="153" y="450"/>
                </a:lnTo>
                <a:lnTo>
                  <a:pt x="154" y="463"/>
                </a:lnTo>
                <a:lnTo>
                  <a:pt x="156" y="477"/>
                </a:lnTo>
                <a:lnTo>
                  <a:pt x="158" y="492"/>
                </a:lnTo>
                <a:lnTo>
                  <a:pt x="159" y="505"/>
                </a:lnTo>
                <a:lnTo>
                  <a:pt x="159" y="512"/>
                </a:lnTo>
                <a:lnTo>
                  <a:pt x="158" y="518"/>
                </a:lnTo>
                <a:lnTo>
                  <a:pt x="156" y="524"/>
                </a:lnTo>
                <a:lnTo>
                  <a:pt x="154" y="529"/>
                </a:lnTo>
                <a:lnTo>
                  <a:pt x="150" y="539"/>
                </a:lnTo>
                <a:lnTo>
                  <a:pt x="143" y="551"/>
                </a:lnTo>
                <a:lnTo>
                  <a:pt x="136" y="562"/>
                </a:lnTo>
                <a:lnTo>
                  <a:pt x="132" y="575"/>
                </a:lnTo>
                <a:lnTo>
                  <a:pt x="130" y="583"/>
                </a:lnTo>
                <a:lnTo>
                  <a:pt x="128" y="591"/>
                </a:lnTo>
                <a:lnTo>
                  <a:pt x="127" y="600"/>
                </a:lnTo>
                <a:lnTo>
                  <a:pt x="127" y="610"/>
                </a:lnTo>
                <a:lnTo>
                  <a:pt x="128" y="621"/>
                </a:lnTo>
                <a:lnTo>
                  <a:pt x="130" y="630"/>
                </a:lnTo>
                <a:lnTo>
                  <a:pt x="134" y="637"/>
                </a:lnTo>
                <a:lnTo>
                  <a:pt x="140" y="643"/>
                </a:lnTo>
                <a:lnTo>
                  <a:pt x="146" y="647"/>
                </a:lnTo>
                <a:lnTo>
                  <a:pt x="154" y="650"/>
                </a:lnTo>
                <a:lnTo>
                  <a:pt x="163" y="653"/>
                </a:lnTo>
                <a:lnTo>
                  <a:pt x="173" y="653"/>
                </a:lnTo>
                <a:lnTo>
                  <a:pt x="173" y="667"/>
                </a:lnTo>
                <a:lnTo>
                  <a:pt x="174" y="679"/>
                </a:lnTo>
                <a:lnTo>
                  <a:pt x="175" y="685"/>
                </a:lnTo>
                <a:lnTo>
                  <a:pt x="176" y="689"/>
                </a:lnTo>
                <a:lnTo>
                  <a:pt x="177" y="693"/>
                </a:lnTo>
                <a:lnTo>
                  <a:pt x="179" y="696"/>
                </a:lnTo>
                <a:lnTo>
                  <a:pt x="179" y="721"/>
                </a:lnTo>
                <a:lnTo>
                  <a:pt x="185" y="730"/>
                </a:lnTo>
                <a:lnTo>
                  <a:pt x="191" y="740"/>
                </a:lnTo>
                <a:lnTo>
                  <a:pt x="199" y="750"/>
                </a:lnTo>
                <a:lnTo>
                  <a:pt x="208" y="760"/>
                </a:lnTo>
                <a:lnTo>
                  <a:pt x="217" y="771"/>
                </a:lnTo>
                <a:lnTo>
                  <a:pt x="226" y="780"/>
                </a:lnTo>
                <a:lnTo>
                  <a:pt x="236" y="790"/>
                </a:lnTo>
                <a:lnTo>
                  <a:pt x="247" y="799"/>
                </a:lnTo>
                <a:lnTo>
                  <a:pt x="258" y="808"/>
                </a:lnTo>
                <a:lnTo>
                  <a:pt x="269" y="816"/>
                </a:lnTo>
                <a:lnTo>
                  <a:pt x="281" y="825"/>
                </a:lnTo>
                <a:lnTo>
                  <a:pt x="292" y="832"/>
                </a:lnTo>
                <a:lnTo>
                  <a:pt x="304" y="838"/>
                </a:lnTo>
                <a:lnTo>
                  <a:pt x="316" y="843"/>
                </a:lnTo>
                <a:lnTo>
                  <a:pt x="327" y="847"/>
                </a:lnTo>
                <a:lnTo>
                  <a:pt x="340" y="850"/>
                </a:lnTo>
                <a:lnTo>
                  <a:pt x="333" y="854"/>
                </a:lnTo>
                <a:lnTo>
                  <a:pt x="327" y="858"/>
                </a:lnTo>
                <a:lnTo>
                  <a:pt x="320" y="861"/>
                </a:lnTo>
                <a:lnTo>
                  <a:pt x="312" y="864"/>
                </a:lnTo>
                <a:lnTo>
                  <a:pt x="298" y="867"/>
                </a:lnTo>
                <a:lnTo>
                  <a:pt x="286" y="868"/>
                </a:lnTo>
                <a:lnTo>
                  <a:pt x="281" y="868"/>
                </a:lnTo>
                <a:lnTo>
                  <a:pt x="277" y="867"/>
                </a:lnTo>
                <a:lnTo>
                  <a:pt x="273" y="866"/>
                </a:lnTo>
                <a:lnTo>
                  <a:pt x="269" y="864"/>
                </a:lnTo>
                <a:lnTo>
                  <a:pt x="262" y="859"/>
                </a:lnTo>
                <a:lnTo>
                  <a:pt x="254" y="853"/>
                </a:lnTo>
                <a:lnTo>
                  <a:pt x="245" y="848"/>
                </a:lnTo>
                <a:lnTo>
                  <a:pt x="234" y="843"/>
                </a:lnTo>
                <a:lnTo>
                  <a:pt x="229" y="841"/>
                </a:lnTo>
                <a:lnTo>
                  <a:pt x="222" y="839"/>
                </a:lnTo>
                <a:lnTo>
                  <a:pt x="214" y="838"/>
                </a:lnTo>
                <a:lnTo>
                  <a:pt x="207" y="838"/>
                </a:lnTo>
                <a:lnTo>
                  <a:pt x="203" y="830"/>
                </a:lnTo>
                <a:lnTo>
                  <a:pt x="200" y="823"/>
                </a:lnTo>
                <a:lnTo>
                  <a:pt x="196" y="815"/>
                </a:lnTo>
                <a:lnTo>
                  <a:pt x="191" y="809"/>
                </a:lnTo>
                <a:lnTo>
                  <a:pt x="180" y="797"/>
                </a:lnTo>
                <a:lnTo>
                  <a:pt x="168" y="785"/>
                </a:lnTo>
                <a:lnTo>
                  <a:pt x="137" y="759"/>
                </a:lnTo>
                <a:lnTo>
                  <a:pt x="100" y="727"/>
                </a:lnTo>
                <a:lnTo>
                  <a:pt x="95" y="728"/>
                </a:lnTo>
                <a:lnTo>
                  <a:pt x="89" y="729"/>
                </a:lnTo>
                <a:lnTo>
                  <a:pt x="86" y="730"/>
                </a:lnTo>
                <a:lnTo>
                  <a:pt x="83" y="730"/>
                </a:lnTo>
                <a:lnTo>
                  <a:pt x="78" y="729"/>
                </a:lnTo>
                <a:lnTo>
                  <a:pt x="74" y="727"/>
                </a:lnTo>
                <a:lnTo>
                  <a:pt x="74" y="714"/>
                </a:lnTo>
                <a:lnTo>
                  <a:pt x="74" y="700"/>
                </a:lnTo>
                <a:lnTo>
                  <a:pt x="74" y="688"/>
                </a:lnTo>
                <a:lnTo>
                  <a:pt x="74" y="678"/>
                </a:lnTo>
                <a:lnTo>
                  <a:pt x="74" y="671"/>
                </a:lnTo>
                <a:lnTo>
                  <a:pt x="75" y="665"/>
                </a:lnTo>
                <a:lnTo>
                  <a:pt x="77" y="659"/>
                </a:lnTo>
                <a:lnTo>
                  <a:pt x="80" y="653"/>
                </a:lnTo>
                <a:lnTo>
                  <a:pt x="83" y="645"/>
                </a:lnTo>
                <a:lnTo>
                  <a:pt x="85" y="638"/>
                </a:lnTo>
                <a:lnTo>
                  <a:pt x="86" y="631"/>
                </a:lnTo>
                <a:lnTo>
                  <a:pt x="87" y="622"/>
                </a:lnTo>
                <a:lnTo>
                  <a:pt x="88" y="617"/>
                </a:lnTo>
                <a:lnTo>
                  <a:pt x="92" y="604"/>
                </a:lnTo>
                <a:lnTo>
                  <a:pt x="99" y="583"/>
                </a:lnTo>
                <a:lnTo>
                  <a:pt x="107" y="558"/>
                </a:lnTo>
                <a:lnTo>
                  <a:pt x="113" y="528"/>
                </a:lnTo>
                <a:lnTo>
                  <a:pt x="120" y="498"/>
                </a:lnTo>
                <a:lnTo>
                  <a:pt x="123" y="481"/>
                </a:lnTo>
                <a:lnTo>
                  <a:pt x="124" y="466"/>
                </a:lnTo>
                <a:lnTo>
                  <a:pt x="127" y="452"/>
                </a:lnTo>
                <a:lnTo>
                  <a:pt x="127" y="438"/>
                </a:lnTo>
                <a:lnTo>
                  <a:pt x="108" y="404"/>
                </a:lnTo>
                <a:lnTo>
                  <a:pt x="86" y="369"/>
                </a:lnTo>
                <a:lnTo>
                  <a:pt x="76" y="352"/>
                </a:lnTo>
                <a:lnTo>
                  <a:pt x="67" y="335"/>
                </a:lnTo>
                <a:lnTo>
                  <a:pt x="64" y="327"/>
                </a:lnTo>
                <a:lnTo>
                  <a:pt x="62" y="319"/>
                </a:lnTo>
                <a:lnTo>
                  <a:pt x="61" y="310"/>
                </a:lnTo>
                <a:lnTo>
                  <a:pt x="60" y="302"/>
                </a:lnTo>
                <a:lnTo>
                  <a:pt x="61" y="295"/>
                </a:lnTo>
                <a:lnTo>
                  <a:pt x="62" y="290"/>
                </a:lnTo>
                <a:lnTo>
                  <a:pt x="64" y="285"/>
                </a:lnTo>
                <a:lnTo>
                  <a:pt x="66" y="281"/>
                </a:lnTo>
                <a:lnTo>
                  <a:pt x="69" y="277"/>
                </a:lnTo>
                <a:lnTo>
                  <a:pt x="72" y="274"/>
                </a:lnTo>
                <a:lnTo>
                  <a:pt x="73" y="270"/>
                </a:lnTo>
                <a:lnTo>
                  <a:pt x="74" y="265"/>
                </a:lnTo>
                <a:lnTo>
                  <a:pt x="73" y="249"/>
                </a:lnTo>
                <a:lnTo>
                  <a:pt x="71" y="236"/>
                </a:lnTo>
                <a:lnTo>
                  <a:pt x="66" y="224"/>
                </a:lnTo>
                <a:lnTo>
                  <a:pt x="62" y="213"/>
                </a:lnTo>
                <a:lnTo>
                  <a:pt x="56" y="202"/>
                </a:lnTo>
                <a:lnTo>
                  <a:pt x="50" y="193"/>
                </a:lnTo>
                <a:lnTo>
                  <a:pt x="43" y="184"/>
                </a:lnTo>
                <a:lnTo>
                  <a:pt x="36" y="176"/>
                </a:lnTo>
                <a:lnTo>
                  <a:pt x="30" y="167"/>
                </a:lnTo>
                <a:lnTo>
                  <a:pt x="23" y="158"/>
                </a:lnTo>
                <a:lnTo>
                  <a:pt x="17" y="148"/>
                </a:lnTo>
                <a:lnTo>
                  <a:pt x="11" y="138"/>
                </a:lnTo>
                <a:lnTo>
                  <a:pt x="7" y="127"/>
                </a:lnTo>
                <a:lnTo>
                  <a:pt x="4" y="115"/>
                </a:lnTo>
                <a:lnTo>
                  <a:pt x="1" y="102"/>
                </a:lnTo>
                <a:lnTo>
                  <a:pt x="0" y="86"/>
                </a:lnTo>
                <a:lnTo>
                  <a:pt x="1" y="73"/>
                </a:lnTo>
                <a:lnTo>
                  <a:pt x="4" y="62"/>
                </a:lnTo>
                <a:lnTo>
                  <a:pt x="7" y="52"/>
                </a:lnTo>
                <a:lnTo>
                  <a:pt x="11" y="44"/>
                </a:lnTo>
                <a:lnTo>
                  <a:pt x="17" y="35"/>
                </a:lnTo>
                <a:lnTo>
                  <a:pt x="24" y="29"/>
                </a:lnTo>
                <a:lnTo>
                  <a:pt x="32" y="24"/>
                </a:lnTo>
                <a:lnTo>
                  <a:pt x="40" y="20"/>
                </a:lnTo>
                <a:lnTo>
                  <a:pt x="49" y="16"/>
                </a:lnTo>
                <a:lnTo>
                  <a:pt x="58" y="13"/>
                </a:lnTo>
                <a:lnTo>
                  <a:pt x="68" y="11"/>
                </a:lnTo>
                <a:lnTo>
                  <a:pt x="78" y="8"/>
                </a:lnTo>
                <a:lnTo>
                  <a:pt x="99" y="4"/>
                </a:lnTo>
                <a:lnTo>
                  <a:pt x="120" y="0"/>
                </a:lnTo>
                <a:lnTo>
                  <a:pt x="129" y="5"/>
                </a:lnTo>
                <a:lnTo>
                  <a:pt x="136" y="11"/>
                </a:lnTo>
                <a:lnTo>
                  <a:pt x="143" y="17"/>
                </a:lnTo>
                <a:lnTo>
                  <a:pt x="150" y="23"/>
                </a:lnTo>
                <a:lnTo>
                  <a:pt x="156" y="28"/>
                </a:lnTo>
                <a:lnTo>
                  <a:pt x="163" y="32"/>
                </a:lnTo>
                <a:lnTo>
                  <a:pt x="166" y="34"/>
                </a:lnTo>
                <a:lnTo>
                  <a:pt x="170" y="35"/>
                </a:lnTo>
                <a:lnTo>
                  <a:pt x="175" y="36"/>
                </a:lnTo>
                <a:lnTo>
                  <a:pt x="179" y="36"/>
                </a:lnTo>
                <a:lnTo>
                  <a:pt x="184" y="55"/>
                </a:lnTo>
                <a:lnTo>
                  <a:pt x="188" y="75"/>
                </a:lnTo>
                <a:lnTo>
                  <a:pt x="190" y="97"/>
                </a:lnTo>
                <a:lnTo>
                  <a:pt x="193" y="118"/>
                </a:lnTo>
                <a:lnTo>
                  <a:pt x="197" y="136"/>
                </a:lnTo>
                <a:lnTo>
                  <a:pt x="201" y="153"/>
                </a:lnTo>
                <a:lnTo>
                  <a:pt x="203" y="158"/>
                </a:lnTo>
                <a:lnTo>
                  <a:pt x="207" y="163"/>
                </a:lnTo>
                <a:lnTo>
                  <a:pt x="209" y="166"/>
                </a:lnTo>
                <a:lnTo>
                  <a:pt x="213" y="166"/>
                </a:lnTo>
                <a:lnTo>
                  <a:pt x="217" y="166"/>
                </a:lnTo>
                <a:lnTo>
                  <a:pt x="220" y="165"/>
                </a:lnTo>
                <a:lnTo>
                  <a:pt x="223" y="163"/>
                </a:lnTo>
                <a:lnTo>
                  <a:pt x="225" y="161"/>
                </a:lnTo>
                <a:lnTo>
                  <a:pt x="231" y="155"/>
                </a:lnTo>
                <a:lnTo>
                  <a:pt x="234" y="147"/>
                </a:lnTo>
                <a:lnTo>
                  <a:pt x="241" y="132"/>
                </a:lnTo>
                <a:lnTo>
                  <a:pt x="246" y="123"/>
                </a:lnTo>
                <a:lnTo>
                  <a:pt x="253" y="124"/>
                </a:lnTo>
                <a:lnTo>
                  <a:pt x="258" y="126"/>
                </a:lnTo>
                <a:lnTo>
                  <a:pt x="264" y="129"/>
                </a:lnTo>
                <a:lnTo>
                  <a:pt x="268" y="132"/>
                </a:lnTo>
                <a:lnTo>
                  <a:pt x="273" y="136"/>
                </a:lnTo>
                <a:lnTo>
                  <a:pt x="277" y="138"/>
                </a:lnTo>
                <a:lnTo>
                  <a:pt x="281" y="141"/>
                </a:lnTo>
                <a:lnTo>
                  <a:pt x="286" y="141"/>
                </a:lnTo>
                <a:lnTo>
                  <a:pt x="289" y="141"/>
                </a:lnTo>
                <a:lnTo>
                  <a:pt x="292" y="140"/>
                </a:lnTo>
                <a:lnTo>
                  <a:pt x="296" y="138"/>
                </a:lnTo>
                <a:lnTo>
                  <a:pt x="298" y="136"/>
                </a:lnTo>
                <a:lnTo>
                  <a:pt x="302" y="130"/>
                </a:lnTo>
                <a:lnTo>
                  <a:pt x="305" y="123"/>
                </a:lnTo>
                <a:lnTo>
                  <a:pt x="310" y="116"/>
                </a:lnTo>
                <a:lnTo>
                  <a:pt x="314" y="111"/>
                </a:lnTo>
                <a:lnTo>
                  <a:pt x="316" y="108"/>
                </a:lnTo>
                <a:lnTo>
                  <a:pt x="319" y="107"/>
                </a:lnTo>
                <a:lnTo>
                  <a:pt x="322" y="105"/>
                </a:lnTo>
                <a:lnTo>
                  <a:pt x="325" y="105"/>
                </a:lnTo>
                <a:lnTo>
                  <a:pt x="337" y="106"/>
                </a:lnTo>
                <a:lnTo>
                  <a:pt x="346" y="108"/>
                </a:lnTo>
                <a:lnTo>
                  <a:pt x="354" y="111"/>
                </a:lnTo>
                <a:lnTo>
                  <a:pt x="359" y="116"/>
                </a:lnTo>
                <a:lnTo>
                  <a:pt x="367" y="125"/>
                </a:lnTo>
                <a:lnTo>
                  <a:pt x="372" y="135"/>
                </a:lnTo>
                <a:lnTo>
                  <a:pt x="387" y="157"/>
                </a:lnTo>
                <a:lnTo>
                  <a:pt x="403" y="178"/>
                </a:lnTo>
                <a:lnTo>
                  <a:pt x="421" y="200"/>
                </a:lnTo>
                <a:lnTo>
                  <a:pt x="438" y="223"/>
                </a:lnTo>
                <a:lnTo>
                  <a:pt x="446" y="235"/>
                </a:lnTo>
                <a:lnTo>
                  <a:pt x="454" y="246"/>
                </a:lnTo>
                <a:lnTo>
                  <a:pt x="460" y="258"/>
                </a:lnTo>
                <a:lnTo>
                  <a:pt x="467" y="271"/>
                </a:lnTo>
                <a:lnTo>
                  <a:pt x="471" y="283"/>
                </a:lnTo>
                <a:lnTo>
                  <a:pt x="476" y="295"/>
                </a:lnTo>
                <a:lnTo>
                  <a:pt x="478" y="307"/>
                </a:lnTo>
                <a:lnTo>
                  <a:pt x="479" y="321"/>
                </a:lnTo>
                <a:lnTo>
                  <a:pt x="478" y="325"/>
                </a:lnTo>
                <a:lnTo>
                  <a:pt x="476" y="330"/>
                </a:lnTo>
                <a:lnTo>
                  <a:pt x="472" y="334"/>
                </a:lnTo>
                <a:lnTo>
                  <a:pt x="468" y="338"/>
                </a:lnTo>
                <a:lnTo>
                  <a:pt x="459" y="345"/>
                </a:lnTo>
                <a:lnTo>
                  <a:pt x="452" y="351"/>
                </a:lnTo>
                <a:lnTo>
                  <a:pt x="445" y="35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073" name="Freeform 25"/>
          <p:cNvSpPr>
            <a:spLocks/>
          </p:cNvSpPr>
          <p:nvPr>
            <p:custDataLst>
              <p:tags r:id="rId20"/>
            </p:custDataLst>
          </p:nvPr>
        </p:nvSpPr>
        <p:spPr bwMode="auto">
          <a:xfrm>
            <a:off x="2536832" y="4050511"/>
            <a:ext cx="23813" cy="42863"/>
          </a:xfrm>
          <a:custGeom>
            <a:avLst/>
            <a:gdLst/>
            <a:ahLst/>
            <a:cxnLst>
              <a:cxn ang="0">
                <a:pos x="0" y="8"/>
              </a:cxn>
              <a:cxn ang="0">
                <a:pos x="7" y="13"/>
              </a:cxn>
              <a:cxn ang="0">
                <a:pos x="14" y="17"/>
              </a:cxn>
              <a:cxn ang="0">
                <a:pos x="22" y="19"/>
              </a:cxn>
              <a:cxn ang="0">
                <a:pos x="29" y="19"/>
              </a:cxn>
              <a:cxn ang="0">
                <a:pos x="35" y="18"/>
              </a:cxn>
              <a:cxn ang="0">
                <a:pos x="42" y="15"/>
              </a:cxn>
              <a:cxn ang="0">
                <a:pos x="47" y="12"/>
              </a:cxn>
              <a:cxn ang="0">
                <a:pos x="53" y="8"/>
              </a:cxn>
              <a:cxn ang="0">
                <a:pos x="47" y="5"/>
              </a:cxn>
              <a:cxn ang="0">
                <a:pos x="42" y="2"/>
              </a:cxn>
              <a:cxn ang="0">
                <a:pos x="35" y="1"/>
              </a:cxn>
              <a:cxn ang="0">
                <a:pos x="29" y="0"/>
              </a:cxn>
              <a:cxn ang="0">
                <a:pos x="22" y="0"/>
              </a:cxn>
              <a:cxn ang="0">
                <a:pos x="14" y="1"/>
              </a:cxn>
              <a:cxn ang="0">
                <a:pos x="7" y="3"/>
              </a:cxn>
              <a:cxn ang="0">
                <a:pos x="0" y="8"/>
              </a:cxn>
            </a:cxnLst>
            <a:rect l="0" t="0" r="r" b="b"/>
            <a:pathLst>
              <a:path w="53" h="19">
                <a:moveTo>
                  <a:pt x="0" y="8"/>
                </a:moveTo>
                <a:lnTo>
                  <a:pt x="7" y="13"/>
                </a:lnTo>
                <a:lnTo>
                  <a:pt x="14" y="17"/>
                </a:lnTo>
                <a:lnTo>
                  <a:pt x="22" y="19"/>
                </a:lnTo>
                <a:lnTo>
                  <a:pt x="29" y="19"/>
                </a:lnTo>
                <a:lnTo>
                  <a:pt x="35" y="18"/>
                </a:lnTo>
                <a:lnTo>
                  <a:pt x="42" y="15"/>
                </a:lnTo>
                <a:lnTo>
                  <a:pt x="47" y="12"/>
                </a:lnTo>
                <a:lnTo>
                  <a:pt x="53" y="8"/>
                </a:lnTo>
                <a:lnTo>
                  <a:pt x="47" y="5"/>
                </a:lnTo>
                <a:lnTo>
                  <a:pt x="42" y="2"/>
                </a:lnTo>
                <a:lnTo>
                  <a:pt x="35" y="1"/>
                </a:lnTo>
                <a:lnTo>
                  <a:pt x="29" y="0"/>
                </a:lnTo>
                <a:lnTo>
                  <a:pt x="22" y="0"/>
                </a:lnTo>
                <a:lnTo>
                  <a:pt x="14" y="1"/>
                </a:lnTo>
                <a:lnTo>
                  <a:pt x="7" y="3"/>
                </a:lnTo>
                <a:lnTo>
                  <a:pt x="0" y="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074" name="Line 26" descr="Horizontal dunkel"/>
          <p:cNvSpPr>
            <a:spLocks noChangeShapeType="1"/>
          </p:cNvSpPr>
          <p:nvPr>
            <p:custDataLst>
              <p:tags r:id="rId21"/>
            </p:custDataLst>
          </p:nvPr>
        </p:nvSpPr>
        <p:spPr bwMode="auto">
          <a:xfrm>
            <a:off x="998541" y="1741891"/>
            <a:ext cx="3175" cy="7144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075" name="Freeform 27"/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1001713" y="1739505"/>
            <a:ext cx="3175" cy="41672"/>
          </a:xfrm>
          <a:custGeom>
            <a:avLst/>
            <a:gdLst/>
            <a:ahLst/>
            <a:cxnLst>
              <a:cxn ang="0">
                <a:pos x="0" y="24"/>
              </a:cxn>
              <a:cxn ang="0">
                <a:pos x="0" y="19"/>
              </a:cxn>
              <a:cxn ang="0">
                <a:pos x="1" y="14"/>
              </a:cxn>
              <a:cxn ang="0">
                <a:pos x="3" y="8"/>
              </a:cxn>
              <a:cxn ang="0">
                <a:pos x="6" y="0"/>
              </a:cxn>
            </a:cxnLst>
            <a:rect l="0" t="0" r="r" b="b"/>
            <a:pathLst>
              <a:path w="6" h="24">
                <a:moveTo>
                  <a:pt x="0" y="24"/>
                </a:moveTo>
                <a:lnTo>
                  <a:pt x="0" y="19"/>
                </a:lnTo>
                <a:lnTo>
                  <a:pt x="1" y="14"/>
                </a:lnTo>
                <a:lnTo>
                  <a:pt x="3" y="8"/>
                </a:lnTo>
                <a:lnTo>
                  <a:pt x="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076" name="Freeform 28"/>
          <p:cNvSpPr>
            <a:spLocks/>
          </p:cNvSpPr>
          <p:nvPr>
            <p:custDataLst>
              <p:tags r:id="rId23"/>
            </p:custDataLst>
          </p:nvPr>
        </p:nvSpPr>
        <p:spPr bwMode="auto">
          <a:xfrm>
            <a:off x="977907" y="1779990"/>
            <a:ext cx="23813" cy="42863"/>
          </a:xfrm>
          <a:custGeom>
            <a:avLst/>
            <a:gdLst/>
            <a:ahLst/>
            <a:cxnLst>
              <a:cxn ang="0">
                <a:pos x="0" y="24"/>
              </a:cxn>
              <a:cxn ang="0">
                <a:pos x="0" y="30"/>
              </a:cxn>
              <a:cxn ang="0">
                <a:pos x="2" y="36"/>
              </a:cxn>
              <a:cxn ang="0">
                <a:pos x="3" y="42"/>
              </a:cxn>
              <a:cxn ang="0">
                <a:pos x="5" y="47"/>
              </a:cxn>
              <a:cxn ang="0">
                <a:pos x="9" y="58"/>
              </a:cxn>
              <a:cxn ang="0">
                <a:pos x="14" y="67"/>
              </a:cxn>
              <a:cxn ang="0">
                <a:pos x="47" y="67"/>
              </a:cxn>
              <a:cxn ang="0">
                <a:pos x="47" y="0"/>
              </a:cxn>
              <a:cxn ang="0">
                <a:pos x="36" y="2"/>
              </a:cxn>
              <a:cxn ang="0">
                <a:pos x="26" y="4"/>
              </a:cxn>
              <a:cxn ang="0">
                <a:pos x="18" y="7"/>
              </a:cxn>
              <a:cxn ang="0">
                <a:pos x="11" y="9"/>
              </a:cxn>
              <a:cxn ang="0">
                <a:pos x="6" y="12"/>
              </a:cxn>
              <a:cxn ang="0">
                <a:pos x="3" y="16"/>
              </a:cxn>
              <a:cxn ang="0">
                <a:pos x="0" y="20"/>
              </a:cxn>
              <a:cxn ang="0">
                <a:pos x="0" y="24"/>
              </a:cxn>
            </a:cxnLst>
            <a:rect l="0" t="0" r="r" b="b"/>
            <a:pathLst>
              <a:path w="47" h="67">
                <a:moveTo>
                  <a:pt x="0" y="24"/>
                </a:moveTo>
                <a:lnTo>
                  <a:pt x="0" y="30"/>
                </a:lnTo>
                <a:lnTo>
                  <a:pt x="2" y="36"/>
                </a:lnTo>
                <a:lnTo>
                  <a:pt x="3" y="42"/>
                </a:lnTo>
                <a:lnTo>
                  <a:pt x="5" y="47"/>
                </a:lnTo>
                <a:lnTo>
                  <a:pt x="9" y="58"/>
                </a:lnTo>
                <a:lnTo>
                  <a:pt x="14" y="67"/>
                </a:lnTo>
                <a:lnTo>
                  <a:pt x="47" y="67"/>
                </a:lnTo>
                <a:lnTo>
                  <a:pt x="47" y="0"/>
                </a:lnTo>
                <a:lnTo>
                  <a:pt x="36" y="2"/>
                </a:lnTo>
                <a:lnTo>
                  <a:pt x="26" y="4"/>
                </a:lnTo>
                <a:lnTo>
                  <a:pt x="18" y="7"/>
                </a:lnTo>
                <a:lnTo>
                  <a:pt x="11" y="9"/>
                </a:lnTo>
                <a:lnTo>
                  <a:pt x="6" y="12"/>
                </a:lnTo>
                <a:lnTo>
                  <a:pt x="3" y="16"/>
                </a:lnTo>
                <a:lnTo>
                  <a:pt x="0" y="20"/>
                </a:lnTo>
                <a:lnTo>
                  <a:pt x="0" y="2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077" name="Freeform 29"/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2303463" y="1776417"/>
            <a:ext cx="49212" cy="42863"/>
          </a:xfrm>
          <a:custGeom>
            <a:avLst/>
            <a:gdLst/>
            <a:ahLst/>
            <a:cxnLst>
              <a:cxn ang="0">
                <a:pos x="0" y="36"/>
              </a:cxn>
              <a:cxn ang="0">
                <a:pos x="59" y="36"/>
              </a:cxn>
              <a:cxn ang="0">
                <a:pos x="67" y="30"/>
              </a:cxn>
              <a:cxn ang="0">
                <a:pos x="75" y="26"/>
              </a:cxn>
              <a:cxn ang="0">
                <a:pos x="84" y="23"/>
              </a:cxn>
              <a:cxn ang="0">
                <a:pos x="91" y="20"/>
              </a:cxn>
              <a:cxn ang="0">
                <a:pos x="98" y="17"/>
              </a:cxn>
              <a:cxn ang="0">
                <a:pos x="104" y="13"/>
              </a:cxn>
              <a:cxn ang="0">
                <a:pos x="107" y="11"/>
              </a:cxn>
              <a:cxn ang="0">
                <a:pos x="109" y="8"/>
              </a:cxn>
              <a:cxn ang="0">
                <a:pos x="111" y="4"/>
              </a:cxn>
              <a:cxn ang="0">
                <a:pos x="112" y="0"/>
              </a:cxn>
              <a:cxn ang="0">
                <a:pos x="100" y="0"/>
              </a:cxn>
              <a:cxn ang="0">
                <a:pos x="85" y="1"/>
              </a:cxn>
              <a:cxn ang="0">
                <a:pos x="67" y="3"/>
              </a:cxn>
              <a:cxn ang="0">
                <a:pos x="48" y="7"/>
              </a:cxn>
              <a:cxn ang="0">
                <a:pos x="40" y="9"/>
              </a:cxn>
              <a:cxn ang="0">
                <a:pos x="31" y="11"/>
              </a:cxn>
              <a:cxn ang="0">
                <a:pos x="23" y="14"/>
              </a:cxn>
              <a:cxn ang="0">
                <a:pos x="17" y="18"/>
              </a:cxn>
              <a:cxn ang="0">
                <a:pos x="10" y="22"/>
              </a:cxn>
              <a:cxn ang="0">
                <a:pos x="6" y="26"/>
              </a:cxn>
              <a:cxn ang="0">
                <a:pos x="1" y="31"/>
              </a:cxn>
              <a:cxn ang="0">
                <a:pos x="0" y="36"/>
              </a:cxn>
            </a:cxnLst>
            <a:rect l="0" t="0" r="r" b="b"/>
            <a:pathLst>
              <a:path w="112" h="36">
                <a:moveTo>
                  <a:pt x="0" y="36"/>
                </a:moveTo>
                <a:lnTo>
                  <a:pt x="59" y="36"/>
                </a:lnTo>
                <a:lnTo>
                  <a:pt x="67" y="30"/>
                </a:lnTo>
                <a:lnTo>
                  <a:pt x="75" y="26"/>
                </a:lnTo>
                <a:lnTo>
                  <a:pt x="84" y="23"/>
                </a:lnTo>
                <a:lnTo>
                  <a:pt x="91" y="20"/>
                </a:lnTo>
                <a:lnTo>
                  <a:pt x="98" y="17"/>
                </a:lnTo>
                <a:lnTo>
                  <a:pt x="104" y="13"/>
                </a:lnTo>
                <a:lnTo>
                  <a:pt x="107" y="11"/>
                </a:lnTo>
                <a:lnTo>
                  <a:pt x="109" y="8"/>
                </a:lnTo>
                <a:lnTo>
                  <a:pt x="111" y="4"/>
                </a:lnTo>
                <a:lnTo>
                  <a:pt x="112" y="0"/>
                </a:lnTo>
                <a:lnTo>
                  <a:pt x="100" y="0"/>
                </a:lnTo>
                <a:lnTo>
                  <a:pt x="85" y="1"/>
                </a:lnTo>
                <a:lnTo>
                  <a:pt x="67" y="3"/>
                </a:lnTo>
                <a:lnTo>
                  <a:pt x="48" y="7"/>
                </a:lnTo>
                <a:lnTo>
                  <a:pt x="40" y="9"/>
                </a:lnTo>
                <a:lnTo>
                  <a:pt x="31" y="11"/>
                </a:lnTo>
                <a:lnTo>
                  <a:pt x="23" y="14"/>
                </a:lnTo>
                <a:lnTo>
                  <a:pt x="17" y="18"/>
                </a:lnTo>
                <a:lnTo>
                  <a:pt x="10" y="22"/>
                </a:lnTo>
                <a:lnTo>
                  <a:pt x="6" y="26"/>
                </a:lnTo>
                <a:lnTo>
                  <a:pt x="1" y="31"/>
                </a:lnTo>
                <a:lnTo>
                  <a:pt x="0" y="3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078" name="Freeform 30"/>
          <p:cNvSpPr>
            <a:spLocks/>
          </p:cNvSpPr>
          <p:nvPr>
            <p:custDataLst>
              <p:tags r:id="rId25"/>
            </p:custDataLst>
          </p:nvPr>
        </p:nvSpPr>
        <p:spPr bwMode="auto">
          <a:xfrm>
            <a:off x="5041904" y="1444235"/>
            <a:ext cx="874713" cy="339328"/>
          </a:xfrm>
          <a:custGeom>
            <a:avLst/>
            <a:gdLst/>
            <a:ahLst/>
            <a:cxnLst>
              <a:cxn ang="0">
                <a:pos x="433" y="765"/>
              </a:cxn>
              <a:cxn ang="0">
                <a:pos x="412" y="764"/>
              </a:cxn>
              <a:cxn ang="0">
                <a:pos x="390" y="794"/>
              </a:cxn>
              <a:cxn ang="0">
                <a:pos x="375" y="792"/>
              </a:cxn>
              <a:cxn ang="0">
                <a:pos x="370" y="751"/>
              </a:cxn>
              <a:cxn ang="0">
                <a:pos x="324" y="724"/>
              </a:cxn>
              <a:cxn ang="0">
                <a:pos x="312" y="708"/>
              </a:cxn>
              <a:cxn ang="0">
                <a:pos x="288" y="692"/>
              </a:cxn>
              <a:cxn ang="0">
                <a:pos x="251" y="641"/>
              </a:cxn>
              <a:cxn ang="0">
                <a:pos x="232" y="610"/>
              </a:cxn>
              <a:cxn ang="0">
                <a:pos x="253" y="594"/>
              </a:cxn>
              <a:cxn ang="0">
                <a:pos x="279" y="573"/>
              </a:cxn>
              <a:cxn ang="0">
                <a:pos x="338" y="544"/>
              </a:cxn>
              <a:cxn ang="0">
                <a:pos x="319" y="487"/>
              </a:cxn>
              <a:cxn ang="0">
                <a:pos x="258" y="475"/>
              </a:cxn>
              <a:cxn ang="0">
                <a:pos x="209" y="470"/>
              </a:cxn>
              <a:cxn ang="0">
                <a:pos x="157" y="495"/>
              </a:cxn>
              <a:cxn ang="0">
                <a:pos x="106" y="505"/>
              </a:cxn>
              <a:cxn ang="0">
                <a:pos x="27" y="413"/>
              </a:cxn>
              <a:cxn ang="0">
                <a:pos x="20" y="283"/>
              </a:cxn>
              <a:cxn ang="0">
                <a:pos x="113" y="259"/>
              </a:cxn>
              <a:cxn ang="0">
                <a:pos x="292" y="222"/>
              </a:cxn>
              <a:cxn ang="0">
                <a:pos x="498" y="253"/>
              </a:cxn>
              <a:cxn ang="0">
                <a:pos x="717" y="253"/>
              </a:cxn>
              <a:cxn ang="0">
                <a:pos x="658" y="185"/>
              </a:cxn>
              <a:cxn ang="0">
                <a:pos x="830" y="68"/>
              </a:cxn>
              <a:cxn ang="0">
                <a:pos x="1050" y="13"/>
              </a:cxn>
              <a:cxn ang="0">
                <a:pos x="1176" y="61"/>
              </a:cxn>
              <a:cxn ang="0">
                <a:pos x="1296" y="111"/>
              </a:cxn>
              <a:cxn ang="0">
                <a:pos x="1442" y="99"/>
              </a:cxn>
              <a:cxn ang="0">
                <a:pos x="1647" y="271"/>
              </a:cxn>
              <a:cxn ang="0">
                <a:pos x="1793" y="265"/>
              </a:cxn>
              <a:cxn ang="0">
                <a:pos x="2000" y="339"/>
              </a:cxn>
              <a:cxn ang="0">
                <a:pos x="2002" y="381"/>
              </a:cxn>
              <a:cxn ang="0">
                <a:pos x="1981" y="399"/>
              </a:cxn>
              <a:cxn ang="0">
                <a:pos x="1960" y="404"/>
              </a:cxn>
              <a:cxn ang="0">
                <a:pos x="1963" y="425"/>
              </a:cxn>
              <a:cxn ang="0">
                <a:pos x="1985" y="466"/>
              </a:cxn>
              <a:cxn ang="0">
                <a:pos x="1979" y="478"/>
              </a:cxn>
              <a:cxn ang="0">
                <a:pos x="1939" y="481"/>
              </a:cxn>
              <a:cxn ang="0">
                <a:pos x="1893" y="474"/>
              </a:cxn>
              <a:cxn ang="0">
                <a:pos x="1864" y="474"/>
              </a:cxn>
              <a:cxn ang="0">
                <a:pos x="1878" y="548"/>
              </a:cxn>
              <a:cxn ang="0">
                <a:pos x="1880" y="586"/>
              </a:cxn>
              <a:cxn ang="0">
                <a:pos x="1789" y="588"/>
              </a:cxn>
              <a:cxn ang="0">
                <a:pos x="1768" y="604"/>
              </a:cxn>
              <a:cxn ang="0">
                <a:pos x="1795" y="619"/>
              </a:cxn>
              <a:cxn ang="0">
                <a:pos x="1814" y="650"/>
              </a:cxn>
              <a:cxn ang="0">
                <a:pos x="1834" y="689"/>
              </a:cxn>
              <a:cxn ang="0">
                <a:pos x="1837" y="706"/>
              </a:cxn>
              <a:cxn ang="0">
                <a:pos x="1837" y="754"/>
              </a:cxn>
              <a:cxn ang="0">
                <a:pos x="1741" y="740"/>
              </a:cxn>
              <a:cxn ang="0">
                <a:pos x="1475" y="764"/>
              </a:cxn>
              <a:cxn ang="0">
                <a:pos x="1316" y="795"/>
              </a:cxn>
              <a:cxn ang="0">
                <a:pos x="1142" y="838"/>
              </a:cxn>
              <a:cxn ang="0">
                <a:pos x="963" y="697"/>
              </a:cxn>
              <a:cxn ang="0">
                <a:pos x="684" y="586"/>
              </a:cxn>
              <a:cxn ang="0">
                <a:pos x="584" y="832"/>
              </a:cxn>
            </a:cxnLst>
            <a:rect l="0" t="0" r="r" b="b"/>
            <a:pathLst>
              <a:path w="2006" h="863">
                <a:moveTo>
                  <a:pt x="571" y="826"/>
                </a:moveTo>
                <a:lnTo>
                  <a:pt x="538" y="826"/>
                </a:lnTo>
                <a:lnTo>
                  <a:pt x="512" y="789"/>
                </a:lnTo>
                <a:lnTo>
                  <a:pt x="438" y="764"/>
                </a:lnTo>
                <a:lnTo>
                  <a:pt x="433" y="765"/>
                </a:lnTo>
                <a:lnTo>
                  <a:pt x="427" y="766"/>
                </a:lnTo>
                <a:lnTo>
                  <a:pt x="424" y="767"/>
                </a:lnTo>
                <a:lnTo>
                  <a:pt x="421" y="767"/>
                </a:lnTo>
                <a:lnTo>
                  <a:pt x="416" y="766"/>
                </a:lnTo>
                <a:lnTo>
                  <a:pt x="412" y="764"/>
                </a:lnTo>
                <a:lnTo>
                  <a:pt x="405" y="772"/>
                </a:lnTo>
                <a:lnTo>
                  <a:pt x="397" y="778"/>
                </a:lnTo>
                <a:lnTo>
                  <a:pt x="393" y="782"/>
                </a:lnTo>
                <a:lnTo>
                  <a:pt x="391" y="786"/>
                </a:lnTo>
                <a:lnTo>
                  <a:pt x="390" y="794"/>
                </a:lnTo>
                <a:lnTo>
                  <a:pt x="392" y="802"/>
                </a:lnTo>
                <a:lnTo>
                  <a:pt x="386" y="800"/>
                </a:lnTo>
                <a:lnTo>
                  <a:pt x="381" y="798"/>
                </a:lnTo>
                <a:lnTo>
                  <a:pt x="378" y="795"/>
                </a:lnTo>
                <a:lnTo>
                  <a:pt x="375" y="792"/>
                </a:lnTo>
                <a:lnTo>
                  <a:pt x="372" y="787"/>
                </a:lnTo>
                <a:lnTo>
                  <a:pt x="371" y="783"/>
                </a:lnTo>
                <a:lnTo>
                  <a:pt x="370" y="778"/>
                </a:lnTo>
                <a:lnTo>
                  <a:pt x="369" y="773"/>
                </a:lnTo>
                <a:lnTo>
                  <a:pt x="370" y="751"/>
                </a:lnTo>
                <a:lnTo>
                  <a:pt x="372" y="727"/>
                </a:lnTo>
                <a:lnTo>
                  <a:pt x="352" y="727"/>
                </a:lnTo>
                <a:lnTo>
                  <a:pt x="332" y="726"/>
                </a:lnTo>
                <a:lnTo>
                  <a:pt x="327" y="725"/>
                </a:lnTo>
                <a:lnTo>
                  <a:pt x="324" y="724"/>
                </a:lnTo>
                <a:lnTo>
                  <a:pt x="321" y="722"/>
                </a:lnTo>
                <a:lnTo>
                  <a:pt x="318" y="719"/>
                </a:lnTo>
                <a:lnTo>
                  <a:pt x="315" y="716"/>
                </a:lnTo>
                <a:lnTo>
                  <a:pt x="313" y="712"/>
                </a:lnTo>
                <a:lnTo>
                  <a:pt x="312" y="708"/>
                </a:lnTo>
                <a:lnTo>
                  <a:pt x="312" y="703"/>
                </a:lnTo>
                <a:lnTo>
                  <a:pt x="305" y="702"/>
                </a:lnTo>
                <a:lnTo>
                  <a:pt x="299" y="700"/>
                </a:lnTo>
                <a:lnTo>
                  <a:pt x="293" y="697"/>
                </a:lnTo>
                <a:lnTo>
                  <a:pt x="288" y="692"/>
                </a:lnTo>
                <a:lnTo>
                  <a:pt x="280" y="682"/>
                </a:lnTo>
                <a:lnTo>
                  <a:pt x="273" y="668"/>
                </a:lnTo>
                <a:lnTo>
                  <a:pt x="265" y="656"/>
                </a:lnTo>
                <a:lnTo>
                  <a:pt x="256" y="646"/>
                </a:lnTo>
                <a:lnTo>
                  <a:pt x="251" y="641"/>
                </a:lnTo>
                <a:lnTo>
                  <a:pt x="245" y="638"/>
                </a:lnTo>
                <a:lnTo>
                  <a:pt x="240" y="636"/>
                </a:lnTo>
                <a:lnTo>
                  <a:pt x="232" y="635"/>
                </a:lnTo>
                <a:lnTo>
                  <a:pt x="232" y="623"/>
                </a:lnTo>
                <a:lnTo>
                  <a:pt x="232" y="610"/>
                </a:lnTo>
                <a:lnTo>
                  <a:pt x="239" y="608"/>
                </a:lnTo>
                <a:lnTo>
                  <a:pt x="245" y="604"/>
                </a:lnTo>
                <a:lnTo>
                  <a:pt x="251" y="600"/>
                </a:lnTo>
                <a:lnTo>
                  <a:pt x="253" y="598"/>
                </a:lnTo>
                <a:lnTo>
                  <a:pt x="253" y="594"/>
                </a:lnTo>
                <a:lnTo>
                  <a:pt x="254" y="591"/>
                </a:lnTo>
                <a:lnTo>
                  <a:pt x="256" y="588"/>
                </a:lnTo>
                <a:lnTo>
                  <a:pt x="259" y="585"/>
                </a:lnTo>
                <a:lnTo>
                  <a:pt x="268" y="578"/>
                </a:lnTo>
                <a:lnTo>
                  <a:pt x="279" y="573"/>
                </a:lnTo>
                <a:lnTo>
                  <a:pt x="292" y="568"/>
                </a:lnTo>
                <a:lnTo>
                  <a:pt x="309" y="564"/>
                </a:lnTo>
                <a:lnTo>
                  <a:pt x="326" y="561"/>
                </a:lnTo>
                <a:lnTo>
                  <a:pt x="345" y="561"/>
                </a:lnTo>
                <a:lnTo>
                  <a:pt x="338" y="544"/>
                </a:lnTo>
                <a:lnTo>
                  <a:pt x="330" y="529"/>
                </a:lnTo>
                <a:lnTo>
                  <a:pt x="325" y="520"/>
                </a:lnTo>
                <a:lnTo>
                  <a:pt x="322" y="511"/>
                </a:lnTo>
                <a:lnTo>
                  <a:pt x="320" y="499"/>
                </a:lnTo>
                <a:lnTo>
                  <a:pt x="319" y="487"/>
                </a:lnTo>
                <a:lnTo>
                  <a:pt x="307" y="486"/>
                </a:lnTo>
                <a:lnTo>
                  <a:pt x="293" y="484"/>
                </a:lnTo>
                <a:lnTo>
                  <a:pt x="281" y="481"/>
                </a:lnTo>
                <a:lnTo>
                  <a:pt x="269" y="478"/>
                </a:lnTo>
                <a:lnTo>
                  <a:pt x="258" y="475"/>
                </a:lnTo>
                <a:lnTo>
                  <a:pt x="247" y="472"/>
                </a:lnTo>
                <a:lnTo>
                  <a:pt x="236" y="470"/>
                </a:lnTo>
                <a:lnTo>
                  <a:pt x="225" y="469"/>
                </a:lnTo>
                <a:lnTo>
                  <a:pt x="218" y="469"/>
                </a:lnTo>
                <a:lnTo>
                  <a:pt x="209" y="470"/>
                </a:lnTo>
                <a:lnTo>
                  <a:pt x="201" y="472"/>
                </a:lnTo>
                <a:lnTo>
                  <a:pt x="195" y="474"/>
                </a:lnTo>
                <a:lnTo>
                  <a:pt x="180" y="480"/>
                </a:lnTo>
                <a:lnTo>
                  <a:pt x="168" y="487"/>
                </a:lnTo>
                <a:lnTo>
                  <a:pt x="157" y="495"/>
                </a:lnTo>
                <a:lnTo>
                  <a:pt x="146" y="505"/>
                </a:lnTo>
                <a:lnTo>
                  <a:pt x="136" y="515"/>
                </a:lnTo>
                <a:lnTo>
                  <a:pt x="127" y="524"/>
                </a:lnTo>
                <a:lnTo>
                  <a:pt x="133" y="512"/>
                </a:lnTo>
                <a:lnTo>
                  <a:pt x="106" y="505"/>
                </a:lnTo>
                <a:lnTo>
                  <a:pt x="133" y="487"/>
                </a:lnTo>
                <a:lnTo>
                  <a:pt x="106" y="463"/>
                </a:lnTo>
                <a:lnTo>
                  <a:pt x="79" y="438"/>
                </a:lnTo>
                <a:lnTo>
                  <a:pt x="40" y="438"/>
                </a:lnTo>
                <a:lnTo>
                  <a:pt x="27" y="413"/>
                </a:lnTo>
                <a:lnTo>
                  <a:pt x="7" y="401"/>
                </a:lnTo>
                <a:lnTo>
                  <a:pt x="0" y="370"/>
                </a:lnTo>
                <a:lnTo>
                  <a:pt x="0" y="333"/>
                </a:lnTo>
                <a:lnTo>
                  <a:pt x="13" y="308"/>
                </a:lnTo>
                <a:lnTo>
                  <a:pt x="20" y="283"/>
                </a:lnTo>
                <a:lnTo>
                  <a:pt x="53" y="302"/>
                </a:lnTo>
                <a:lnTo>
                  <a:pt x="86" y="314"/>
                </a:lnTo>
                <a:lnTo>
                  <a:pt x="106" y="308"/>
                </a:lnTo>
                <a:lnTo>
                  <a:pt x="79" y="277"/>
                </a:lnTo>
                <a:lnTo>
                  <a:pt x="113" y="259"/>
                </a:lnTo>
                <a:lnTo>
                  <a:pt x="146" y="228"/>
                </a:lnTo>
                <a:lnTo>
                  <a:pt x="179" y="222"/>
                </a:lnTo>
                <a:lnTo>
                  <a:pt x="219" y="222"/>
                </a:lnTo>
                <a:lnTo>
                  <a:pt x="246" y="210"/>
                </a:lnTo>
                <a:lnTo>
                  <a:pt x="292" y="222"/>
                </a:lnTo>
                <a:lnTo>
                  <a:pt x="338" y="241"/>
                </a:lnTo>
                <a:lnTo>
                  <a:pt x="379" y="277"/>
                </a:lnTo>
                <a:lnTo>
                  <a:pt x="425" y="271"/>
                </a:lnTo>
                <a:lnTo>
                  <a:pt x="465" y="253"/>
                </a:lnTo>
                <a:lnTo>
                  <a:pt x="498" y="253"/>
                </a:lnTo>
                <a:lnTo>
                  <a:pt x="538" y="247"/>
                </a:lnTo>
                <a:lnTo>
                  <a:pt x="578" y="265"/>
                </a:lnTo>
                <a:lnTo>
                  <a:pt x="624" y="277"/>
                </a:lnTo>
                <a:lnTo>
                  <a:pt x="671" y="271"/>
                </a:lnTo>
                <a:lnTo>
                  <a:pt x="717" y="253"/>
                </a:lnTo>
                <a:lnTo>
                  <a:pt x="717" y="228"/>
                </a:lnTo>
                <a:lnTo>
                  <a:pt x="684" y="222"/>
                </a:lnTo>
                <a:lnTo>
                  <a:pt x="645" y="210"/>
                </a:lnTo>
                <a:lnTo>
                  <a:pt x="617" y="198"/>
                </a:lnTo>
                <a:lnTo>
                  <a:pt x="658" y="185"/>
                </a:lnTo>
                <a:lnTo>
                  <a:pt x="651" y="148"/>
                </a:lnTo>
                <a:lnTo>
                  <a:pt x="704" y="142"/>
                </a:lnTo>
                <a:lnTo>
                  <a:pt x="638" y="93"/>
                </a:lnTo>
                <a:lnTo>
                  <a:pt x="744" y="75"/>
                </a:lnTo>
                <a:lnTo>
                  <a:pt x="830" y="68"/>
                </a:lnTo>
                <a:lnTo>
                  <a:pt x="844" y="43"/>
                </a:lnTo>
                <a:lnTo>
                  <a:pt x="904" y="37"/>
                </a:lnTo>
                <a:lnTo>
                  <a:pt x="963" y="25"/>
                </a:lnTo>
                <a:lnTo>
                  <a:pt x="983" y="0"/>
                </a:lnTo>
                <a:lnTo>
                  <a:pt x="1050" y="13"/>
                </a:lnTo>
                <a:lnTo>
                  <a:pt x="1089" y="6"/>
                </a:lnTo>
                <a:lnTo>
                  <a:pt x="1116" y="25"/>
                </a:lnTo>
                <a:lnTo>
                  <a:pt x="1122" y="75"/>
                </a:lnTo>
                <a:lnTo>
                  <a:pt x="1163" y="75"/>
                </a:lnTo>
                <a:lnTo>
                  <a:pt x="1176" y="61"/>
                </a:lnTo>
                <a:lnTo>
                  <a:pt x="1196" y="75"/>
                </a:lnTo>
                <a:lnTo>
                  <a:pt x="1235" y="81"/>
                </a:lnTo>
                <a:lnTo>
                  <a:pt x="1255" y="81"/>
                </a:lnTo>
                <a:lnTo>
                  <a:pt x="1255" y="117"/>
                </a:lnTo>
                <a:lnTo>
                  <a:pt x="1296" y="111"/>
                </a:lnTo>
                <a:lnTo>
                  <a:pt x="1335" y="93"/>
                </a:lnTo>
                <a:lnTo>
                  <a:pt x="1375" y="61"/>
                </a:lnTo>
                <a:lnTo>
                  <a:pt x="1401" y="49"/>
                </a:lnTo>
                <a:lnTo>
                  <a:pt x="1401" y="81"/>
                </a:lnTo>
                <a:lnTo>
                  <a:pt x="1442" y="99"/>
                </a:lnTo>
                <a:lnTo>
                  <a:pt x="1488" y="117"/>
                </a:lnTo>
                <a:lnTo>
                  <a:pt x="1528" y="160"/>
                </a:lnTo>
                <a:lnTo>
                  <a:pt x="1581" y="204"/>
                </a:lnTo>
                <a:lnTo>
                  <a:pt x="1627" y="241"/>
                </a:lnTo>
                <a:lnTo>
                  <a:pt x="1647" y="271"/>
                </a:lnTo>
                <a:lnTo>
                  <a:pt x="1660" y="241"/>
                </a:lnTo>
                <a:lnTo>
                  <a:pt x="1688" y="235"/>
                </a:lnTo>
                <a:lnTo>
                  <a:pt x="1708" y="259"/>
                </a:lnTo>
                <a:lnTo>
                  <a:pt x="1747" y="271"/>
                </a:lnTo>
                <a:lnTo>
                  <a:pt x="1793" y="265"/>
                </a:lnTo>
                <a:lnTo>
                  <a:pt x="1821" y="253"/>
                </a:lnTo>
                <a:lnTo>
                  <a:pt x="1860" y="283"/>
                </a:lnTo>
                <a:lnTo>
                  <a:pt x="1906" y="308"/>
                </a:lnTo>
                <a:lnTo>
                  <a:pt x="1947" y="333"/>
                </a:lnTo>
                <a:lnTo>
                  <a:pt x="2000" y="339"/>
                </a:lnTo>
                <a:lnTo>
                  <a:pt x="2006" y="346"/>
                </a:lnTo>
                <a:lnTo>
                  <a:pt x="2005" y="358"/>
                </a:lnTo>
                <a:lnTo>
                  <a:pt x="2004" y="373"/>
                </a:lnTo>
                <a:lnTo>
                  <a:pt x="2004" y="377"/>
                </a:lnTo>
                <a:lnTo>
                  <a:pt x="2002" y="381"/>
                </a:lnTo>
                <a:lnTo>
                  <a:pt x="2000" y="385"/>
                </a:lnTo>
                <a:lnTo>
                  <a:pt x="1996" y="388"/>
                </a:lnTo>
                <a:lnTo>
                  <a:pt x="1993" y="392"/>
                </a:lnTo>
                <a:lnTo>
                  <a:pt x="1988" y="395"/>
                </a:lnTo>
                <a:lnTo>
                  <a:pt x="1981" y="399"/>
                </a:lnTo>
                <a:lnTo>
                  <a:pt x="1973" y="401"/>
                </a:lnTo>
                <a:lnTo>
                  <a:pt x="1969" y="401"/>
                </a:lnTo>
                <a:lnTo>
                  <a:pt x="1965" y="402"/>
                </a:lnTo>
                <a:lnTo>
                  <a:pt x="1962" y="403"/>
                </a:lnTo>
                <a:lnTo>
                  <a:pt x="1960" y="404"/>
                </a:lnTo>
                <a:lnTo>
                  <a:pt x="1959" y="406"/>
                </a:lnTo>
                <a:lnTo>
                  <a:pt x="1958" y="408"/>
                </a:lnTo>
                <a:lnTo>
                  <a:pt x="1958" y="410"/>
                </a:lnTo>
                <a:lnTo>
                  <a:pt x="1958" y="413"/>
                </a:lnTo>
                <a:lnTo>
                  <a:pt x="1963" y="425"/>
                </a:lnTo>
                <a:lnTo>
                  <a:pt x="1972" y="438"/>
                </a:lnTo>
                <a:lnTo>
                  <a:pt x="1977" y="445"/>
                </a:lnTo>
                <a:lnTo>
                  <a:pt x="1981" y="452"/>
                </a:lnTo>
                <a:lnTo>
                  <a:pt x="1983" y="460"/>
                </a:lnTo>
                <a:lnTo>
                  <a:pt x="1985" y="466"/>
                </a:lnTo>
                <a:lnTo>
                  <a:pt x="1985" y="469"/>
                </a:lnTo>
                <a:lnTo>
                  <a:pt x="1984" y="471"/>
                </a:lnTo>
                <a:lnTo>
                  <a:pt x="1983" y="474"/>
                </a:lnTo>
                <a:lnTo>
                  <a:pt x="1982" y="476"/>
                </a:lnTo>
                <a:lnTo>
                  <a:pt x="1979" y="478"/>
                </a:lnTo>
                <a:lnTo>
                  <a:pt x="1976" y="479"/>
                </a:lnTo>
                <a:lnTo>
                  <a:pt x="1971" y="480"/>
                </a:lnTo>
                <a:lnTo>
                  <a:pt x="1967" y="481"/>
                </a:lnTo>
                <a:lnTo>
                  <a:pt x="1954" y="481"/>
                </a:lnTo>
                <a:lnTo>
                  <a:pt x="1939" y="481"/>
                </a:lnTo>
                <a:lnTo>
                  <a:pt x="1932" y="481"/>
                </a:lnTo>
                <a:lnTo>
                  <a:pt x="1923" y="480"/>
                </a:lnTo>
                <a:lnTo>
                  <a:pt x="1913" y="478"/>
                </a:lnTo>
                <a:lnTo>
                  <a:pt x="1903" y="476"/>
                </a:lnTo>
                <a:lnTo>
                  <a:pt x="1893" y="474"/>
                </a:lnTo>
                <a:lnTo>
                  <a:pt x="1883" y="471"/>
                </a:lnTo>
                <a:lnTo>
                  <a:pt x="1875" y="467"/>
                </a:lnTo>
                <a:lnTo>
                  <a:pt x="1867" y="463"/>
                </a:lnTo>
                <a:lnTo>
                  <a:pt x="1865" y="468"/>
                </a:lnTo>
                <a:lnTo>
                  <a:pt x="1864" y="474"/>
                </a:lnTo>
                <a:lnTo>
                  <a:pt x="1865" y="482"/>
                </a:lnTo>
                <a:lnTo>
                  <a:pt x="1865" y="490"/>
                </a:lnTo>
                <a:lnTo>
                  <a:pt x="1869" y="508"/>
                </a:lnTo>
                <a:lnTo>
                  <a:pt x="1873" y="529"/>
                </a:lnTo>
                <a:lnTo>
                  <a:pt x="1878" y="548"/>
                </a:lnTo>
                <a:lnTo>
                  <a:pt x="1882" y="564"/>
                </a:lnTo>
                <a:lnTo>
                  <a:pt x="1882" y="572"/>
                </a:lnTo>
                <a:lnTo>
                  <a:pt x="1882" y="578"/>
                </a:lnTo>
                <a:lnTo>
                  <a:pt x="1882" y="583"/>
                </a:lnTo>
                <a:lnTo>
                  <a:pt x="1880" y="586"/>
                </a:lnTo>
                <a:lnTo>
                  <a:pt x="1854" y="584"/>
                </a:lnTo>
                <a:lnTo>
                  <a:pt x="1816" y="584"/>
                </a:lnTo>
                <a:lnTo>
                  <a:pt x="1806" y="585"/>
                </a:lnTo>
                <a:lnTo>
                  <a:pt x="1798" y="586"/>
                </a:lnTo>
                <a:lnTo>
                  <a:pt x="1789" y="588"/>
                </a:lnTo>
                <a:lnTo>
                  <a:pt x="1782" y="591"/>
                </a:lnTo>
                <a:lnTo>
                  <a:pt x="1776" y="594"/>
                </a:lnTo>
                <a:lnTo>
                  <a:pt x="1771" y="598"/>
                </a:lnTo>
                <a:lnTo>
                  <a:pt x="1769" y="601"/>
                </a:lnTo>
                <a:lnTo>
                  <a:pt x="1768" y="604"/>
                </a:lnTo>
                <a:lnTo>
                  <a:pt x="1767" y="607"/>
                </a:lnTo>
                <a:lnTo>
                  <a:pt x="1767" y="610"/>
                </a:lnTo>
                <a:lnTo>
                  <a:pt x="1778" y="612"/>
                </a:lnTo>
                <a:lnTo>
                  <a:pt x="1788" y="615"/>
                </a:lnTo>
                <a:lnTo>
                  <a:pt x="1795" y="619"/>
                </a:lnTo>
                <a:lnTo>
                  <a:pt x="1801" y="625"/>
                </a:lnTo>
                <a:lnTo>
                  <a:pt x="1805" y="631"/>
                </a:lnTo>
                <a:lnTo>
                  <a:pt x="1809" y="637"/>
                </a:lnTo>
                <a:lnTo>
                  <a:pt x="1812" y="644"/>
                </a:lnTo>
                <a:lnTo>
                  <a:pt x="1814" y="650"/>
                </a:lnTo>
                <a:lnTo>
                  <a:pt x="1817" y="664"/>
                </a:lnTo>
                <a:lnTo>
                  <a:pt x="1822" y="676"/>
                </a:lnTo>
                <a:lnTo>
                  <a:pt x="1824" y="682"/>
                </a:lnTo>
                <a:lnTo>
                  <a:pt x="1828" y="686"/>
                </a:lnTo>
                <a:lnTo>
                  <a:pt x="1834" y="689"/>
                </a:lnTo>
                <a:lnTo>
                  <a:pt x="1840" y="691"/>
                </a:lnTo>
                <a:lnTo>
                  <a:pt x="1838" y="695"/>
                </a:lnTo>
                <a:lnTo>
                  <a:pt x="1837" y="699"/>
                </a:lnTo>
                <a:lnTo>
                  <a:pt x="1837" y="702"/>
                </a:lnTo>
                <a:lnTo>
                  <a:pt x="1837" y="706"/>
                </a:lnTo>
                <a:lnTo>
                  <a:pt x="1839" y="713"/>
                </a:lnTo>
                <a:lnTo>
                  <a:pt x="1840" y="721"/>
                </a:lnTo>
                <a:lnTo>
                  <a:pt x="1840" y="735"/>
                </a:lnTo>
                <a:lnTo>
                  <a:pt x="1838" y="748"/>
                </a:lnTo>
                <a:lnTo>
                  <a:pt x="1837" y="754"/>
                </a:lnTo>
                <a:lnTo>
                  <a:pt x="1835" y="760"/>
                </a:lnTo>
                <a:lnTo>
                  <a:pt x="1832" y="765"/>
                </a:lnTo>
                <a:lnTo>
                  <a:pt x="1827" y="770"/>
                </a:lnTo>
                <a:lnTo>
                  <a:pt x="1814" y="764"/>
                </a:lnTo>
                <a:lnTo>
                  <a:pt x="1741" y="740"/>
                </a:lnTo>
                <a:lnTo>
                  <a:pt x="1674" y="740"/>
                </a:lnTo>
                <a:lnTo>
                  <a:pt x="1614" y="734"/>
                </a:lnTo>
                <a:lnTo>
                  <a:pt x="1534" y="727"/>
                </a:lnTo>
                <a:lnTo>
                  <a:pt x="1488" y="715"/>
                </a:lnTo>
                <a:lnTo>
                  <a:pt x="1475" y="764"/>
                </a:lnTo>
                <a:lnTo>
                  <a:pt x="1414" y="740"/>
                </a:lnTo>
                <a:lnTo>
                  <a:pt x="1368" y="734"/>
                </a:lnTo>
                <a:lnTo>
                  <a:pt x="1342" y="758"/>
                </a:lnTo>
                <a:lnTo>
                  <a:pt x="1342" y="770"/>
                </a:lnTo>
                <a:lnTo>
                  <a:pt x="1316" y="795"/>
                </a:lnTo>
                <a:lnTo>
                  <a:pt x="1282" y="808"/>
                </a:lnTo>
                <a:lnTo>
                  <a:pt x="1255" y="838"/>
                </a:lnTo>
                <a:lnTo>
                  <a:pt x="1235" y="863"/>
                </a:lnTo>
                <a:lnTo>
                  <a:pt x="1196" y="832"/>
                </a:lnTo>
                <a:lnTo>
                  <a:pt x="1142" y="838"/>
                </a:lnTo>
                <a:lnTo>
                  <a:pt x="1122" y="808"/>
                </a:lnTo>
                <a:lnTo>
                  <a:pt x="1083" y="746"/>
                </a:lnTo>
                <a:lnTo>
                  <a:pt x="1050" y="715"/>
                </a:lnTo>
                <a:lnTo>
                  <a:pt x="1003" y="685"/>
                </a:lnTo>
                <a:lnTo>
                  <a:pt x="963" y="697"/>
                </a:lnTo>
                <a:lnTo>
                  <a:pt x="917" y="691"/>
                </a:lnTo>
                <a:lnTo>
                  <a:pt x="857" y="697"/>
                </a:lnTo>
                <a:lnTo>
                  <a:pt x="730" y="616"/>
                </a:lnTo>
                <a:lnTo>
                  <a:pt x="682" y="595"/>
                </a:lnTo>
                <a:lnTo>
                  <a:pt x="684" y="586"/>
                </a:lnTo>
                <a:lnTo>
                  <a:pt x="638" y="548"/>
                </a:lnTo>
                <a:lnTo>
                  <a:pt x="610" y="580"/>
                </a:lnTo>
                <a:lnTo>
                  <a:pt x="525" y="604"/>
                </a:lnTo>
                <a:lnTo>
                  <a:pt x="565" y="826"/>
                </a:lnTo>
                <a:lnTo>
                  <a:pt x="584" y="832"/>
                </a:lnTo>
                <a:lnTo>
                  <a:pt x="571" y="82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079" name="Freeform 31"/>
          <p:cNvSpPr>
            <a:spLocks/>
          </p:cNvSpPr>
          <p:nvPr>
            <p:custDataLst>
              <p:tags r:id="rId26"/>
            </p:custDataLst>
          </p:nvPr>
        </p:nvSpPr>
        <p:spPr bwMode="auto">
          <a:xfrm>
            <a:off x="5272088" y="1671642"/>
            <a:ext cx="409575" cy="186929"/>
          </a:xfrm>
          <a:custGeom>
            <a:avLst/>
            <a:gdLst/>
            <a:ahLst/>
            <a:cxnLst>
              <a:cxn ang="0">
                <a:pos x="638" y="443"/>
              </a:cxn>
              <a:cxn ang="0">
                <a:pos x="558" y="418"/>
              </a:cxn>
              <a:cxn ang="0">
                <a:pos x="471" y="376"/>
              </a:cxn>
              <a:cxn ang="0">
                <a:pos x="392" y="307"/>
              </a:cxn>
              <a:cxn ang="0">
                <a:pos x="305" y="258"/>
              </a:cxn>
              <a:cxn ang="0">
                <a:pos x="253" y="209"/>
              </a:cxn>
              <a:cxn ang="0">
                <a:pos x="186" y="172"/>
              </a:cxn>
              <a:cxn ang="0">
                <a:pos x="133" y="190"/>
              </a:cxn>
              <a:cxn ang="0">
                <a:pos x="99" y="240"/>
              </a:cxn>
              <a:cxn ang="0">
                <a:pos x="40" y="246"/>
              </a:cxn>
              <a:cxn ang="0">
                <a:pos x="0" y="24"/>
              </a:cxn>
              <a:cxn ang="0">
                <a:pos x="79" y="6"/>
              </a:cxn>
              <a:cxn ang="0">
                <a:pos x="133" y="55"/>
              </a:cxn>
              <a:cxn ang="0">
                <a:pos x="157" y="15"/>
              </a:cxn>
              <a:cxn ang="0">
                <a:pos x="332" y="117"/>
              </a:cxn>
              <a:cxn ang="0">
                <a:pos x="438" y="117"/>
              </a:cxn>
              <a:cxn ang="0">
                <a:pos x="525" y="135"/>
              </a:cxn>
              <a:cxn ang="0">
                <a:pos x="597" y="228"/>
              </a:cxn>
              <a:cxn ang="0">
                <a:pos x="671" y="252"/>
              </a:cxn>
              <a:cxn ang="0">
                <a:pos x="730" y="258"/>
              </a:cxn>
              <a:cxn ang="0">
                <a:pos x="791" y="215"/>
              </a:cxn>
              <a:cxn ang="0">
                <a:pos x="843" y="196"/>
              </a:cxn>
              <a:cxn ang="0">
                <a:pos x="824" y="252"/>
              </a:cxn>
              <a:cxn ang="0">
                <a:pos x="870" y="240"/>
              </a:cxn>
              <a:cxn ang="0">
                <a:pos x="950" y="283"/>
              </a:cxn>
              <a:cxn ang="0">
                <a:pos x="883" y="320"/>
              </a:cxn>
              <a:cxn ang="0">
                <a:pos x="824" y="283"/>
              </a:cxn>
              <a:cxn ang="0">
                <a:pos x="764" y="277"/>
              </a:cxn>
              <a:cxn ang="0">
                <a:pos x="737" y="320"/>
              </a:cxn>
              <a:cxn ang="0">
                <a:pos x="684" y="357"/>
              </a:cxn>
              <a:cxn ang="0">
                <a:pos x="710" y="388"/>
              </a:cxn>
              <a:cxn ang="0">
                <a:pos x="743" y="437"/>
              </a:cxn>
              <a:cxn ang="0">
                <a:pos x="717" y="468"/>
              </a:cxn>
              <a:cxn ang="0">
                <a:pos x="703" y="465"/>
              </a:cxn>
              <a:cxn ang="0">
                <a:pos x="684" y="461"/>
              </a:cxn>
              <a:cxn ang="0">
                <a:pos x="658" y="461"/>
              </a:cxn>
            </a:cxnLst>
            <a:rect l="0" t="0" r="r" b="b"/>
            <a:pathLst>
              <a:path w="950" h="468">
                <a:moveTo>
                  <a:pt x="664" y="455"/>
                </a:moveTo>
                <a:lnTo>
                  <a:pt x="638" y="443"/>
                </a:lnTo>
                <a:lnTo>
                  <a:pt x="604" y="431"/>
                </a:lnTo>
                <a:lnTo>
                  <a:pt x="558" y="418"/>
                </a:lnTo>
                <a:lnTo>
                  <a:pt x="512" y="388"/>
                </a:lnTo>
                <a:lnTo>
                  <a:pt x="471" y="376"/>
                </a:lnTo>
                <a:lnTo>
                  <a:pt x="425" y="345"/>
                </a:lnTo>
                <a:lnTo>
                  <a:pt x="392" y="307"/>
                </a:lnTo>
                <a:lnTo>
                  <a:pt x="345" y="258"/>
                </a:lnTo>
                <a:lnTo>
                  <a:pt x="305" y="258"/>
                </a:lnTo>
                <a:lnTo>
                  <a:pt x="266" y="246"/>
                </a:lnTo>
                <a:lnTo>
                  <a:pt x="253" y="209"/>
                </a:lnTo>
                <a:lnTo>
                  <a:pt x="219" y="190"/>
                </a:lnTo>
                <a:lnTo>
                  <a:pt x="186" y="172"/>
                </a:lnTo>
                <a:lnTo>
                  <a:pt x="153" y="166"/>
                </a:lnTo>
                <a:lnTo>
                  <a:pt x="133" y="190"/>
                </a:lnTo>
                <a:lnTo>
                  <a:pt x="92" y="209"/>
                </a:lnTo>
                <a:lnTo>
                  <a:pt x="99" y="240"/>
                </a:lnTo>
                <a:lnTo>
                  <a:pt x="59" y="252"/>
                </a:lnTo>
                <a:lnTo>
                  <a:pt x="40" y="246"/>
                </a:lnTo>
                <a:lnTo>
                  <a:pt x="46" y="240"/>
                </a:lnTo>
                <a:lnTo>
                  <a:pt x="0" y="24"/>
                </a:lnTo>
                <a:lnTo>
                  <a:pt x="85" y="0"/>
                </a:lnTo>
                <a:lnTo>
                  <a:pt x="79" y="6"/>
                </a:lnTo>
                <a:lnTo>
                  <a:pt x="86" y="55"/>
                </a:lnTo>
                <a:lnTo>
                  <a:pt x="133" y="55"/>
                </a:lnTo>
                <a:lnTo>
                  <a:pt x="153" y="30"/>
                </a:lnTo>
                <a:lnTo>
                  <a:pt x="157" y="15"/>
                </a:lnTo>
                <a:lnTo>
                  <a:pt x="205" y="36"/>
                </a:lnTo>
                <a:lnTo>
                  <a:pt x="332" y="117"/>
                </a:lnTo>
                <a:lnTo>
                  <a:pt x="392" y="111"/>
                </a:lnTo>
                <a:lnTo>
                  <a:pt x="438" y="117"/>
                </a:lnTo>
                <a:lnTo>
                  <a:pt x="478" y="105"/>
                </a:lnTo>
                <a:lnTo>
                  <a:pt x="525" y="135"/>
                </a:lnTo>
                <a:lnTo>
                  <a:pt x="558" y="166"/>
                </a:lnTo>
                <a:lnTo>
                  <a:pt x="597" y="228"/>
                </a:lnTo>
                <a:lnTo>
                  <a:pt x="617" y="258"/>
                </a:lnTo>
                <a:lnTo>
                  <a:pt x="671" y="252"/>
                </a:lnTo>
                <a:lnTo>
                  <a:pt x="710" y="283"/>
                </a:lnTo>
                <a:lnTo>
                  <a:pt x="730" y="258"/>
                </a:lnTo>
                <a:lnTo>
                  <a:pt x="757" y="228"/>
                </a:lnTo>
                <a:lnTo>
                  <a:pt x="791" y="215"/>
                </a:lnTo>
                <a:lnTo>
                  <a:pt x="817" y="190"/>
                </a:lnTo>
                <a:lnTo>
                  <a:pt x="843" y="196"/>
                </a:lnTo>
                <a:lnTo>
                  <a:pt x="810" y="228"/>
                </a:lnTo>
                <a:lnTo>
                  <a:pt x="824" y="252"/>
                </a:lnTo>
                <a:lnTo>
                  <a:pt x="850" y="258"/>
                </a:lnTo>
                <a:lnTo>
                  <a:pt x="870" y="240"/>
                </a:lnTo>
                <a:lnTo>
                  <a:pt x="910" y="258"/>
                </a:lnTo>
                <a:lnTo>
                  <a:pt x="950" y="283"/>
                </a:lnTo>
                <a:lnTo>
                  <a:pt x="917" y="313"/>
                </a:lnTo>
                <a:lnTo>
                  <a:pt x="883" y="320"/>
                </a:lnTo>
                <a:lnTo>
                  <a:pt x="837" y="313"/>
                </a:lnTo>
                <a:lnTo>
                  <a:pt x="824" y="283"/>
                </a:lnTo>
                <a:lnTo>
                  <a:pt x="804" y="271"/>
                </a:lnTo>
                <a:lnTo>
                  <a:pt x="764" y="277"/>
                </a:lnTo>
                <a:lnTo>
                  <a:pt x="757" y="301"/>
                </a:lnTo>
                <a:lnTo>
                  <a:pt x="737" y="320"/>
                </a:lnTo>
                <a:lnTo>
                  <a:pt x="724" y="351"/>
                </a:lnTo>
                <a:lnTo>
                  <a:pt x="684" y="357"/>
                </a:lnTo>
                <a:lnTo>
                  <a:pt x="671" y="369"/>
                </a:lnTo>
                <a:lnTo>
                  <a:pt x="710" y="388"/>
                </a:lnTo>
                <a:lnTo>
                  <a:pt x="730" y="406"/>
                </a:lnTo>
                <a:lnTo>
                  <a:pt x="743" y="437"/>
                </a:lnTo>
                <a:lnTo>
                  <a:pt x="730" y="468"/>
                </a:lnTo>
                <a:lnTo>
                  <a:pt x="717" y="468"/>
                </a:lnTo>
                <a:lnTo>
                  <a:pt x="712" y="467"/>
                </a:lnTo>
                <a:lnTo>
                  <a:pt x="703" y="465"/>
                </a:lnTo>
                <a:lnTo>
                  <a:pt x="694" y="462"/>
                </a:lnTo>
                <a:lnTo>
                  <a:pt x="684" y="461"/>
                </a:lnTo>
                <a:lnTo>
                  <a:pt x="669" y="461"/>
                </a:lnTo>
                <a:lnTo>
                  <a:pt x="658" y="461"/>
                </a:lnTo>
                <a:lnTo>
                  <a:pt x="664" y="45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080" name="Freeform 32"/>
          <p:cNvSpPr>
            <a:spLocks/>
          </p:cNvSpPr>
          <p:nvPr>
            <p:custDataLst>
              <p:tags r:id="rId27"/>
            </p:custDataLst>
          </p:nvPr>
        </p:nvSpPr>
        <p:spPr bwMode="auto">
          <a:xfrm>
            <a:off x="4079877" y="2424119"/>
            <a:ext cx="296863" cy="216694"/>
          </a:xfrm>
          <a:custGeom>
            <a:avLst/>
            <a:gdLst/>
            <a:ahLst/>
            <a:cxnLst>
              <a:cxn ang="0">
                <a:pos x="6" y="383"/>
              </a:cxn>
              <a:cxn ang="0">
                <a:pos x="8" y="316"/>
              </a:cxn>
              <a:cxn ang="0">
                <a:pos x="17" y="287"/>
              </a:cxn>
              <a:cxn ang="0">
                <a:pos x="52" y="238"/>
              </a:cxn>
              <a:cxn ang="0">
                <a:pos x="71" y="205"/>
              </a:cxn>
              <a:cxn ang="0">
                <a:pos x="73" y="167"/>
              </a:cxn>
              <a:cxn ang="0">
                <a:pos x="73" y="137"/>
              </a:cxn>
              <a:cxn ang="0">
                <a:pos x="54" y="108"/>
              </a:cxn>
              <a:cxn ang="0">
                <a:pos x="61" y="79"/>
              </a:cxn>
              <a:cxn ang="0">
                <a:pos x="76" y="50"/>
              </a:cxn>
              <a:cxn ang="0">
                <a:pos x="96" y="25"/>
              </a:cxn>
              <a:cxn ang="0">
                <a:pos x="120" y="7"/>
              </a:cxn>
              <a:cxn ang="0">
                <a:pos x="146" y="0"/>
              </a:cxn>
              <a:cxn ang="0">
                <a:pos x="173" y="5"/>
              </a:cxn>
              <a:cxn ang="0">
                <a:pos x="206" y="26"/>
              </a:cxn>
              <a:cxn ang="0">
                <a:pos x="236" y="45"/>
              </a:cxn>
              <a:cxn ang="0">
                <a:pos x="259" y="50"/>
              </a:cxn>
              <a:cxn ang="0">
                <a:pos x="272" y="44"/>
              </a:cxn>
              <a:cxn ang="0">
                <a:pos x="284" y="35"/>
              </a:cxn>
              <a:cxn ang="0">
                <a:pos x="300" y="32"/>
              </a:cxn>
              <a:cxn ang="0">
                <a:pos x="318" y="39"/>
              </a:cxn>
              <a:cxn ang="0">
                <a:pos x="337" y="65"/>
              </a:cxn>
              <a:cxn ang="0">
                <a:pos x="353" y="79"/>
              </a:cxn>
              <a:cxn ang="0">
                <a:pos x="370" y="81"/>
              </a:cxn>
              <a:cxn ang="0">
                <a:pos x="381" y="75"/>
              </a:cxn>
              <a:cxn ang="0">
                <a:pos x="397" y="56"/>
              </a:cxn>
              <a:cxn ang="0">
                <a:pos x="419" y="38"/>
              </a:cxn>
              <a:cxn ang="0">
                <a:pos x="458" y="22"/>
              </a:cxn>
              <a:cxn ang="0">
                <a:pos x="487" y="25"/>
              </a:cxn>
              <a:cxn ang="0">
                <a:pos x="511" y="35"/>
              </a:cxn>
              <a:cxn ang="0">
                <a:pos x="537" y="43"/>
              </a:cxn>
              <a:cxn ang="0">
                <a:pos x="571" y="39"/>
              </a:cxn>
              <a:cxn ang="0">
                <a:pos x="646" y="67"/>
              </a:cxn>
              <a:cxn ang="0">
                <a:pos x="665" y="105"/>
              </a:cxn>
              <a:cxn ang="0">
                <a:pos x="623" y="183"/>
              </a:cxn>
              <a:cxn ang="0">
                <a:pos x="593" y="233"/>
              </a:cxn>
              <a:cxn ang="0">
                <a:pos x="570" y="291"/>
              </a:cxn>
              <a:cxn ang="0">
                <a:pos x="550" y="343"/>
              </a:cxn>
              <a:cxn ang="0">
                <a:pos x="525" y="407"/>
              </a:cxn>
              <a:cxn ang="0">
                <a:pos x="516" y="422"/>
              </a:cxn>
              <a:cxn ang="0">
                <a:pos x="500" y="439"/>
              </a:cxn>
              <a:cxn ang="0">
                <a:pos x="482" y="443"/>
              </a:cxn>
              <a:cxn ang="0">
                <a:pos x="459" y="432"/>
              </a:cxn>
              <a:cxn ang="0">
                <a:pos x="440" y="421"/>
              </a:cxn>
              <a:cxn ang="0">
                <a:pos x="408" y="424"/>
              </a:cxn>
              <a:cxn ang="0">
                <a:pos x="381" y="441"/>
              </a:cxn>
              <a:cxn ang="0">
                <a:pos x="364" y="469"/>
              </a:cxn>
              <a:cxn ang="0">
                <a:pos x="342" y="521"/>
              </a:cxn>
              <a:cxn ang="0">
                <a:pos x="325" y="549"/>
              </a:cxn>
              <a:cxn ang="0">
                <a:pos x="229" y="546"/>
              </a:cxn>
              <a:cxn ang="0">
                <a:pos x="217" y="548"/>
              </a:cxn>
              <a:cxn ang="0">
                <a:pos x="179" y="543"/>
              </a:cxn>
              <a:cxn ang="0">
                <a:pos x="161" y="540"/>
              </a:cxn>
              <a:cxn ang="0">
                <a:pos x="144" y="531"/>
              </a:cxn>
              <a:cxn ang="0">
                <a:pos x="129" y="515"/>
              </a:cxn>
              <a:cxn ang="0">
                <a:pos x="119" y="496"/>
              </a:cxn>
              <a:cxn ang="0">
                <a:pos x="113" y="472"/>
              </a:cxn>
              <a:cxn ang="0">
                <a:pos x="100" y="460"/>
              </a:cxn>
              <a:cxn ang="0">
                <a:pos x="83" y="447"/>
              </a:cxn>
              <a:cxn ang="0">
                <a:pos x="63" y="432"/>
              </a:cxn>
              <a:cxn ang="0">
                <a:pos x="39" y="429"/>
              </a:cxn>
              <a:cxn ang="0">
                <a:pos x="0" y="438"/>
              </a:cxn>
            </a:cxnLst>
            <a:rect l="0" t="0" r="r" b="b"/>
            <a:pathLst>
              <a:path w="671" h="549">
                <a:moveTo>
                  <a:pt x="0" y="438"/>
                </a:moveTo>
                <a:lnTo>
                  <a:pt x="4" y="405"/>
                </a:lnTo>
                <a:lnTo>
                  <a:pt x="6" y="383"/>
                </a:lnTo>
                <a:lnTo>
                  <a:pt x="7" y="360"/>
                </a:lnTo>
                <a:lnTo>
                  <a:pt x="7" y="327"/>
                </a:lnTo>
                <a:lnTo>
                  <a:pt x="8" y="316"/>
                </a:lnTo>
                <a:lnTo>
                  <a:pt x="9" y="306"/>
                </a:lnTo>
                <a:lnTo>
                  <a:pt x="12" y="296"/>
                </a:lnTo>
                <a:lnTo>
                  <a:pt x="17" y="287"/>
                </a:lnTo>
                <a:lnTo>
                  <a:pt x="28" y="270"/>
                </a:lnTo>
                <a:lnTo>
                  <a:pt x="40" y="254"/>
                </a:lnTo>
                <a:lnTo>
                  <a:pt x="52" y="238"/>
                </a:lnTo>
                <a:lnTo>
                  <a:pt x="63" y="222"/>
                </a:lnTo>
                <a:lnTo>
                  <a:pt x="67" y="214"/>
                </a:lnTo>
                <a:lnTo>
                  <a:pt x="71" y="205"/>
                </a:lnTo>
                <a:lnTo>
                  <a:pt x="73" y="196"/>
                </a:lnTo>
                <a:lnTo>
                  <a:pt x="73" y="185"/>
                </a:lnTo>
                <a:lnTo>
                  <a:pt x="73" y="167"/>
                </a:lnTo>
                <a:lnTo>
                  <a:pt x="73" y="156"/>
                </a:lnTo>
                <a:lnTo>
                  <a:pt x="73" y="148"/>
                </a:lnTo>
                <a:lnTo>
                  <a:pt x="73" y="137"/>
                </a:lnTo>
                <a:lnTo>
                  <a:pt x="63" y="126"/>
                </a:lnTo>
                <a:lnTo>
                  <a:pt x="53" y="117"/>
                </a:lnTo>
                <a:lnTo>
                  <a:pt x="54" y="108"/>
                </a:lnTo>
                <a:lnTo>
                  <a:pt x="55" y="99"/>
                </a:lnTo>
                <a:lnTo>
                  <a:pt x="57" y="89"/>
                </a:lnTo>
                <a:lnTo>
                  <a:pt x="61" y="79"/>
                </a:lnTo>
                <a:lnTo>
                  <a:pt x="65" y="68"/>
                </a:lnTo>
                <a:lnTo>
                  <a:pt x="71" y="59"/>
                </a:lnTo>
                <a:lnTo>
                  <a:pt x="76" y="50"/>
                </a:lnTo>
                <a:lnTo>
                  <a:pt x="83" y="41"/>
                </a:lnTo>
                <a:lnTo>
                  <a:pt x="89" y="33"/>
                </a:lnTo>
                <a:lnTo>
                  <a:pt x="96" y="25"/>
                </a:lnTo>
                <a:lnTo>
                  <a:pt x="104" y="17"/>
                </a:lnTo>
                <a:lnTo>
                  <a:pt x="112" y="12"/>
                </a:lnTo>
                <a:lnTo>
                  <a:pt x="120" y="7"/>
                </a:lnTo>
                <a:lnTo>
                  <a:pt x="129" y="3"/>
                </a:lnTo>
                <a:lnTo>
                  <a:pt x="138" y="1"/>
                </a:lnTo>
                <a:lnTo>
                  <a:pt x="146" y="0"/>
                </a:lnTo>
                <a:lnTo>
                  <a:pt x="156" y="1"/>
                </a:lnTo>
                <a:lnTo>
                  <a:pt x="164" y="3"/>
                </a:lnTo>
                <a:lnTo>
                  <a:pt x="173" y="5"/>
                </a:lnTo>
                <a:lnTo>
                  <a:pt x="179" y="8"/>
                </a:lnTo>
                <a:lnTo>
                  <a:pt x="194" y="16"/>
                </a:lnTo>
                <a:lnTo>
                  <a:pt x="206" y="26"/>
                </a:lnTo>
                <a:lnTo>
                  <a:pt x="217" y="35"/>
                </a:lnTo>
                <a:lnTo>
                  <a:pt x="230" y="42"/>
                </a:lnTo>
                <a:lnTo>
                  <a:pt x="236" y="45"/>
                </a:lnTo>
                <a:lnTo>
                  <a:pt x="243" y="48"/>
                </a:lnTo>
                <a:lnTo>
                  <a:pt x="251" y="49"/>
                </a:lnTo>
                <a:lnTo>
                  <a:pt x="259" y="50"/>
                </a:lnTo>
                <a:lnTo>
                  <a:pt x="264" y="49"/>
                </a:lnTo>
                <a:lnTo>
                  <a:pt x="268" y="47"/>
                </a:lnTo>
                <a:lnTo>
                  <a:pt x="272" y="44"/>
                </a:lnTo>
                <a:lnTo>
                  <a:pt x="276" y="41"/>
                </a:lnTo>
                <a:lnTo>
                  <a:pt x="279" y="37"/>
                </a:lnTo>
                <a:lnTo>
                  <a:pt x="284" y="35"/>
                </a:lnTo>
                <a:lnTo>
                  <a:pt x="288" y="32"/>
                </a:lnTo>
                <a:lnTo>
                  <a:pt x="292" y="32"/>
                </a:lnTo>
                <a:lnTo>
                  <a:pt x="300" y="32"/>
                </a:lnTo>
                <a:lnTo>
                  <a:pt x="308" y="34"/>
                </a:lnTo>
                <a:lnTo>
                  <a:pt x="313" y="36"/>
                </a:lnTo>
                <a:lnTo>
                  <a:pt x="318" y="39"/>
                </a:lnTo>
                <a:lnTo>
                  <a:pt x="325" y="47"/>
                </a:lnTo>
                <a:lnTo>
                  <a:pt x="332" y="56"/>
                </a:lnTo>
                <a:lnTo>
                  <a:pt x="337" y="65"/>
                </a:lnTo>
                <a:lnTo>
                  <a:pt x="344" y="73"/>
                </a:lnTo>
                <a:lnTo>
                  <a:pt x="348" y="76"/>
                </a:lnTo>
                <a:lnTo>
                  <a:pt x="353" y="79"/>
                </a:lnTo>
                <a:lnTo>
                  <a:pt x="358" y="81"/>
                </a:lnTo>
                <a:lnTo>
                  <a:pt x="366" y="81"/>
                </a:lnTo>
                <a:lnTo>
                  <a:pt x="370" y="81"/>
                </a:lnTo>
                <a:lnTo>
                  <a:pt x="375" y="80"/>
                </a:lnTo>
                <a:lnTo>
                  <a:pt x="378" y="77"/>
                </a:lnTo>
                <a:lnTo>
                  <a:pt x="381" y="75"/>
                </a:lnTo>
                <a:lnTo>
                  <a:pt x="387" y="70"/>
                </a:lnTo>
                <a:lnTo>
                  <a:pt x="392" y="63"/>
                </a:lnTo>
                <a:lnTo>
                  <a:pt x="397" y="56"/>
                </a:lnTo>
                <a:lnTo>
                  <a:pt x="403" y="49"/>
                </a:lnTo>
                <a:lnTo>
                  <a:pt x="410" y="43"/>
                </a:lnTo>
                <a:lnTo>
                  <a:pt x="419" y="38"/>
                </a:lnTo>
                <a:lnTo>
                  <a:pt x="433" y="30"/>
                </a:lnTo>
                <a:lnTo>
                  <a:pt x="446" y="25"/>
                </a:lnTo>
                <a:lnTo>
                  <a:pt x="458" y="22"/>
                </a:lnTo>
                <a:lnTo>
                  <a:pt x="468" y="21"/>
                </a:lnTo>
                <a:lnTo>
                  <a:pt x="478" y="22"/>
                </a:lnTo>
                <a:lnTo>
                  <a:pt x="487" y="25"/>
                </a:lnTo>
                <a:lnTo>
                  <a:pt x="496" y="28"/>
                </a:lnTo>
                <a:lnTo>
                  <a:pt x="503" y="31"/>
                </a:lnTo>
                <a:lnTo>
                  <a:pt x="511" y="35"/>
                </a:lnTo>
                <a:lnTo>
                  <a:pt x="520" y="38"/>
                </a:lnTo>
                <a:lnTo>
                  <a:pt x="528" y="41"/>
                </a:lnTo>
                <a:lnTo>
                  <a:pt x="537" y="43"/>
                </a:lnTo>
                <a:lnTo>
                  <a:pt x="547" y="43"/>
                </a:lnTo>
                <a:lnTo>
                  <a:pt x="559" y="42"/>
                </a:lnTo>
                <a:lnTo>
                  <a:pt x="571" y="39"/>
                </a:lnTo>
                <a:lnTo>
                  <a:pt x="586" y="33"/>
                </a:lnTo>
                <a:lnTo>
                  <a:pt x="632" y="74"/>
                </a:lnTo>
                <a:lnTo>
                  <a:pt x="646" y="67"/>
                </a:lnTo>
                <a:lnTo>
                  <a:pt x="651" y="81"/>
                </a:lnTo>
                <a:lnTo>
                  <a:pt x="658" y="93"/>
                </a:lnTo>
                <a:lnTo>
                  <a:pt x="665" y="105"/>
                </a:lnTo>
                <a:lnTo>
                  <a:pt x="671" y="117"/>
                </a:lnTo>
                <a:lnTo>
                  <a:pt x="646" y="152"/>
                </a:lnTo>
                <a:lnTo>
                  <a:pt x="623" y="183"/>
                </a:lnTo>
                <a:lnTo>
                  <a:pt x="612" y="199"/>
                </a:lnTo>
                <a:lnTo>
                  <a:pt x="602" y="216"/>
                </a:lnTo>
                <a:lnTo>
                  <a:pt x="593" y="233"/>
                </a:lnTo>
                <a:lnTo>
                  <a:pt x="584" y="254"/>
                </a:lnTo>
                <a:lnTo>
                  <a:pt x="578" y="273"/>
                </a:lnTo>
                <a:lnTo>
                  <a:pt x="570" y="291"/>
                </a:lnTo>
                <a:lnTo>
                  <a:pt x="564" y="309"/>
                </a:lnTo>
                <a:lnTo>
                  <a:pt x="557" y="326"/>
                </a:lnTo>
                <a:lnTo>
                  <a:pt x="550" y="343"/>
                </a:lnTo>
                <a:lnTo>
                  <a:pt x="543" y="363"/>
                </a:lnTo>
                <a:lnTo>
                  <a:pt x="534" y="383"/>
                </a:lnTo>
                <a:lnTo>
                  <a:pt x="525" y="407"/>
                </a:lnTo>
                <a:lnTo>
                  <a:pt x="524" y="410"/>
                </a:lnTo>
                <a:lnTo>
                  <a:pt x="521" y="416"/>
                </a:lnTo>
                <a:lnTo>
                  <a:pt x="516" y="422"/>
                </a:lnTo>
                <a:lnTo>
                  <a:pt x="511" y="428"/>
                </a:lnTo>
                <a:lnTo>
                  <a:pt x="505" y="434"/>
                </a:lnTo>
                <a:lnTo>
                  <a:pt x="500" y="439"/>
                </a:lnTo>
                <a:lnTo>
                  <a:pt x="496" y="443"/>
                </a:lnTo>
                <a:lnTo>
                  <a:pt x="492" y="444"/>
                </a:lnTo>
                <a:lnTo>
                  <a:pt x="482" y="443"/>
                </a:lnTo>
                <a:lnTo>
                  <a:pt x="474" y="440"/>
                </a:lnTo>
                <a:lnTo>
                  <a:pt x="466" y="436"/>
                </a:lnTo>
                <a:lnTo>
                  <a:pt x="459" y="432"/>
                </a:lnTo>
                <a:lnTo>
                  <a:pt x="453" y="428"/>
                </a:lnTo>
                <a:lnTo>
                  <a:pt x="446" y="424"/>
                </a:lnTo>
                <a:lnTo>
                  <a:pt x="440" y="421"/>
                </a:lnTo>
                <a:lnTo>
                  <a:pt x="432" y="420"/>
                </a:lnTo>
                <a:lnTo>
                  <a:pt x="419" y="421"/>
                </a:lnTo>
                <a:lnTo>
                  <a:pt x="408" y="424"/>
                </a:lnTo>
                <a:lnTo>
                  <a:pt x="398" y="428"/>
                </a:lnTo>
                <a:lnTo>
                  <a:pt x="389" y="434"/>
                </a:lnTo>
                <a:lnTo>
                  <a:pt x="381" y="441"/>
                </a:lnTo>
                <a:lnTo>
                  <a:pt x="375" y="449"/>
                </a:lnTo>
                <a:lnTo>
                  <a:pt x="369" y="458"/>
                </a:lnTo>
                <a:lnTo>
                  <a:pt x="364" y="469"/>
                </a:lnTo>
                <a:lnTo>
                  <a:pt x="355" y="489"/>
                </a:lnTo>
                <a:lnTo>
                  <a:pt x="346" y="510"/>
                </a:lnTo>
                <a:lnTo>
                  <a:pt x="342" y="521"/>
                </a:lnTo>
                <a:lnTo>
                  <a:pt x="336" y="531"/>
                </a:lnTo>
                <a:lnTo>
                  <a:pt x="332" y="541"/>
                </a:lnTo>
                <a:lnTo>
                  <a:pt x="325" y="549"/>
                </a:lnTo>
                <a:lnTo>
                  <a:pt x="233" y="543"/>
                </a:lnTo>
                <a:lnTo>
                  <a:pt x="231" y="545"/>
                </a:lnTo>
                <a:lnTo>
                  <a:pt x="229" y="546"/>
                </a:lnTo>
                <a:lnTo>
                  <a:pt x="227" y="547"/>
                </a:lnTo>
                <a:lnTo>
                  <a:pt x="223" y="548"/>
                </a:lnTo>
                <a:lnTo>
                  <a:pt x="217" y="548"/>
                </a:lnTo>
                <a:lnTo>
                  <a:pt x="209" y="547"/>
                </a:lnTo>
                <a:lnTo>
                  <a:pt x="193" y="545"/>
                </a:lnTo>
                <a:lnTo>
                  <a:pt x="179" y="543"/>
                </a:lnTo>
                <a:lnTo>
                  <a:pt x="173" y="543"/>
                </a:lnTo>
                <a:lnTo>
                  <a:pt x="167" y="542"/>
                </a:lnTo>
                <a:lnTo>
                  <a:pt x="161" y="540"/>
                </a:lnTo>
                <a:lnTo>
                  <a:pt x="155" y="537"/>
                </a:lnTo>
                <a:lnTo>
                  <a:pt x="150" y="534"/>
                </a:lnTo>
                <a:lnTo>
                  <a:pt x="144" y="531"/>
                </a:lnTo>
                <a:lnTo>
                  <a:pt x="139" y="527"/>
                </a:lnTo>
                <a:lnTo>
                  <a:pt x="134" y="521"/>
                </a:lnTo>
                <a:lnTo>
                  <a:pt x="129" y="515"/>
                </a:lnTo>
                <a:lnTo>
                  <a:pt x="126" y="509"/>
                </a:lnTo>
                <a:lnTo>
                  <a:pt x="122" y="503"/>
                </a:lnTo>
                <a:lnTo>
                  <a:pt x="119" y="496"/>
                </a:lnTo>
                <a:lnTo>
                  <a:pt x="117" y="489"/>
                </a:lnTo>
                <a:lnTo>
                  <a:pt x="115" y="481"/>
                </a:lnTo>
                <a:lnTo>
                  <a:pt x="113" y="472"/>
                </a:lnTo>
                <a:lnTo>
                  <a:pt x="113" y="462"/>
                </a:lnTo>
                <a:lnTo>
                  <a:pt x="106" y="462"/>
                </a:lnTo>
                <a:lnTo>
                  <a:pt x="100" y="460"/>
                </a:lnTo>
                <a:lnTo>
                  <a:pt x="95" y="457"/>
                </a:lnTo>
                <a:lnTo>
                  <a:pt x="90" y="454"/>
                </a:lnTo>
                <a:lnTo>
                  <a:pt x="83" y="447"/>
                </a:lnTo>
                <a:lnTo>
                  <a:pt x="74" y="439"/>
                </a:lnTo>
                <a:lnTo>
                  <a:pt x="70" y="435"/>
                </a:lnTo>
                <a:lnTo>
                  <a:pt x="63" y="432"/>
                </a:lnTo>
                <a:lnTo>
                  <a:pt x="56" y="430"/>
                </a:lnTo>
                <a:lnTo>
                  <a:pt x="49" y="429"/>
                </a:lnTo>
                <a:lnTo>
                  <a:pt x="39" y="429"/>
                </a:lnTo>
                <a:lnTo>
                  <a:pt x="28" y="430"/>
                </a:lnTo>
                <a:lnTo>
                  <a:pt x="15" y="433"/>
                </a:lnTo>
                <a:lnTo>
                  <a:pt x="0" y="43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081" name="Freeform 33"/>
          <p:cNvSpPr>
            <a:spLocks/>
          </p:cNvSpPr>
          <p:nvPr>
            <p:custDataLst>
              <p:tags r:id="rId28"/>
            </p:custDataLst>
          </p:nvPr>
        </p:nvSpPr>
        <p:spPr bwMode="auto">
          <a:xfrm>
            <a:off x="4922838" y="2322915"/>
            <a:ext cx="152400" cy="127397"/>
          </a:xfrm>
          <a:custGeom>
            <a:avLst/>
            <a:gdLst/>
            <a:ahLst/>
            <a:cxnLst>
              <a:cxn ang="0">
                <a:pos x="326" y="324"/>
              </a:cxn>
              <a:cxn ang="0">
                <a:pos x="331" y="321"/>
              </a:cxn>
              <a:cxn ang="0">
                <a:pos x="337" y="318"/>
              </a:cxn>
              <a:cxn ang="0">
                <a:pos x="346" y="318"/>
              </a:cxn>
              <a:cxn ang="0">
                <a:pos x="356" y="324"/>
              </a:cxn>
              <a:cxn ang="0">
                <a:pos x="319" y="285"/>
              </a:cxn>
              <a:cxn ang="0">
                <a:pos x="278" y="235"/>
              </a:cxn>
              <a:cxn ang="0">
                <a:pos x="253" y="204"/>
              </a:cxn>
              <a:cxn ang="0">
                <a:pos x="232" y="186"/>
              </a:cxn>
              <a:cxn ang="0">
                <a:pos x="219" y="181"/>
              </a:cxn>
              <a:cxn ang="0">
                <a:pos x="208" y="180"/>
              </a:cxn>
              <a:cxn ang="0">
                <a:pos x="201" y="179"/>
              </a:cxn>
              <a:cxn ang="0">
                <a:pos x="199" y="174"/>
              </a:cxn>
              <a:cxn ang="0">
                <a:pos x="198" y="170"/>
              </a:cxn>
              <a:cxn ang="0">
                <a:pos x="195" y="169"/>
              </a:cxn>
              <a:cxn ang="0">
                <a:pos x="184" y="172"/>
              </a:cxn>
              <a:cxn ang="0">
                <a:pos x="171" y="172"/>
              </a:cxn>
              <a:cxn ang="0">
                <a:pos x="165" y="168"/>
              </a:cxn>
              <a:cxn ang="0">
                <a:pos x="160" y="161"/>
              </a:cxn>
              <a:cxn ang="0">
                <a:pos x="152" y="144"/>
              </a:cxn>
              <a:cxn ang="0">
                <a:pos x="143" y="131"/>
              </a:cxn>
              <a:cxn ang="0">
                <a:pos x="133" y="119"/>
              </a:cxn>
              <a:cxn ang="0">
                <a:pos x="127" y="105"/>
              </a:cxn>
              <a:cxn ang="0">
                <a:pos x="122" y="84"/>
              </a:cxn>
              <a:cxn ang="0">
                <a:pos x="119" y="53"/>
              </a:cxn>
              <a:cxn ang="0">
                <a:pos x="117" y="23"/>
              </a:cxn>
              <a:cxn ang="0">
                <a:pos x="112" y="0"/>
              </a:cxn>
              <a:cxn ang="0">
                <a:pos x="73" y="26"/>
              </a:cxn>
              <a:cxn ang="0">
                <a:pos x="61" y="33"/>
              </a:cxn>
              <a:cxn ang="0">
                <a:pos x="33" y="50"/>
              </a:cxn>
              <a:cxn ang="0">
                <a:pos x="21" y="61"/>
              </a:cxn>
              <a:cxn ang="0">
                <a:pos x="17" y="72"/>
              </a:cxn>
              <a:cxn ang="0">
                <a:pos x="16" y="83"/>
              </a:cxn>
              <a:cxn ang="0">
                <a:pos x="20" y="93"/>
              </a:cxn>
              <a:cxn ang="0">
                <a:pos x="22" y="100"/>
              </a:cxn>
              <a:cxn ang="0">
                <a:pos x="20" y="110"/>
              </a:cxn>
              <a:cxn ang="0">
                <a:pos x="15" y="123"/>
              </a:cxn>
              <a:cxn ang="0">
                <a:pos x="7" y="136"/>
              </a:cxn>
              <a:cxn ang="0">
                <a:pos x="0" y="155"/>
              </a:cxn>
              <a:cxn ang="0">
                <a:pos x="0" y="174"/>
              </a:cxn>
              <a:cxn ang="0">
                <a:pos x="5" y="182"/>
              </a:cxn>
              <a:cxn ang="0">
                <a:pos x="11" y="187"/>
              </a:cxn>
              <a:cxn ang="0">
                <a:pos x="20" y="186"/>
              </a:cxn>
              <a:cxn ang="0">
                <a:pos x="44" y="168"/>
              </a:cxn>
              <a:cxn ang="0">
                <a:pos x="60" y="161"/>
              </a:cxn>
              <a:cxn ang="0">
                <a:pos x="76" y="150"/>
              </a:cxn>
              <a:cxn ang="0">
                <a:pos x="93" y="159"/>
              </a:cxn>
              <a:cxn ang="0">
                <a:pos x="110" y="164"/>
              </a:cxn>
              <a:cxn ang="0">
                <a:pos x="142" y="180"/>
              </a:cxn>
              <a:cxn ang="0">
                <a:pos x="163" y="190"/>
              </a:cxn>
              <a:cxn ang="0">
                <a:pos x="196" y="209"/>
              </a:cxn>
              <a:cxn ang="0">
                <a:pos x="219" y="225"/>
              </a:cxn>
              <a:cxn ang="0">
                <a:pos x="245" y="244"/>
              </a:cxn>
              <a:cxn ang="0">
                <a:pos x="256" y="254"/>
              </a:cxn>
              <a:cxn ang="0">
                <a:pos x="267" y="270"/>
              </a:cxn>
              <a:cxn ang="0">
                <a:pos x="269" y="279"/>
              </a:cxn>
              <a:cxn ang="0">
                <a:pos x="269" y="286"/>
              </a:cxn>
              <a:cxn ang="0">
                <a:pos x="270" y="290"/>
              </a:cxn>
              <a:cxn ang="0">
                <a:pos x="276" y="292"/>
              </a:cxn>
              <a:cxn ang="0">
                <a:pos x="292" y="302"/>
              </a:cxn>
              <a:cxn ang="0">
                <a:pos x="318" y="321"/>
              </a:cxn>
            </a:cxnLst>
            <a:rect l="0" t="0" r="r" b="b"/>
            <a:pathLst>
              <a:path w="358" h="327">
                <a:moveTo>
                  <a:pt x="325" y="327"/>
                </a:moveTo>
                <a:lnTo>
                  <a:pt x="326" y="324"/>
                </a:lnTo>
                <a:lnTo>
                  <a:pt x="329" y="322"/>
                </a:lnTo>
                <a:lnTo>
                  <a:pt x="331" y="321"/>
                </a:lnTo>
                <a:lnTo>
                  <a:pt x="332" y="321"/>
                </a:lnTo>
                <a:lnTo>
                  <a:pt x="337" y="318"/>
                </a:lnTo>
                <a:lnTo>
                  <a:pt x="342" y="317"/>
                </a:lnTo>
                <a:lnTo>
                  <a:pt x="346" y="318"/>
                </a:lnTo>
                <a:lnTo>
                  <a:pt x="351" y="319"/>
                </a:lnTo>
                <a:lnTo>
                  <a:pt x="356" y="324"/>
                </a:lnTo>
                <a:lnTo>
                  <a:pt x="358" y="327"/>
                </a:lnTo>
                <a:lnTo>
                  <a:pt x="319" y="285"/>
                </a:lnTo>
                <a:lnTo>
                  <a:pt x="302" y="265"/>
                </a:lnTo>
                <a:lnTo>
                  <a:pt x="278" y="235"/>
                </a:lnTo>
                <a:lnTo>
                  <a:pt x="265" y="219"/>
                </a:lnTo>
                <a:lnTo>
                  <a:pt x="253" y="204"/>
                </a:lnTo>
                <a:lnTo>
                  <a:pt x="241" y="193"/>
                </a:lnTo>
                <a:lnTo>
                  <a:pt x="232" y="186"/>
                </a:lnTo>
                <a:lnTo>
                  <a:pt x="225" y="182"/>
                </a:lnTo>
                <a:lnTo>
                  <a:pt x="219" y="181"/>
                </a:lnTo>
                <a:lnTo>
                  <a:pt x="213" y="180"/>
                </a:lnTo>
                <a:lnTo>
                  <a:pt x="208" y="180"/>
                </a:lnTo>
                <a:lnTo>
                  <a:pt x="205" y="180"/>
                </a:lnTo>
                <a:lnTo>
                  <a:pt x="201" y="179"/>
                </a:lnTo>
                <a:lnTo>
                  <a:pt x="200" y="177"/>
                </a:lnTo>
                <a:lnTo>
                  <a:pt x="199" y="174"/>
                </a:lnTo>
                <a:lnTo>
                  <a:pt x="199" y="172"/>
                </a:lnTo>
                <a:lnTo>
                  <a:pt x="198" y="170"/>
                </a:lnTo>
                <a:lnTo>
                  <a:pt x="197" y="169"/>
                </a:lnTo>
                <a:lnTo>
                  <a:pt x="195" y="169"/>
                </a:lnTo>
                <a:lnTo>
                  <a:pt x="190" y="170"/>
                </a:lnTo>
                <a:lnTo>
                  <a:pt x="184" y="172"/>
                </a:lnTo>
                <a:lnTo>
                  <a:pt x="178" y="173"/>
                </a:lnTo>
                <a:lnTo>
                  <a:pt x="171" y="172"/>
                </a:lnTo>
                <a:lnTo>
                  <a:pt x="168" y="170"/>
                </a:lnTo>
                <a:lnTo>
                  <a:pt x="165" y="168"/>
                </a:lnTo>
                <a:lnTo>
                  <a:pt x="162" y="165"/>
                </a:lnTo>
                <a:lnTo>
                  <a:pt x="160" y="161"/>
                </a:lnTo>
                <a:lnTo>
                  <a:pt x="156" y="152"/>
                </a:lnTo>
                <a:lnTo>
                  <a:pt x="152" y="144"/>
                </a:lnTo>
                <a:lnTo>
                  <a:pt x="147" y="138"/>
                </a:lnTo>
                <a:lnTo>
                  <a:pt x="143" y="131"/>
                </a:lnTo>
                <a:lnTo>
                  <a:pt x="138" y="125"/>
                </a:lnTo>
                <a:lnTo>
                  <a:pt x="133" y="119"/>
                </a:lnTo>
                <a:lnTo>
                  <a:pt x="129" y="112"/>
                </a:lnTo>
                <a:lnTo>
                  <a:pt x="127" y="105"/>
                </a:lnTo>
                <a:lnTo>
                  <a:pt x="123" y="96"/>
                </a:lnTo>
                <a:lnTo>
                  <a:pt x="122" y="84"/>
                </a:lnTo>
                <a:lnTo>
                  <a:pt x="121" y="69"/>
                </a:lnTo>
                <a:lnTo>
                  <a:pt x="119" y="53"/>
                </a:lnTo>
                <a:lnTo>
                  <a:pt x="118" y="37"/>
                </a:lnTo>
                <a:lnTo>
                  <a:pt x="117" y="23"/>
                </a:lnTo>
                <a:lnTo>
                  <a:pt x="115" y="10"/>
                </a:lnTo>
                <a:lnTo>
                  <a:pt x="112" y="0"/>
                </a:lnTo>
                <a:lnTo>
                  <a:pt x="93" y="0"/>
                </a:lnTo>
                <a:lnTo>
                  <a:pt x="73" y="26"/>
                </a:lnTo>
                <a:lnTo>
                  <a:pt x="70" y="28"/>
                </a:lnTo>
                <a:lnTo>
                  <a:pt x="61" y="33"/>
                </a:lnTo>
                <a:lnTo>
                  <a:pt x="48" y="41"/>
                </a:lnTo>
                <a:lnTo>
                  <a:pt x="33" y="50"/>
                </a:lnTo>
                <a:lnTo>
                  <a:pt x="27" y="55"/>
                </a:lnTo>
                <a:lnTo>
                  <a:pt x="21" y="61"/>
                </a:lnTo>
                <a:lnTo>
                  <a:pt x="18" y="66"/>
                </a:lnTo>
                <a:lnTo>
                  <a:pt x="17" y="72"/>
                </a:lnTo>
                <a:lnTo>
                  <a:pt x="16" y="78"/>
                </a:lnTo>
                <a:lnTo>
                  <a:pt x="16" y="83"/>
                </a:lnTo>
                <a:lnTo>
                  <a:pt x="18" y="88"/>
                </a:lnTo>
                <a:lnTo>
                  <a:pt x="20" y="93"/>
                </a:lnTo>
                <a:lnTo>
                  <a:pt x="21" y="96"/>
                </a:lnTo>
                <a:lnTo>
                  <a:pt x="22" y="100"/>
                </a:lnTo>
                <a:lnTo>
                  <a:pt x="22" y="104"/>
                </a:lnTo>
                <a:lnTo>
                  <a:pt x="20" y="110"/>
                </a:lnTo>
                <a:lnTo>
                  <a:pt x="18" y="117"/>
                </a:lnTo>
                <a:lnTo>
                  <a:pt x="15" y="123"/>
                </a:lnTo>
                <a:lnTo>
                  <a:pt x="11" y="130"/>
                </a:lnTo>
                <a:lnTo>
                  <a:pt x="7" y="136"/>
                </a:lnTo>
                <a:lnTo>
                  <a:pt x="3" y="146"/>
                </a:lnTo>
                <a:lnTo>
                  <a:pt x="0" y="155"/>
                </a:lnTo>
                <a:lnTo>
                  <a:pt x="0" y="164"/>
                </a:lnTo>
                <a:lnTo>
                  <a:pt x="0" y="174"/>
                </a:lnTo>
                <a:lnTo>
                  <a:pt x="1" y="176"/>
                </a:lnTo>
                <a:lnTo>
                  <a:pt x="5" y="182"/>
                </a:lnTo>
                <a:lnTo>
                  <a:pt x="8" y="185"/>
                </a:lnTo>
                <a:lnTo>
                  <a:pt x="11" y="187"/>
                </a:lnTo>
                <a:lnTo>
                  <a:pt x="15" y="187"/>
                </a:lnTo>
                <a:lnTo>
                  <a:pt x="20" y="186"/>
                </a:lnTo>
                <a:lnTo>
                  <a:pt x="31" y="177"/>
                </a:lnTo>
                <a:lnTo>
                  <a:pt x="44" y="168"/>
                </a:lnTo>
                <a:lnTo>
                  <a:pt x="55" y="163"/>
                </a:lnTo>
                <a:lnTo>
                  <a:pt x="60" y="161"/>
                </a:lnTo>
                <a:lnTo>
                  <a:pt x="73" y="149"/>
                </a:lnTo>
                <a:lnTo>
                  <a:pt x="76" y="150"/>
                </a:lnTo>
                <a:lnTo>
                  <a:pt x="84" y="155"/>
                </a:lnTo>
                <a:lnTo>
                  <a:pt x="93" y="159"/>
                </a:lnTo>
                <a:lnTo>
                  <a:pt x="99" y="161"/>
                </a:lnTo>
                <a:lnTo>
                  <a:pt x="110" y="164"/>
                </a:lnTo>
                <a:lnTo>
                  <a:pt x="126" y="170"/>
                </a:lnTo>
                <a:lnTo>
                  <a:pt x="142" y="180"/>
                </a:lnTo>
                <a:lnTo>
                  <a:pt x="153" y="186"/>
                </a:lnTo>
                <a:lnTo>
                  <a:pt x="163" y="190"/>
                </a:lnTo>
                <a:lnTo>
                  <a:pt x="179" y="199"/>
                </a:lnTo>
                <a:lnTo>
                  <a:pt x="196" y="209"/>
                </a:lnTo>
                <a:lnTo>
                  <a:pt x="206" y="216"/>
                </a:lnTo>
                <a:lnTo>
                  <a:pt x="219" y="225"/>
                </a:lnTo>
                <a:lnTo>
                  <a:pt x="232" y="235"/>
                </a:lnTo>
                <a:lnTo>
                  <a:pt x="245" y="244"/>
                </a:lnTo>
                <a:lnTo>
                  <a:pt x="252" y="247"/>
                </a:lnTo>
                <a:lnTo>
                  <a:pt x="256" y="254"/>
                </a:lnTo>
                <a:lnTo>
                  <a:pt x="266" y="265"/>
                </a:lnTo>
                <a:lnTo>
                  <a:pt x="267" y="270"/>
                </a:lnTo>
                <a:lnTo>
                  <a:pt x="268" y="274"/>
                </a:lnTo>
                <a:lnTo>
                  <a:pt x="269" y="279"/>
                </a:lnTo>
                <a:lnTo>
                  <a:pt x="269" y="283"/>
                </a:lnTo>
                <a:lnTo>
                  <a:pt x="269" y="286"/>
                </a:lnTo>
                <a:lnTo>
                  <a:pt x="269" y="289"/>
                </a:lnTo>
                <a:lnTo>
                  <a:pt x="270" y="290"/>
                </a:lnTo>
                <a:lnTo>
                  <a:pt x="273" y="291"/>
                </a:lnTo>
                <a:lnTo>
                  <a:pt x="276" y="292"/>
                </a:lnTo>
                <a:lnTo>
                  <a:pt x="284" y="296"/>
                </a:lnTo>
                <a:lnTo>
                  <a:pt x="292" y="302"/>
                </a:lnTo>
                <a:lnTo>
                  <a:pt x="301" y="309"/>
                </a:lnTo>
                <a:lnTo>
                  <a:pt x="318" y="321"/>
                </a:lnTo>
                <a:lnTo>
                  <a:pt x="325" y="32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082" name="Freeform 34"/>
          <p:cNvSpPr>
            <a:spLocks/>
          </p:cNvSpPr>
          <p:nvPr>
            <p:custDataLst>
              <p:tags r:id="rId29"/>
            </p:custDataLst>
          </p:nvPr>
        </p:nvSpPr>
        <p:spPr bwMode="auto">
          <a:xfrm>
            <a:off x="4384675" y="1576392"/>
            <a:ext cx="125413" cy="42863"/>
          </a:xfrm>
          <a:custGeom>
            <a:avLst/>
            <a:gdLst/>
            <a:ahLst/>
            <a:cxnLst>
              <a:cxn ang="0">
                <a:pos x="126" y="0"/>
              </a:cxn>
              <a:cxn ang="0">
                <a:pos x="153" y="0"/>
              </a:cxn>
              <a:cxn ang="0">
                <a:pos x="198" y="1"/>
              </a:cxn>
              <a:cxn ang="0">
                <a:pos x="250" y="6"/>
              </a:cxn>
              <a:cxn ang="0">
                <a:pos x="292" y="7"/>
              </a:cxn>
              <a:cxn ang="0">
                <a:pos x="290" y="20"/>
              </a:cxn>
              <a:cxn ang="0">
                <a:pos x="285" y="33"/>
              </a:cxn>
              <a:cxn ang="0">
                <a:pos x="279" y="55"/>
              </a:cxn>
              <a:cxn ang="0">
                <a:pos x="135" y="70"/>
              </a:cxn>
              <a:cxn ang="0">
                <a:pos x="99" y="89"/>
              </a:cxn>
              <a:cxn ang="0">
                <a:pos x="79" y="96"/>
              </a:cxn>
              <a:cxn ang="0">
                <a:pos x="66" y="98"/>
              </a:cxn>
              <a:cxn ang="0">
                <a:pos x="55" y="98"/>
              </a:cxn>
              <a:cxn ang="0">
                <a:pos x="45" y="94"/>
              </a:cxn>
              <a:cxn ang="0">
                <a:pos x="33" y="86"/>
              </a:cxn>
              <a:cxn ang="0">
                <a:pos x="20" y="77"/>
              </a:cxn>
              <a:cxn ang="0">
                <a:pos x="7" y="69"/>
              </a:cxn>
              <a:cxn ang="0">
                <a:pos x="1" y="57"/>
              </a:cxn>
              <a:cxn ang="0">
                <a:pos x="0" y="42"/>
              </a:cxn>
              <a:cxn ang="0">
                <a:pos x="1" y="25"/>
              </a:cxn>
              <a:cxn ang="0">
                <a:pos x="3" y="20"/>
              </a:cxn>
              <a:cxn ang="0">
                <a:pos x="9" y="18"/>
              </a:cxn>
              <a:cxn ang="0">
                <a:pos x="15" y="21"/>
              </a:cxn>
              <a:cxn ang="0">
                <a:pos x="25" y="28"/>
              </a:cxn>
              <a:cxn ang="0">
                <a:pos x="35" y="32"/>
              </a:cxn>
              <a:cxn ang="0">
                <a:pos x="45" y="34"/>
              </a:cxn>
              <a:cxn ang="0">
                <a:pos x="54" y="33"/>
              </a:cxn>
              <a:cxn ang="0">
                <a:pos x="67" y="29"/>
              </a:cxn>
              <a:cxn ang="0">
                <a:pos x="81" y="19"/>
              </a:cxn>
              <a:cxn ang="0">
                <a:pos x="88" y="11"/>
              </a:cxn>
              <a:cxn ang="0">
                <a:pos x="94" y="6"/>
              </a:cxn>
              <a:cxn ang="0">
                <a:pos x="109" y="1"/>
              </a:cxn>
            </a:cxnLst>
            <a:rect l="0" t="0" r="r" b="b"/>
            <a:pathLst>
              <a:path w="292" h="99">
                <a:moveTo>
                  <a:pt x="113" y="0"/>
                </a:moveTo>
                <a:lnTo>
                  <a:pt x="126" y="0"/>
                </a:lnTo>
                <a:lnTo>
                  <a:pt x="138" y="0"/>
                </a:lnTo>
                <a:lnTo>
                  <a:pt x="153" y="0"/>
                </a:lnTo>
                <a:lnTo>
                  <a:pt x="172" y="0"/>
                </a:lnTo>
                <a:lnTo>
                  <a:pt x="198" y="1"/>
                </a:lnTo>
                <a:lnTo>
                  <a:pt x="224" y="3"/>
                </a:lnTo>
                <a:lnTo>
                  <a:pt x="250" y="6"/>
                </a:lnTo>
                <a:lnTo>
                  <a:pt x="279" y="7"/>
                </a:lnTo>
                <a:lnTo>
                  <a:pt x="292" y="7"/>
                </a:lnTo>
                <a:lnTo>
                  <a:pt x="292" y="14"/>
                </a:lnTo>
                <a:lnTo>
                  <a:pt x="290" y="20"/>
                </a:lnTo>
                <a:lnTo>
                  <a:pt x="288" y="27"/>
                </a:lnTo>
                <a:lnTo>
                  <a:pt x="285" y="33"/>
                </a:lnTo>
                <a:lnTo>
                  <a:pt x="281" y="45"/>
                </a:lnTo>
                <a:lnTo>
                  <a:pt x="279" y="55"/>
                </a:lnTo>
                <a:lnTo>
                  <a:pt x="153" y="62"/>
                </a:lnTo>
                <a:lnTo>
                  <a:pt x="135" y="70"/>
                </a:lnTo>
                <a:lnTo>
                  <a:pt x="111" y="83"/>
                </a:lnTo>
                <a:lnTo>
                  <a:pt x="99" y="89"/>
                </a:lnTo>
                <a:lnTo>
                  <a:pt x="86" y="94"/>
                </a:lnTo>
                <a:lnTo>
                  <a:pt x="79" y="96"/>
                </a:lnTo>
                <a:lnTo>
                  <a:pt x="72" y="97"/>
                </a:lnTo>
                <a:lnTo>
                  <a:pt x="66" y="98"/>
                </a:lnTo>
                <a:lnTo>
                  <a:pt x="60" y="99"/>
                </a:lnTo>
                <a:lnTo>
                  <a:pt x="55" y="98"/>
                </a:lnTo>
                <a:lnTo>
                  <a:pt x="51" y="97"/>
                </a:lnTo>
                <a:lnTo>
                  <a:pt x="45" y="94"/>
                </a:lnTo>
                <a:lnTo>
                  <a:pt x="41" y="92"/>
                </a:lnTo>
                <a:lnTo>
                  <a:pt x="33" y="86"/>
                </a:lnTo>
                <a:lnTo>
                  <a:pt x="26" y="80"/>
                </a:lnTo>
                <a:lnTo>
                  <a:pt x="20" y="77"/>
                </a:lnTo>
                <a:lnTo>
                  <a:pt x="11" y="72"/>
                </a:lnTo>
                <a:lnTo>
                  <a:pt x="7" y="69"/>
                </a:lnTo>
                <a:lnTo>
                  <a:pt x="3" y="64"/>
                </a:lnTo>
                <a:lnTo>
                  <a:pt x="1" y="57"/>
                </a:lnTo>
                <a:lnTo>
                  <a:pt x="0" y="49"/>
                </a:lnTo>
                <a:lnTo>
                  <a:pt x="0" y="42"/>
                </a:lnTo>
                <a:lnTo>
                  <a:pt x="0" y="28"/>
                </a:lnTo>
                <a:lnTo>
                  <a:pt x="1" y="25"/>
                </a:lnTo>
                <a:lnTo>
                  <a:pt x="2" y="22"/>
                </a:lnTo>
                <a:lnTo>
                  <a:pt x="3" y="20"/>
                </a:lnTo>
                <a:lnTo>
                  <a:pt x="5" y="18"/>
                </a:lnTo>
                <a:lnTo>
                  <a:pt x="9" y="18"/>
                </a:lnTo>
                <a:lnTo>
                  <a:pt x="11" y="19"/>
                </a:lnTo>
                <a:lnTo>
                  <a:pt x="15" y="21"/>
                </a:lnTo>
                <a:lnTo>
                  <a:pt x="20" y="25"/>
                </a:lnTo>
                <a:lnTo>
                  <a:pt x="25" y="28"/>
                </a:lnTo>
                <a:lnTo>
                  <a:pt x="30" y="30"/>
                </a:lnTo>
                <a:lnTo>
                  <a:pt x="35" y="32"/>
                </a:lnTo>
                <a:lnTo>
                  <a:pt x="40" y="33"/>
                </a:lnTo>
                <a:lnTo>
                  <a:pt x="45" y="34"/>
                </a:lnTo>
                <a:lnTo>
                  <a:pt x="49" y="34"/>
                </a:lnTo>
                <a:lnTo>
                  <a:pt x="54" y="33"/>
                </a:lnTo>
                <a:lnTo>
                  <a:pt x="58" y="32"/>
                </a:lnTo>
                <a:lnTo>
                  <a:pt x="67" y="29"/>
                </a:lnTo>
                <a:lnTo>
                  <a:pt x="75" y="25"/>
                </a:lnTo>
                <a:lnTo>
                  <a:pt x="81" y="19"/>
                </a:lnTo>
                <a:lnTo>
                  <a:pt x="87" y="13"/>
                </a:lnTo>
                <a:lnTo>
                  <a:pt x="88" y="11"/>
                </a:lnTo>
                <a:lnTo>
                  <a:pt x="91" y="8"/>
                </a:lnTo>
                <a:lnTo>
                  <a:pt x="94" y="6"/>
                </a:lnTo>
                <a:lnTo>
                  <a:pt x="100" y="3"/>
                </a:lnTo>
                <a:lnTo>
                  <a:pt x="109" y="1"/>
                </a:lnTo>
                <a:lnTo>
                  <a:pt x="113" y="0"/>
                </a:lnTo>
              </a:path>
            </a:pathLst>
          </a:custGeom>
          <a:solidFill>
            <a:srgbClr val="007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083" name="Freeform 35"/>
          <p:cNvSpPr>
            <a:spLocks/>
          </p:cNvSpPr>
          <p:nvPr>
            <p:custDataLst>
              <p:tags r:id="rId30"/>
            </p:custDataLst>
          </p:nvPr>
        </p:nvSpPr>
        <p:spPr bwMode="auto">
          <a:xfrm>
            <a:off x="5248275" y="2116936"/>
            <a:ext cx="19050" cy="42863"/>
          </a:xfrm>
          <a:custGeom>
            <a:avLst/>
            <a:gdLst/>
            <a:ahLst/>
            <a:cxnLst>
              <a:cxn ang="0">
                <a:pos x="39" y="93"/>
              </a:cxn>
              <a:cxn ang="0">
                <a:pos x="31" y="91"/>
              </a:cxn>
              <a:cxn ang="0">
                <a:pos x="26" y="89"/>
              </a:cxn>
              <a:cxn ang="0">
                <a:pos x="21" y="87"/>
              </a:cxn>
              <a:cxn ang="0">
                <a:pos x="18" y="84"/>
              </a:cxn>
              <a:cxn ang="0">
                <a:pos x="15" y="79"/>
              </a:cxn>
              <a:cxn ang="0">
                <a:pos x="14" y="73"/>
              </a:cxn>
              <a:cxn ang="0">
                <a:pos x="13" y="65"/>
              </a:cxn>
              <a:cxn ang="0">
                <a:pos x="11" y="55"/>
              </a:cxn>
              <a:cxn ang="0">
                <a:pos x="11" y="48"/>
              </a:cxn>
              <a:cxn ang="0">
                <a:pos x="9" y="42"/>
              </a:cxn>
              <a:cxn ang="0">
                <a:pos x="6" y="38"/>
              </a:cxn>
              <a:cxn ang="0">
                <a:pos x="4" y="36"/>
              </a:cxn>
              <a:cxn ang="0">
                <a:pos x="2" y="34"/>
              </a:cxn>
              <a:cxn ang="0">
                <a:pos x="0" y="32"/>
              </a:cxn>
              <a:cxn ang="0">
                <a:pos x="2" y="29"/>
              </a:cxn>
              <a:cxn ang="0">
                <a:pos x="5" y="24"/>
              </a:cxn>
              <a:cxn ang="0">
                <a:pos x="6" y="28"/>
              </a:cxn>
              <a:cxn ang="0">
                <a:pos x="7" y="29"/>
              </a:cxn>
              <a:cxn ang="0">
                <a:pos x="8" y="30"/>
              </a:cxn>
              <a:cxn ang="0">
                <a:pos x="9" y="29"/>
              </a:cxn>
              <a:cxn ang="0">
                <a:pos x="11" y="25"/>
              </a:cxn>
              <a:cxn ang="0">
                <a:pos x="14" y="19"/>
              </a:cxn>
              <a:cxn ang="0">
                <a:pos x="16" y="12"/>
              </a:cxn>
              <a:cxn ang="0">
                <a:pos x="20" y="6"/>
              </a:cxn>
              <a:cxn ang="0">
                <a:pos x="22" y="4"/>
              </a:cxn>
              <a:cxn ang="0">
                <a:pos x="25" y="2"/>
              </a:cxn>
              <a:cxn ang="0">
                <a:pos x="28" y="0"/>
              </a:cxn>
              <a:cxn ang="0">
                <a:pos x="32" y="0"/>
              </a:cxn>
              <a:cxn ang="0">
                <a:pos x="33" y="10"/>
              </a:cxn>
              <a:cxn ang="0">
                <a:pos x="33" y="16"/>
              </a:cxn>
              <a:cxn ang="0">
                <a:pos x="33" y="20"/>
              </a:cxn>
              <a:cxn ang="0">
                <a:pos x="32" y="23"/>
              </a:cxn>
              <a:cxn ang="0">
                <a:pos x="32" y="27"/>
              </a:cxn>
              <a:cxn ang="0">
                <a:pos x="32" y="31"/>
              </a:cxn>
              <a:cxn ang="0">
                <a:pos x="35" y="36"/>
              </a:cxn>
              <a:cxn ang="0">
                <a:pos x="39" y="43"/>
              </a:cxn>
              <a:cxn ang="0">
                <a:pos x="38" y="44"/>
              </a:cxn>
              <a:cxn ang="0">
                <a:pos x="37" y="45"/>
              </a:cxn>
              <a:cxn ang="0">
                <a:pos x="37" y="48"/>
              </a:cxn>
              <a:cxn ang="0">
                <a:pos x="38" y="51"/>
              </a:cxn>
              <a:cxn ang="0">
                <a:pos x="39" y="59"/>
              </a:cxn>
              <a:cxn ang="0">
                <a:pos x="41" y="68"/>
              </a:cxn>
              <a:cxn ang="0">
                <a:pos x="42" y="76"/>
              </a:cxn>
              <a:cxn ang="0">
                <a:pos x="43" y="85"/>
              </a:cxn>
              <a:cxn ang="0">
                <a:pos x="43" y="88"/>
              </a:cxn>
              <a:cxn ang="0">
                <a:pos x="42" y="91"/>
              </a:cxn>
              <a:cxn ang="0">
                <a:pos x="40" y="92"/>
              </a:cxn>
              <a:cxn ang="0">
                <a:pos x="39" y="93"/>
              </a:cxn>
            </a:cxnLst>
            <a:rect l="0" t="0" r="r" b="b"/>
            <a:pathLst>
              <a:path w="43" h="93">
                <a:moveTo>
                  <a:pt x="39" y="93"/>
                </a:moveTo>
                <a:lnTo>
                  <a:pt x="31" y="91"/>
                </a:lnTo>
                <a:lnTo>
                  <a:pt x="26" y="89"/>
                </a:lnTo>
                <a:lnTo>
                  <a:pt x="21" y="87"/>
                </a:lnTo>
                <a:lnTo>
                  <a:pt x="18" y="84"/>
                </a:lnTo>
                <a:lnTo>
                  <a:pt x="15" y="79"/>
                </a:lnTo>
                <a:lnTo>
                  <a:pt x="14" y="73"/>
                </a:lnTo>
                <a:lnTo>
                  <a:pt x="13" y="65"/>
                </a:lnTo>
                <a:lnTo>
                  <a:pt x="11" y="55"/>
                </a:lnTo>
                <a:lnTo>
                  <a:pt x="11" y="48"/>
                </a:lnTo>
                <a:lnTo>
                  <a:pt x="9" y="42"/>
                </a:lnTo>
                <a:lnTo>
                  <a:pt x="6" y="38"/>
                </a:lnTo>
                <a:lnTo>
                  <a:pt x="4" y="36"/>
                </a:lnTo>
                <a:lnTo>
                  <a:pt x="2" y="34"/>
                </a:lnTo>
                <a:lnTo>
                  <a:pt x="0" y="32"/>
                </a:lnTo>
                <a:lnTo>
                  <a:pt x="2" y="29"/>
                </a:lnTo>
                <a:lnTo>
                  <a:pt x="5" y="24"/>
                </a:lnTo>
                <a:lnTo>
                  <a:pt x="6" y="28"/>
                </a:lnTo>
                <a:lnTo>
                  <a:pt x="7" y="29"/>
                </a:lnTo>
                <a:lnTo>
                  <a:pt x="8" y="30"/>
                </a:lnTo>
                <a:lnTo>
                  <a:pt x="9" y="29"/>
                </a:lnTo>
                <a:lnTo>
                  <a:pt x="11" y="25"/>
                </a:lnTo>
                <a:lnTo>
                  <a:pt x="14" y="19"/>
                </a:lnTo>
                <a:lnTo>
                  <a:pt x="16" y="12"/>
                </a:lnTo>
                <a:lnTo>
                  <a:pt x="20" y="6"/>
                </a:lnTo>
                <a:lnTo>
                  <a:pt x="22" y="4"/>
                </a:lnTo>
                <a:lnTo>
                  <a:pt x="25" y="2"/>
                </a:lnTo>
                <a:lnTo>
                  <a:pt x="28" y="0"/>
                </a:lnTo>
                <a:lnTo>
                  <a:pt x="32" y="0"/>
                </a:lnTo>
                <a:lnTo>
                  <a:pt x="33" y="10"/>
                </a:lnTo>
                <a:lnTo>
                  <a:pt x="33" y="16"/>
                </a:lnTo>
                <a:lnTo>
                  <a:pt x="33" y="20"/>
                </a:lnTo>
                <a:lnTo>
                  <a:pt x="32" y="23"/>
                </a:lnTo>
                <a:lnTo>
                  <a:pt x="32" y="27"/>
                </a:lnTo>
                <a:lnTo>
                  <a:pt x="32" y="31"/>
                </a:lnTo>
                <a:lnTo>
                  <a:pt x="35" y="36"/>
                </a:lnTo>
                <a:lnTo>
                  <a:pt x="39" y="43"/>
                </a:lnTo>
                <a:lnTo>
                  <a:pt x="38" y="44"/>
                </a:lnTo>
                <a:lnTo>
                  <a:pt x="37" y="45"/>
                </a:lnTo>
                <a:lnTo>
                  <a:pt x="37" y="48"/>
                </a:lnTo>
                <a:lnTo>
                  <a:pt x="38" y="51"/>
                </a:lnTo>
                <a:lnTo>
                  <a:pt x="39" y="59"/>
                </a:lnTo>
                <a:lnTo>
                  <a:pt x="41" y="68"/>
                </a:lnTo>
                <a:lnTo>
                  <a:pt x="42" y="76"/>
                </a:lnTo>
                <a:lnTo>
                  <a:pt x="43" y="85"/>
                </a:lnTo>
                <a:lnTo>
                  <a:pt x="43" y="88"/>
                </a:lnTo>
                <a:lnTo>
                  <a:pt x="42" y="91"/>
                </a:lnTo>
                <a:lnTo>
                  <a:pt x="40" y="92"/>
                </a:lnTo>
                <a:lnTo>
                  <a:pt x="39" y="9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084" name="Freeform 36"/>
          <p:cNvSpPr>
            <a:spLocks/>
          </p:cNvSpPr>
          <p:nvPr>
            <p:custDataLst>
              <p:tags r:id="rId31"/>
            </p:custDataLst>
          </p:nvPr>
        </p:nvSpPr>
        <p:spPr bwMode="auto">
          <a:xfrm>
            <a:off x="5367345" y="2120508"/>
            <a:ext cx="14287" cy="42863"/>
          </a:xfrm>
          <a:custGeom>
            <a:avLst/>
            <a:gdLst/>
            <a:ahLst/>
            <a:cxnLst>
              <a:cxn ang="0">
                <a:pos x="40" y="56"/>
              </a:cxn>
              <a:cxn ang="0">
                <a:pos x="37" y="46"/>
              </a:cxn>
              <a:cxn ang="0">
                <a:pos x="33" y="38"/>
              </a:cxn>
              <a:cxn ang="0">
                <a:pos x="28" y="32"/>
              </a:cxn>
              <a:cxn ang="0">
                <a:pos x="23" y="28"/>
              </a:cxn>
              <a:cxn ang="0">
                <a:pos x="11" y="21"/>
              </a:cxn>
              <a:cxn ang="0">
                <a:pos x="0" y="12"/>
              </a:cxn>
              <a:cxn ang="0">
                <a:pos x="13" y="4"/>
              </a:cxn>
              <a:cxn ang="0">
                <a:pos x="20" y="0"/>
              </a:cxn>
              <a:cxn ang="0">
                <a:pos x="28" y="12"/>
              </a:cxn>
              <a:cxn ang="0">
                <a:pos x="35" y="22"/>
              </a:cxn>
              <a:cxn ang="0">
                <a:pos x="37" y="25"/>
              </a:cxn>
              <a:cxn ang="0">
                <a:pos x="39" y="29"/>
              </a:cxn>
              <a:cxn ang="0">
                <a:pos x="39" y="33"/>
              </a:cxn>
              <a:cxn ang="0">
                <a:pos x="40" y="37"/>
              </a:cxn>
              <a:cxn ang="0">
                <a:pos x="40" y="44"/>
              </a:cxn>
              <a:cxn ang="0">
                <a:pos x="40" y="46"/>
              </a:cxn>
              <a:cxn ang="0">
                <a:pos x="40" y="49"/>
              </a:cxn>
              <a:cxn ang="0">
                <a:pos x="40" y="56"/>
              </a:cxn>
            </a:cxnLst>
            <a:rect l="0" t="0" r="r" b="b"/>
            <a:pathLst>
              <a:path w="40" h="56">
                <a:moveTo>
                  <a:pt x="40" y="56"/>
                </a:moveTo>
                <a:lnTo>
                  <a:pt x="37" y="46"/>
                </a:lnTo>
                <a:lnTo>
                  <a:pt x="33" y="38"/>
                </a:lnTo>
                <a:lnTo>
                  <a:pt x="28" y="32"/>
                </a:lnTo>
                <a:lnTo>
                  <a:pt x="23" y="28"/>
                </a:lnTo>
                <a:lnTo>
                  <a:pt x="11" y="21"/>
                </a:lnTo>
                <a:lnTo>
                  <a:pt x="0" y="12"/>
                </a:lnTo>
                <a:lnTo>
                  <a:pt x="13" y="4"/>
                </a:lnTo>
                <a:lnTo>
                  <a:pt x="20" y="0"/>
                </a:lnTo>
                <a:lnTo>
                  <a:pt x="28" y="12"/>
                </a:lnTo>
                <a:lnTo>
                  <a:pt x="35" y="22"/>
                </a:lnTo>
                <a:lnTo>
                  <a:pt x="37" y="25"/>
                </a:lnTo>
                <a:lnTo>
                  <a:pt x="39" y="29"/>
                </a:lnTo>
                <a:lnTo>
                  <a:pt x="39" y="33"/>
                </a:lnTo>
                <a:lnTo>
                  <a:pt x="40" y="37"/>
                </a:lnTo>
                <a:lnTo>
                  <a:pt x="40" y="44"/>
                </a:lnTo>
                <a:lnTo>
                  <a:pt x="40" y="46"/>
                </a:lnTo>
                <a:lnTo>
                  <a:pt x="40" y="49"/>
                </a:lnTo>
                <a:lnTo>
                  <a:pt x="40" y="5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085" name="Freeform 37"/>
          <p:cNvSpPr>
            <a:spLocks/>
          </p:cNvSpPr>
          <p:nvPr>
            <p:custDataLst>
              <p:tags r:id="rId32"/>
            </p:custDataLst>
          </p:nvPr>
        </p:nvSpPr>
        <p:spPr bwMode="auto">
          <a:xfrm>
            <a:off x="6854825" y="2615808"/>
            <a:ext cx="44450" cy="42863"/>
          </a:xfrm>
          <a:custGeom>
            <a:avLst/>
            <a:gdLst/>
            <a:ahLst/>
            <a:cxnLst>
              <a:cxn ang="0">
                <a:pos x="0" y="7"/>
              </a:cxn>
              <a:cxn ang="0">
                <a:pos x="12" y="10"/>
              </a:cxn>
              <a:cxn ang="0">
                <a:pos x="24" y="12"/>
              </a:cxn>
              <a:cxn ang="0">
                <a:pos x="35" y="13"/>
              </a:cxn>
              <a:cxn ang="0">
                <a:pos x="45" y="13"/>
              </a:cxn>
              <a:cxn ang="0">
                <a:pos x="54" y="11"/>
              </a:cxn>
              <a:cxn ang="0">
                <a:pos x="61" y="8"/>
              </a:cxn>
              <a:cxn ang="0">
                <a:pos x="68" y="5"/>
              </a:cxn>
              <a:cxn ang="0">
                <a:pos x="74" y="0"/>
              </a:cxn>
              <a:cxn ang="0">
                <a:pos x="84" y="16"/>
              </a:cxn>
              <a:cxn ang="0">
                <a:pos x="94" y="30"/>
              </a:cxn>
              <a:cxn ang="0">
                <a:pos x="101" y="44"/>
              </a:cxn>
              <a:cxn ang="0">
                <a:pos x="105" y="55"/>
              </a:cxn>
              <a:cxn ang="0">
                <a:pos x="106" y="60"/>
              </a:cxn>
              <a:cxn ang="0">
                <a:pos x="106" y="63"/>
              </a:cxn>
              <a:cxn ang="0">
                <a:pos x="105" y="67"/>
              </a:cxn>
              <a:cxn ang="0">
                <a:pos x="103" y="69"/>
              </a:cxn>
              <a:cxn ang="0">
                <a:pos x="101" y="70"/>
              </a:cxn>
              <a:cxn ang="0">
                <a:pos x="98" y="70"/>
              </a:cxn>
              <a:cxn ang="0">
                <a:pos x="92" y="70"/>
              </a:cxn>
              <a:cxn ang="0">
                <a:pos x="87" y="68"/>
              </a:cxn>
              <a:cxn ang="0">
                <a:pos x="74" y="70"/>
              </a:cxn>
              <a:cxn ang="0">
                <a:pos x="63" y="71"/>
              </a:cxn>
              <a:cxn ang="0">
                <a:pos x="53" y="69"/>
              </a:cxn>
              <a:cxn ang="0">
                <a:pos x="45" y="66"/>
              </a:cxn>
              <a:cxn ang="0">
                <a:pos x="37" y="62"/>
              </a:cxn>
              <a:cxn ang="0">
                <a:pos x="32" y="57"/>
              </a:cxn>
              <a:cxn ang="0">
                <a:pos x="27" y="51"/>
              </a:cxn>
              <a:cxn ang="0">
                <a:pos x="24" y="45"/>
              </a:cxn>
              <a:cxn ang="0">
                <a:pos x="21" y="38"/>
              </a:cxn>
              <a:cxn ang="0">
                <a:pos x="20" y="30"/>
              </a:cxn>
              <a:cxn ang="0">
                <a:pos x="19" y="24"/>
              </a:cxn>
              <a:cxn ang="0">
                <a:pos x="18" y="19"/>
              </a:cxn>
              <a:cxn ang="0">
                <a:pos x="18" y="14"/>
              </a:cxn>
              <a:cxn ang="0">
                <a:pos x="19" y="10"/>
              </a:cxn>
              <a:cxn ang="0">
                <a:pos x="20" y="7"/>
              </a:cxn>
              <a:cxn ang="0">
                <a:pos x="21" y="7"/>
              </a:cxn>
              <a:cxn ang="0">
                <a:pos x="20" y="10"/>
              </a:cxn>
              <a:cxn ang="0">
                <a:pos x="19" y="16"/>
              </a:cxn>
              <a:cxn ang="0">
                <a:pos x="19" y="17"/>
              </a:cxn>
              <a:cxn ang="0">
                <a:pos x="19" y="17"/>
              </a:cxn>
              <a:cxn ang="0">
                <a:pos x="20" y="17"/>
              </a:cxn>
              <a:cxn ang="0">
                <a:pos x="21" y="17"/>
              </a:cxn>
              <a:cxn ang="0">
                <a:pos x="23" y="13"/>
              </a:cxn>
              <a:cxn ang="0">
                <a:pos x="27" y="7"/>
              </a:cxn>
              <a:cxn ang="0">
                <a:pos x="0" y="7"/>
              </a:cxn>
            </a:cxnLst>
            <a:rect l="0" t="0" r="r" b="b"/>
            <a:pathLst>
              <a:path w="106" h="71">
                <a:moveTo>
                  <a:pt x="0" y="7"/>
                </a:moveTo>
                <a:lnTo>
                  <a:pt x="12" y="10"/>
                </a:lnTo>
                <a:lnTo>
                  <a:pt x="24" y="12"/>
                </a:lnTo>
                <a:lnTo>
                  <a:pt x="35" y="13"/>
                </a:lnTo>
                <a:lnTo>
                  <a:pt x="45" y="13"/>
                </a:lnTo>
                <a:lnTo>
                  <a:pt x="54" y="11"/>
                </a:lnTo>
                <a:lnTo>
                  <a:pt x="61" y="8"/>
                </a:lnTo>
                <a:lnTo>
                  <a:pt x="68" y="5"/>
                </a:lnTo>
                <a:lnTo>
                  <a:pt x="74" y="0"/>
                </a:lnTo>
                <a:lnTo>
                  <a:pt x="84" y="16"/>
                </a:lnTo>
                <a:lnTo>
                  <a:pt x="94" y="30"/>
                </a:lnTo>
                <a:lnTo>
                  <a:pt x="101" y="44"/>
                </a:lnTo>
                <a:lnTo>
                  <a:pt x="105" y="55"/>
                </a:lnTo>
                <a:lnTo>
                  <a:pt x="106" y="60"/>
                </a:lnTo>
                <a:lnTo>
                  <a:pt x="106" y="63"/>
                </a:lnTo>
                <a:lnTo>
                  <a:pt x="105" y="67"/>
                </a:lnTo>
                <a:lnTo>
                  <a:pt x="103" y="69"/>
                </a:lnTo>
                <a:lnTo>
                  <a:pt x="101" y="70"/>
                </a:lnTo>
                <a:lnTo>
                  <a:pt x="98" y="70"/>
                </a:lnTo>
                <a:lnTo>
                  <a:pt x="92" y="70"/>
                </a:lnTo>
                <a:lnTo>
                  <a:pt x="87" y="68"/>
                </a:lnTo>
                <a:lnTo>
                  <a:pt x="74" y="70"/>
                </a:lnTo>
                <a:lnTo>
                  <a:pt x="63" y="71"/>
                </a:lnTo>
                <a:lnTo>
                  <a:pt x="53" y="69"/>
                </a:lnTo>
                <a:lnTo>
                  <a:pt x="45" y="66"/>
                </a:lnTo>
                <a:lnTo>
                  <a:pt x="37" y="62"/>
                </a:lnTo>
                <a:lnTo>
                  <a:pt x="32" y="57"/>
                </a:lnTo>
                <a:lnTo>
                  <a:pt x="27" y="51"/>
                </a:lnTo>
                <a:lnTo>
                  <a:pt x="24" y="45"/>
                </a:lnTo>
                <a:lnTo>
                  <a:pt x="21" y="38"/>
                </a:lnTo>
                <a:lnTo>
                  <a:pt x="20" y="30"/>
                </a:lnTo>
                <a:lnTo>
                  <a:pt x="19" y="24"/>
                </a:lnTo>
                <a:lnTo>
                  <a:pt x="18" y="19"/>
                </a:lnTo>
                <a:lnTo>
                  <a:pt x="18" y="14"/>
                </a:lnTo>
                <a:lnTo>
                  <a:pt x="19" y="10"/>
                </a:lnTo>
                <a:lnTo>
                  <a:pt x="20" y="7"/>
                </a:lnTo>
                <a:lnTo>
                  <a:pt x="21" y="7"/>
                </a:lnTo>
                <a:lnTo>
                  <a:pt x="20" y="10"/>
                </a:lnTo>
                <a:lnTo>
                  <a:pt x="19" y="16"/>
                </a:lnTo>
                <a:lnTo>
                  <a:pt x="19" y="17"/>
                </a:lnTo>
                <a:lnTo>
                  <a:pt x="19" y="17"/>
                </a:lnTo>
                <a:lnTo>
                  <a:pt x="20" y="17"/>
                </a:lnTo>
                <a:lnTo>
                  <a:pt x="21" y="17"/>
                </a:lnTo>
                <a:lnTo>
                  <a:pt x="23" y="13"/>
                </a:lnTo>
                <a:lnTo>
                  <a:pt x="27" y="7"/>
                </a:lnTo>
                <a:lnTo>
                  <a:pt x="0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grpSp>
        <p:nvGrpSpPr>
          <p:cNvPr id="3" name="Group 38"/>
          <p:cNvGrpSpPr>
            <a:grpSpLocks/>
          </p:cNvGrpSpPr>
          <p:nvPr>
            <p:custDataLst>
              <p:tags r:id="rId33"/>
            </p:custDataLst>
          </p:nvPr>
        </p:nvGrpSpPr>
        <p:grpSpPr bwMode="auto">
          <a:xfrm>
            <a:off x="2706695" y="3971931"/>
            <a:ext cx="65087" cy="41672"/>
            <a:chOff x="1654" y="3671"/>
            <a:chExt cx="49" cy="17"/>
          </a:xfrm>
        </p:grpSpPr>
        <p:sp>
          <p:nvSpPr>
            <p:cNvPr id="2087" name="Freeform 39"/>
            <p:cNvSpPr>
              <a:spLocks/>
            </p:cNvSpPr>
            <p:nvPr/>
          </p:nvSpPr>
          <p:spPr bwMode="auto">
            <a:xfrm>
              <a:off x="1654" y="3672"/>
              <a:ext cx="20" cy="14"/>
            </a:xfrm>
            <a:custGeom>
              <a:avLst/>
              <a:gdLst/>
              <a:ahLst/>
              <a:cxnLst>
                <a:cxn ang="0">
                  <a:pos x="26" y="43"/>
                </a:cxn>
                <a:cxn ang="0">
                  <a:pos x="59" y="18"/>
                </a:cxn>
                <a:cxn ang="0">
                  <a:pos x="55" y="14"/>
                </a:cxn>
                <a:cxn ang="0">
                  <a:pos x="51" y="9"/>
                </a:cxn>
                <a:cxn ang="0">
                  <a:pos x="47" y="5"/>
                </a:cxn>
                <a:cxn ang="0">
                  <a:pos x="46" y="0"/>
                </a:cxn>
                <a:cxn ang="0">
                  <a:pos x="41" y="1"/>
                </a:cxn>
                <a:cxn ang="0">
                  <a:pos x="34" y="4"/>
                </a:cxn>
                <a:cxn ang="0">
                  <a:pos x="31" y="6"/>
                </a:cxn>
                <a:cxn ang="0">
                  <a:pos x="29" y="8"/>
                </a:cxn>
                <a:cxn ang="0">
                  <a:pos x="26" y="10"/>
                </a:cxn>
                <a:cxn ang="0">
                  <a:pos x="26" y="12"/>
                </a:cxn>
                <a:cxn ang="0">
                  <a:pos x="20" y="13"/>
                </a:cxn>
                <a:cxn ang="0">
                  <a:pos x="13" y="16"/>
                </a:cxn>
                <a:cxn ang="0">
                  <a:pos x="6" y="20"/>
                </a:cxn>
                <a:cxn ang="0">
                  <a:pos x="0" y="24"/>
                </a:cxn>
                <a:cxn ang="0">
                  <a:pos x="5" y="29"/>
                </a:cxn>
                <a:cxn ang="0">
                  <a:pos x="10" y="34"/>
                </a:cxn>
                <a:cxn ang="0">
                  <a:pos x="18" y="39"/>
                </a:cxn>
                <a:cxn ang="0">
                  <a:pos x="26" y="43"/>
                </a:cxn>
              </a:cxnLst>
              <a:rect l="0" t="0" r="r" b="b"/>
              <a:pathLst>
                <a:path w="59" h="43">
                  <a:moveTo>
                    <a:pt x="26" y="43"/>
                  </a:moveTo>
                  <a:lnTo>
                    <a:pt x="59" y="18"/>
                  </a:lnTo>
                  <a:lnTo>
                    <a:pt x="55" y="14"/>
                  </a:lnTo>
                  <a:lnTo>
                    <a:pt x="51" y="9"/>
                  </a:lnTo>
                  <a:lnTo>
                    <a:pt x="47" y="5"/>
                  </a:lnTo>
                  <a:lnTo>
                    <a:pt x="46" y="0"/>
                  </a:lnTo>
                  <a:lnTo>
                    <a:pt x="41" y="1"/>
                  </a:lnTo>
                  <a:lnTo>
                    <a:pt x="34" y="4"/>
                  </a:lnTo>
                  <a:lnTo>
                    <a:pt x="31" y="6"/>
                  </a:lnTo>
                  <a:lnTo>
                    <a:pt x="29" y="8"/>
                  </a:lnTo>
                  <a:lnTo>
                    <a:pt x="26" y="10"/>
                  </a:lnTo>
                  <a:lnTo>
                    <a:pt x="26" y="12"/>
                  </a:lnTo>
                  <a:lnTo>
                    <a:pt x="20" y="13"/>
                  </a:lnTo>
                  <a:lnTo>
                    <a:pt x="13" y="16"/>
                  </a:lnTo>
                  <a:lnTo>
                    <a:pt x="6" y="20"/>
                  </a:lnTo>
                  <a:lnTo>
                    <a:pt x="0" y="24"/>
                  </a:lnTo>
                  <a:lnTo>
                    <a:pt x="5" y="29"/>
                  </a:lnTo>
                  <a:lnTo>
                    <a:pt x="10" y="34"/>
                  </a:lnTo>
                  <a:lnTo>
                    <a:pt x="18" y="39"/>
                  </a:lnTo>
                  <a:lnTo>
                    <a:pt x="26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088" name="Freeform 40"/>
            <p:cNvSpPr>
              <a:spLocks/>
            </p:cNvSpPr>
            <p:nvPr/>
          </p:nvSpPr>
          <p:spPr bwMode="auto">
            <a:xfrm>
              <a:off x="1681" y="3671"/>
              <a:ext cx="22" cy="17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24" y="1"/>
                </a:cxn>
                <a:cxn ang="0">
                  <a:pos x="39" y="0"/>
                </a:cxn>
                <a:cxn ang="0">
                  <a:pos x="45" y="1"/>
                </a:cxn>
                <a:cxn ang="0">
                  <a:pos x="51" y="2"/>
                </a:cxn>
                <a:cxn ang="0">
                  <a:pos x="58" y="4"/>
                </a:cxn>
                <a:cxn ang="0">
                  <a:pos x="67" y="8"/>
                </a:cxn>
                <a:cxn ang="0">
                  <a:pos x="55" y="13"/>
                </a:cxn>
                <a:cxn ang="0">
                  <a:pos x="46" y="19"/>
                </a:cxn>
                <a:cxn ang="0">
                  <a:pos x="42" y="22"/>
                </a:cxn>
                <a:cxn ang="0">
                  <a:pos x="36" y="24"/>
                </a:cxn>
                <a:cxn ang="0">
                  <a:pos x="29" y="26"/>
                </a:cxn>
                <a:cxn ang="0">
                  <a:pos x="20" y="26"/>
                </a:cxn>
                <a:cxn ang="0">
                  <a:pos x="24" y="26"/>
                </a:cxn>
                <a:cxn ang="0">
                  <a:pos x="34" y="26"/>
                </a:cxn>
                <a:cxn ang="0">
                  <a:pos x="29" y="34"/>
                </a:cxn>
                <a:cxn ang="0">
                  <a:pos x="25" y="40"/>
                </a:cxn>
                <a:cxn ang="0">
                  <a:pos x="22" y="44"/>
                </a:cxn>
                <a:cxn ang="0">
                  <a:pos x="20" y="46"/>
                </a:cxn>
                <a:cxn ang="0">
                  <a:pos x="12" y="48"/>
                </a:cxn>
                <a:cxn ang="0">
                  <a:pos x="0" y="51"/>
                </a:cxn>
                <a:cxn ang="0">
                  <a:pos x="0" y="2"/>
                </a:cxn>
              </a:cxnLst>
              <a:rect l="0" t="0" r="r" b="b"/>
              <a:pathLst>
                <a:path w="67" h="51">
                  <a:moveTo>
                    <a:pt x="0" y="2"/>
                  </a:moveTo>
                  <a:lnTo>
                    <a:pt x="24" y="1"/>
                  </a:lnTo>
                  <a:lnTo>
                    <a:pt x="39" y="0"/>
                  </a:lnTo>
                  <a:lnTo>
                    <a:pt x="45" y="1"/>
                  </a:lnTo>
                  <a:lnTo>
                    <a:pt x="51" y="2"/>
                  </a:lnTo>
                  <a:lnTo>
                    <a:pt x="58" y="4"/>
                  </a:lnTo>
                  <a:lnTo>
                    <a:pt x="67" y="8"/>
                  </a:lnTo>
                  <a:lnTo>
                    <a:pt x="55" y="13"/>
                  </a:lnTo>
                  <a:lnTo>
                    <a:pt x="46" y="19"/>
                  </a:lnTo>
                  <a:lnTo>
                    <a:pt x="42" y="22"/>
                  </a:lnTo>
                  <a:lnTo>
                    <a:pt x="36" y="24"/>
                  </a:lnTo>
                  <a:lnTo>
                    <a:pt x="29" y="26"/>
                  </a:lnTo>
                  <a:lnTo>
                    <a:pt x="20" y="26"/>
                  </a:lnTo>
                  <a:lnTo>
                    <a:pt x="24" y="26"/>
                  </a:lnTo>
                  <a:lnTo>
                    <a:pt x="34" y="26"/>
                  </a:lnTo>
                  <a:lnTo>
                    <a:pt x="29" y="34"/>
                  </a:lnTo>
                  <a:lnTo>
                    <a:pt x="25" y="40"/>
                  </a:lnTo>
                  <a:lnTo>
                    <a:pt x="22" y="44"/>
                  </a:lnTo>
                  <a:lnTo>
                    <a:pt x="20" y="46"/>
                  </a:lnTo>
                  <a:lnTo>
                    <a:pt x="12" y="48"/>
                  </a:lnTo>
                  <a:lnTo>
                    <a:pt x="0" y="51"/>
                  </a:lnTo>
                  <a:lnTo>
                    <a:pt x="0" y="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2089" name="Freeform 41"/>
          <p:cNvSpPr>
            <a:spLocks/>
          </p:cNvSpPr>
          <p:nvPr>
            <p:custDataLst>
              <p:tags r:id="rId34"/>
            </p:custDataLst>
          </p:nvPr>
        </p:nvSpPr>
        <p:spPr bwMode="auto">
          <a:xfrm>
            <a:off x="2354263" y="2318156"/>
            <a:ext cx="31750" cy="44053"/>
          </a:xfrm>
          <a:custGeom>
            <a:avLst/>
            <a:gdLst/>
            <a:ahLst/>
            <a:cxnLst>
              <a:cxn ang="0">
                <a:pos x="0" y="15"/>
              </a:cxn>
              <a:cxn ang="0">
                <a:pos x="1" y="19"/>
              </a:cxn>
              <a:cxn ang="0">
                <a:pos x="2" y="21"/>
              </a:cxn>
              <a:cxn ang="0">
                <a:pos x="4" y="24"/>
              </a:cxn>
              <a:cxn ang="0">
                <a:pos x="7" y="26"/>
              </a:cxn>
              <a:cxn ang="0">
                <a:pos x="13" y="29"/>
              </a:cxn>
              <a:cxn ang="0">
                <a:pos x="22" y="31"/>
              </a:cxn>
              <a:cxn ang="0">
                <a:pos x="40" y="33"/>
              </a:cxn>
              <a:cxn ang="0">
                <a:pos x="54" y="34"/>
              </a:cxn>
              <a:cxn ang="0">
                <a:pos x="58" y="33"/>
              </a:cxn>
              <a:cxn ang="0">
                <a:pos x="62" y="32"/>
              </a:cxn>
              <a:cxn ang="0">
                <a:pos x="65" y="29"/>
              </a:cxn>
              <a:cxn ang="0">
                <a:pos x="67" y="27"/>
              </a:cxn>
              <a:cxn ang="0">
                <a:pos x="73" y="21"/>
              </a:cxn>
              <a:cxn ang="0">
                <a:pos x="80" y="15"/>
              </a:cxn>
              <a:cxn ang="0">
                <a:pos x="75" y="10"/>
              </a:cxn>
              <a:cxn ang="0">
                <a:pos x="70" y="7"/>
              </a:cxn>
              <a:cxn ang="0">
                <a:pos x="65" y="4"/>
              </a:cxn>
              <a:cxn ang="0">
                <a:pos x="60" y="2"/>
              </a:cxn>
              <a:cxn ang="0">
                <a:pos x="55" y="0"/>
              </a:cxn>
              <a:cxn ang="0">
                <a:pos x="51" y="0"/>
              </a:cxn>
              <a:cxn ang="0">
                <a:pos x="45" y="1"/>
              </a:cxn>
              <a:cxn ang="0">
                <a:pos x="41" y="2"/>
              </a:cxn>
              <a:cxn ang="0">
                <a:pos x="34" y="2"/>
              </a:cxn>
              <a:cxn ang="0">
                <a:pos x="21" y="2"/>
              </a:cxn>
              <a:cxn ang="0">
                <a:pos x="13" y="3"/>
              </a:cxn>
              <a:cxn ang="0">
                <a:pos x="7" y="5"/>
              </a:cxn>
              <a:cxn ang="0">
                <a:pos x="4" y="7"/>
              </a:cxn>
              <a:cxn ang="0">
                <a:pos x="2" y="9"/>
              </a:cxn>
              <a:cxn ang="0">
                <a:pos x="1" y="11"/>
              </a:cxn>
              <a:cxn ang="0">
                <a:pos x="0" y="15"/>
              </a:cxn>
            </a:cxnLst>
            <a:rect l="0" t="0" r="r" b="b"/>
            <a:pathLst>
              <a:path w="80" h="34">
                <a:moveTo>
                  <a:pt x="0" y="15"/>
                </a:moveTo>
                <a:lnTo>
                  <a:pt x="1" y="19"/>
                </a:lnTo>
                <a:lnTo>
                  <a:pt x="2" y="21"/>
                </a:lnTo>
                <a:lnTo>
                  <a:pt x="4" y="24"/>
                </a:lnTo>
                <a:lnTo>
                  <a:pt x="7" y="26"/>
                </a:lnTo>
                <a:lnTo>
                  <a:pt x="13" y="29"/>
                </a:lnTo>
                <a:lnTo>
                  <a:pt x="22" y="31"/>
                </a:lnTo>
                <a:lnTo>
                  <a:pt x="40" y="33"/>
                </a:lnTo>
                <a:lnTo>
                  <a:pt x="54" y="34"/>
                </a:lnTo>
                <a:lnTo>
                  <a:pt x="58" y="33"/>
                </a:lnTo>
                <a:lnTo>
                  <a:pt x="62" y="32"/>
                </a:lnTo>
                <a:lnTo>
                  <a:pt x="65" y="29"/>
                </a:lnTo>
                <a:lnTo>
                  <a:pt x="67" y="27"/>
                </a:lnTo>
                <a:lnTo>
                  <a:pt x="73" y="21"/>
                </a:lnTo>
                <a:lnTo>
                  <a:pt x="80" y="15"/>
                </a:lnTo>
                <a:lnTo>
                  <a:pt x="75" y="10"/>
                </a:lnTo>
                <a:lnTo>
                  <a:pt x="70" y="7"/>
                </a:lnTo>
                <a:lnTo>
                  <a:pt x="65" y="4"/>
                </a:lnTo>
                <a:lnTo>
                  <a:pt x="60" y="2"/>
                </a:lnTo>
                <a:lnTo>
                  <a:pt x="55" y="0"/>
                </a:lnTo>
                <a:lnTo>
                  <a:pt x="51" y="0"/>
                </a:lnTo>
                <a:lnTo>
                  <a:pt x="45" y="1"/>
                </a:lnTo>
                <a:lnTo>
                  <a:pt x="41" y="2"/>
                </a:lnTo>
                <a:lnTo>
                  <a:pt x="34" y="2"/>
                </a:lnTo>
                <a:lnTo>
                  <a:pt x="21" y="2"/>
                </a:lnTo>
                <a:lnTo>
                  <a:pt x="13" y="3"/>
                </a:lnTo>
                <a:lnTo>
                  <a:pt x="7" y="5"/>
                </a:lnTo>
                <a:lnTo>
                  <a:pt x="4" y="7"/>
                </a:lnTo>
                <a:lnTo>
                  <a:pt x="2" y="9"/>
                </a:lnTo>
                <a:lnTo>
                  <a:pt x="1" y="11"/>
                </a:lnTo>
                <a:lnTo>
                  <a:pt x="0" y="1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090" name="Freeform 42"/>
          <p:cNvSpPr>
            <a:spLocks/>
          </p:cNvSpPr>
          <p:nvPr>
            <p:custDataLst>
              <p:tags r:id="rId35"/>
            </p:custDataLst>
          </p:nvPr>
        </p:nvSpPr>
        <p:spPr bwMode="auto">
          <a:xfrm>
            <a:off x="2409825" y="2322918"/>
            <a:ext cx="1588" cy="4405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7" y="13"/>
              </a:cxn>
              <a:cxn ang="0">
                <a:pos x="7" y="7"/>
              </a:cxn>
            </a:cxnLst>
            <a:rect l="0" t="0" r="r" b="b"/>
            <a:pathLst>
              <a:path w="7" h="13">
                <a:moveTo>
                  <a:pt x="0" y="0"/>
                </a:moveTo>
                <a:lnTo>
                  <a:pt x="7" y="13"/>
                </a:lnTo>
                <a:lnTo>
                  <a:pt x="7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091" name="Freeform 43"/>
          <p:cNvSpPr>
            <a:spLocks/>
          </p:cNvSpPr>
          <p:nvPr>
            <p:custDataLst>
              <p:tags r:id="rId36"/>
            </p:custDataLst>
          </p:nvPr>
        </p:nvSpPr>
        <p:spPr bwMode="auto">
          <a:xfrm>
            <a:off x="2422525" y="2324103"/>
            <a:ext cx="6350" cy="44054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7" y="3"/>
              </a:cxn>
              <a:cxn ang="0">
                <a:pos x="20" y="6"/>
              </a:cxn>
              <a:cxn ang="0">
                <a:pos x="0" y="0"/>
              </a:cxn>
            </a:cxnLst>
            <a:rect l="0" t="0" r="r" b="b"/>
            <a:pathLst>
              <a:path w="20" h="6">
                <a:moveTo>
                  <a:pt x="0" y="0"/>
                </a:moveTo>
                <a:lnTo>
                  <a:pt x="7" y="3"/>
                </a:lnTo>
                <a:lnTo>
                  <a:pt x="20" y="6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092" name="Freeform 44"/>
          <p:cNvSpPr>
            <a:spLocks/>
          </p:cNvSpPr>
          <p:nvPr>
            <p:custDataLst>
              <p:tags r:id="rId37"/>
            </p:custDataLst>
          </p:nvPr>
        </p:nvSpPr>
        <p:spPr bwMode="auto">
          <a:xfrm>
            <a:off x="2436820" y="2316961"/>
            <a:ext cx="7937" cy="42863"/>
          </a:xfrm>
          <a:custGeom>
            <a:avLst/>
            <a:gdLst/>
            <a:ahLst/>
            <a:cxnLst>
              <a:cxn ang="0">
                <a:pos x="0" y="12"/>
              </a:cxn>
              <a:cxn ang="0">
                <a:pos x="14" y="0"/>
              </a:cxn>
              <a:cxn ang="0">
                <a:pos x="0" y="12"/>
              </a:cxn>
            </a:cxnLst>
            <a:rect l="0" t="0" r="r" b="b"/>
            <a:pathLst>
              <a:path w="14" h="12">
                <a:moveTo>
                  <a:pt x="0" y="12"/>
                </a:moveTo>
                <a:lnTo>
                  <a:pt x="14" y="0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093" name="Freeform 45"/>
          <p:cNvSpPr>
            <a:spLocks/>
          </p:cNvSpPr>
          <p:nvPr>
            <p:custDataLst>
              <p:tags r:id="rId38"/>
            </p:custDataLst>
          </p:nvPr>
        </p:nvSpPr>
        <p:spPr bwMode="auto">
          <a:xfrm>
            <a:off x="2416182" y="2311013"/>
            <a:ext cx="11113" cy="4405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4"/>
              </a:cxn>
              <a:cxn ang="0">
                <a:pos x="2" y="6"/>
              </a:cxn>
              <a:cxn ang="0">
                <a:pos x="7" y="7"/>
              </a:cxn>
              <a:cxn ang="0">
                <a:pos x="10" y="7"/>
              </a:cxn>
              <a:cxn ang="0">
                <a:pos x="15" y="6"/>
              </a:cxn>
              <a:cxn ang="0">
                <a:pos x="19" y="4"/>
              </a:cxn>
              <a:cxn ang="0">
                <a:pos x="23" y="2"/>
              </a:cxn>
              <a:cxn ang="0">
                <a:pos x="27" y="0"/>
              </a:cxn>
              <a:cxn ang="0">
                <a:pos x="0" y="0"/>
              </a:cxn>
            </a:cxnLst>
            <a:rect l="0" t="0" r="r" b="b"/>
            <a:pathLst>
              <a:path w="27" h="7">
                <a:moveTo>
                  <a:pt x="0" y="0"/>
                </a:moveTo>
                <a:lnTo>
                  <a:pt x="0" y="4"/>
                </a:lnTo>
                <a:lnTo>
                  <a:pt x="2" y="6"/>
                </a:lnTo>
                <a:lnTo>
                  <a:pt x="7" y="7"/>
                </a:lnTo>
                <a:lnTo>
                  <a:pt x="10" y="7"/>
                </a:lnTo>
                <a:lnTo>
                  <a:pt x="15" y="6"/>
                </a:lnTo>
                <a:lnTo>
                  <a:pt x="19" y="4"/>
                </a:lnTo>
                <a:lnTo>
                  <a:pt x="23" y="2"/>
                </a:lnTo>
                <a:lnTo>
                  <a:pt x="27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094" name="Freeform 46"/>
          <p:cNvSpPr>
            <a:spLocks/>
          </p:cNvSpPr>
          <p:nvPr>
            <p:custDataLst>
              <p:tags r:id="rId39"/>
            </p:custDataLst>
          </p:nvPr>
        </p:nvSpPr>
        <p:spPr bwMode="auto">
          <a:xfrm>
            <a:off x="2465388" y="2332442"/>
            <a:ext cx="14287" cy="45244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1" y="3"/>
              </a:cxn>
              <a:cxn ang="0">
                <a:pos x="27" y="6"/>
              </a:cxn>
            </a:cxnLst>
            <a:rect l="0" t="0" r="r" b="b"/>
            <a:pathLst>
              <a:path w="27" h="6">
                <a:moveTo>
                  <a:pt x="0" y="0"/>
                </a:moveTo>
                <a:lnTo>
                  <a:pt x="11" y="3"/>
                </a:lnTo>
                <a:lnTo>
                  <a:pt x="27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095" name="Line 47"/>
          <p:cNvSpPr>
            <a:spLocks noChangeShapeType="1"/>
          </p:cNvSpPr>
          <p:nvPr>
            <p:custDataLst>
              <p:tags r:id="rId40"/>
            </p:custDataLst>
          </p:nvPr>
        </p:nvSpPr>
        <p:spPr bwMode="auto">
          <a:xfrm flipH="1" flipV="1">
            <a:off x="2473331" y="2330060"/>
            <a:ext cx="6350" cy="7144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096" name="Line 48"/>
          <p:cNvSpPr>
            <a:spLocks noChangeShapeType="1"/>
          </p:cNvSpPr>
          <p:nvPr>
            <p:custDataLst>
              <p:tags r:id="rId41"/>
            </p:custDataLst>
          </p:nvPr>
        </p:nvSpPr>
        <p:spPr bwMode="auto">
          <a:xfrm flipH="1">
            <a:off x="2473331" y="2349104"/>
            <a:ext cx="6350" cy="8334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097" name="Freeform 49"/>
          <p:cNvSpPr>
            <a:spLocks/>
          </p:cNvSpPr>
          <p:nvPr>
            <p:custDataLst>
              <p:tags r:id="rId42"/>
            </p:custDataLst>
          </p:nvPr>
        </p:nvSpPr>
        <p:spPr bwMode="auto">
          <a:xfrm>
            <a:off x="2473332" y="2345535"/>
            <a:ext cx="11113" cy="44054"/>
          </a:xfrm>
          <a:custGeom>
            <a:avLst/>
            <a:gdLst/>
            <a:ahLst/>
            <a:cxnLst>
              <a:cxn ang="0">
                <a:pos x="0" y="24"/>
              </a:cxn>
              <a:cxn ang="0">
                <a:pos x="2" y="24"/>
              </a:cxn>
              <a:cxn ang="0">
                <a:pos x="6" y="22"/>
              </a:cxn>
              <a:cxn ang="0">
                <a:pos x="9" y="20"/>
              </a:cxn>
              <a:cxn ang="0">
                <a:pos x="12" y="16"/>
              </a:cxn>
              <a:cxn ang="0">
                <a:pos x="15" y="13"/>
              </a:cxn>
              <a:cxn ang="0">
                <a:pos x="18" y="9"/>
              </a:cxn>
              <a:cxn ang="0">
                <a:pos x="19" y="4"/>
              </a:cxn>
              <a:cxn ang="0">
                <a:pos x="20" y="0"/>
              </a:cxn>
            </a:cxnLst>
            <a:rect l="0" t="0" r="r" b="b"/>
            <a:pathLst>
              <a:path w="20" h="24">
                <a:moveTo>
                  <a:pt x="0" y="24"/>
                </a:moveTo>
                <a:lnTo>
                  <a:pt x="2" y="24"/>
                </a:lnTo>
                <a:lnTo>
                  <a:pt x="6" y="22"/>
                </a:lnTo>
                <a:lnTo>
                  <a:pt x="9" y="20"/>
                </a:lnTo>
                <a:lnTo>
                  <a:pt x="12" y="16"/>
                </a:lnTo>
                <a:lnTo>
                  <a:pt x="15" y="13"/>
                </a:lnTo>
                <a:lnTo>
                  <a:pt x="18" y="9"/>
                </a:lnTo>
                <a:lnTo>
                  <a:pt x="19" y="4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098" name="Freeform 50"/>
          <p:cNvSpPr>
            <a:spLocks/>
          </p:cNvSpPr>
          <p:nvPr>
            <p:custDataLst>
              <p:tags r:id="rId43"/>
            </p:custDataLst>
          </p:nvPr>
        </p:nvSpPr>
        <p:spPr bwMode="auto">
          <a:xfrm>
            <a:off x="2479675" y="2366970"/>
            <a:ext cx="17463" cy="41672"/>
          </a:xfrm>
          <a:custGeom>
            <a:avLst/>
            <a:gdLst/>
            <a:ahLst/>
            <a:cxnLst>
              <a:cxn ang="0">
                <a:pos x="13" y="7"/>
              </a:cxn>
              <a:cxn ang="0">
                <a:pos x="0" y="19"/>
              </a:cxn>
              <a:cxn ang="0">
                <a:pos x="10" y="20"/>
              </a:cxn>
              <a:cxn ang="0">
                <a:pos x="19" y="22"/>
              </a:cxn>
              <a:cxn ang="0">
                <a:pos x="27" y="25"/>
              </a:cxn>
              <a:cxn ang="0">
                <a:pos x="33" y="25"/>
              </a:cxn>
              <a:cxn ang="0">
                <a:pos x="33" y="0"/>
              </a:cxn>
              <a:cxn ang="0">
                <a:pos x="27" y="0"/>
              </a:cxn>
              <a:cxn ang="0">
                <a:pos x="13" y="7"/>
              </a:cxn>
            </a:cxnLst>
            <a:rect l="0" t="0" r="r" b="b"/>
            <a:pathLst>
              <a:path w="33" h="25">
                <a:moveTo>
                  <a:pt x="13" y="7"/>
                </a:moveTo>
                <a:lnTo>
                  <a:pt x="0" y="19"/>
                </a:lnTo>
                <a:lnTo>
                  <a:pt x="10" y="20"/>
                </a:lnTo>
                <a:lnTo>
                  <a:pt x="19" y="22"/>
                </a:lnTo>
                <a:lnTo>
                  <a:pt x="27" y="25"/>
                </a:lnTo>
                <a:lnTo>
                  <a:pt x="33" y="25"/>
                </a:lnTo>
                <a:lnTo>
                  <a:pt x="33" y="0"/>
                </a:lnTo>
                <a:lnTo>
                  <a:pt x="27" y="0"/>
                </a:lnTo>
                <a:lnTo>
                  <a:pt x="13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099" name="Freeform 51"/>
          <p:cNvSpPr>
            <a:spLocks/>
          </p:cNvSpPr>
          <p:nvPr>
            <p:custDataLst>
              <p:tags r:id="rId44"/>
            </p:custDataLst>
          </p:nvPr>
        </p:nvSpPr>
        <p:spPr bwMode="auto">
          <a:xfrm>
            <a:off x="2486025" y="2402686"/>
            <a:ext cx="15875" cy="4286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3" y="6"/>
              </a:cxn>
              <a:cxn ang="0">
                <a:pos x="6" y="11"/>
              </a:cxn>
              <a:cxn ang="0">
                <a:pos x="10" y="14"/>
              </a:cxn>
              <a:cxn ang="0">
                <a:pos x="15" y="16"/>
              </a:cxn>
              <a:cxn ang="0">
                <a:pos x="27" y="18"/>
              </a:cxn>
              <a:cxn ang="0">
                <a:pos x="40" y="18"/>
              </a:cxn>
              <a:cxn ang="0">
                <a:pos x="40" y="0"/>
              </a:cxn>
              <a:cxn ang="0">
                <a:pos x="30" y="0"/>
              </a:cxn>
              <a:cxn ang="0">
                <a:pos x="20" y="0"/>
              </a:cxn>
              <a:cxn ang="0">
                <a:pos x="10" y="0"/>
              </a:cxn>
              <a:cxn ang="0">
                <a:pos x="0" y="0"/>
              </a:cxn>
            </a:cxnLst>
            <a:rect l="0" t="0" r="r" b="b"/>
            <a:pathLst>
              <a:path w="40" h="18">
                <a:moveTo>
                  <a:pt x="0" y="0"/>
                </a:moveTo>
                <a:lnTo>
                  <a:pt x="3" y="6"/>
                </a:lnTo>
                <a:lnTo>
                  <a:pt x="6" y="11"/>
                </a:lnTo>
                <a:lnTo>
                  <a:pt x="10" y="14"/>
                </a:lnTo>
                <a:lnTo>
                  <a:pt x="15" y="16"/>
                </a:lnTo>
                <a:lnTo>
                  <a:pt x="27" y="18"/>
                </a:lnTo>
                <a:lnTo>
                  <a:pt x="40" y="18"/>
                </a:lnTo>
                <a:lnTo>
                  <a:pt x="40" y="0"/>
                </a:lnTo>
                <a:lnTo>
                  <a:pt x="30" y="0"/>
                </a:lnTo>
                <a:lnTo>
                  <a:pt x="20" y="0"/>
                </a:lnTo>
                <a:lnTo>
                  <a:pt x="1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100" name="Freeform 52"/>
          <p:cNvSpPr>
            <a:spLocks/>
          </p:cNvSpPr>
          <p:nvPr>
            <p:custDataLst>
              <p:tags r:id="rId45"/>
            </p:custDataLst>
          </p:nvPr>
        </p:nvSpPr>
        <p:spPr bwMode="auto">
          <a:xfrm>
            <a:off x="2495553" y="2421736"/>
            <a:ext cx="3175" cy="42863"/>
          </a:xfrm>
          <a:custGeom>
            <a:avLst/>
            <a:gdLst/>
            <a:ahLst/>
            <a:cxnLst>
              <a:cxn ang="0">
                <a:pos x="4" y="32"/>
              </a:cxn>
              <a:cxn ang="0">
                <a:pos x="6" y="28"/>
              </a:cxn>
              <a:cxn ang="0">
                <a:pos x="8" y="25"/>
              </a:cxn>
              <a:cxn ang="0">
                <a:pos x="9" y="22"/>
              </a:cxn>
              <a:cxn ang="0">
                <a:pos x="10" y="18"/>
              </a:cxn>
              <a:cxn ang="0">
                <a:pos x="11" y="9"/>
              </a:cxn>
              <a:cxn ang="0">
                <a:pos x="11" y="0"/>
              </a:cxn>
              <a:cxn ang="0">
                <a:pos x="6" y="3"/>
              </a:cxn>
              <a:cxn ang="0">
                <a:pos x="3" y="7"/>
              </a:cxn>
              <a:cxn ang="0">
                <a:pos x="1" y="11"/>
              </a:cxn>
              <a:cxn ang="0">
                <a:pos x="0" y="16"/>
              </a:cxn>
              <a:cxn ang="0">
                <a:pos x="0" y="20"/>
              </a:cxn>
              <a:cxn ang="0">
                <a:pos x="1" y="24"/>
              </a:cxn>
              <a:cxn ang="0">
                <a:pos x="2" y="28"/>
              </a:cxn>
              <a:cxn ang="0">
                <a:pos x="4" y="32"/>
              </a:cxn>
            </a:cxnLst>
            <a:rect l="0" t="0" r="r" b="b"/>
            <a:pathLst>
              <a:path w="11" h="32">
                <a:moveTo>
                  <a:pt x="4" y="32"/>
                </a:moveTo>
                <a:lnTo>
                  <a:pt x="6" y="28"/>
                </a:lnTo>
                <a:lnTo>
                  <a:pt x="8" y="25"/>
                </a:lnTo>
                <a:lnTo>
                  <a:pt x="9" y="22"/>
                </a:lnTo>
                <a:lnTo>
                  <a:pt x="10" y="18"/>
                </a:lnTo>
                <a:lnTo>
                  <a:pt x="11" y="9"/>
                </a:lnTo>
                <a:lnTo>
                  <a:pt x="11" y="0"/>
                </a:lnTo>
                <a:lnTo>
                  <a:pt x="6" y="3"/>
                </a:lnTo>
                <a:lnTo>
                  <a:pt x="3" y="7"/>
                </a:lnTo>
                <a:lnTo>
                  <a:pt x="1" y="11"/>
                </a:lnTo>
                <a:lnTo>
                  <a:pt x="0" y="16"/>
                </a:lnTo>
                <a:lnTo>
                  <a:pt x="0" y="20"/>
                </a:lnTo>
                <a:lnTo>
                  <a:pt x="1" y="24"/>
                </a:lnTo>
                <a:lnTo>
                  <a:pt x="2" y="28"/>
                </a:lnTo>
                <a:lnTo>
                  <a:pt x="4" y="3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101" name="Freeform 53"/>
          <p:cNvSpPr>
            <a:spLocks/>
          </p:cNvSpPr>
          <p:nvPr>
            <p:custDataLst>
              <p:tags r:id="rId46"/>
            </p:custDataLst>
          </p:nvPr>
        </p:nvSpPr>
        <p:spPr bwMode="auto">
          <a:xfrm>
            <a:off x="2517775" y="2444355"/>
            <a:ext cx="1588" cy="41672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24"/>
              </a:cxn>
              <a:cxn ang="0">
                <a:pos x="14" y="12"/>
              </a:cxn>
              <a:cxn ang="0">
                <a:pos x="0" y="0"/>
              </a:cxn>
            </a:cxnLst>
            <a:rect l="0" t="0" r="r" b="b"/>
            <a:pathLst>
              <a:path w="14" h="24">
                <a:moveTo>
                  <a:pt x="0" y="0"/>
                </a:moveTo>
                <a:lnTo>
                  <a:pt x="0" y="24"/>
                </a:lnTo>
                <a:lnTo>
                  <a:pt x="14" y="12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102" name="Freeform 54"/>
          <p:cNvSpPr>
            <a:spLocks/>
          </p:cNvSpPr>
          <p:nvPr>
            <p:custDataLst>
              <p:tags r:id="rId47"/>
            </p:custDataLst>
          </p:nvPr>
        </p:nvSpPr>
        <p:spPr bwMode="auto">
          <a:xfrm>
            <a:off x="2479675" y="2453888"/>
            <a:ext cx="15875" cy="44053"/>
          </a:xfrm>
          <a:custGeom>
            <a:avLst/>
            <a:gdLst/>
            <a:ahLst/>
            <a:cxnLst>
              <a:cxn ang="0">
                <a:pos x="0" y="12"/>
              </a:cxn>
              <a:cxn ang="0">
                <a:pos x="7" y="15"/>
              </a:cxn>
              <a:cxn ang="0">
                <a:pos x="13" y="18"/>
              </a:cxn>
              <a:cxn ang="0">
                <a:pos x="22" y="7"/>
              </a:cxn>
              <a:cxn ang="0">
                <a:pos x="27" y="0"/>
              </a:cxn>
              <a:cxn ang="0">
                <a:pos x="22" y="0"/>
              </a:cxn>
              <a:cxn ang="0">
                <a:pos x="18" y="1"/>
              </a:cxn>
              <a:cxn ang="0">
                <a:pos x="13" y="2"/>
              </a:cxn>
              <a:cxn ang="0">
                <a:pos x="10" y="4"/>
              </a:cxn>
              <a:cxn ang="0">
                <a:pos x="5" y="8"/>
              </a:cxn>
              <a:cxn ang="0">
                <a:pos x="0" y="12"/>
              </a:cxn>
            </a:cxnLst>
            <a:rect l="0" t="0" r="r" b="b"/>
            <a:pathLst>
              <a:path w="27" h="18">
                <a:moveTo>
                  <a:pt x="0" y="12"/>
                </a:moveTo>
                <a:lnTo>
                  <a:pt x="7" y="15"/>
                </a:lnTo>
                <a:lnTo>
                  <a:pt x="13" y="18"/>
                </a:lnTo>
                <a:lnTo>
                  <a:pt x="22" y="7"/>
                </a:lnTo>
                <a:lnTo>
                  <a:pt x="27" y="0"/>
                </a:lnTo>
                <a:lnTo>
                  <a:pt x="22" y="0"/>
                </a:lnTo>
                <a:lnTo>
                  <a:pt x="18" y="1"/>
                </a:lnTo>
                <a:lnTo>
                  <a:pt x="13" y="2"/>
                </a:lnTo>
                <a:lnTo>
                  <a:pt x="10" y="4"/>
                </a:lnTo>
                <a:lnTo>
                  <a:pt x="5" y="8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103" name="Freeform 55"/>
          <p:cNvSpPr>
            <a:spLocks/>
          </p:cNvSpPr>
          <p:nvPr>
            <p:custDataLst>
              <p:tags r:id="rId48"/>
            </p:custDataLst>
          </p:nvPr>
        </p:nvSpPr>
        <p:spPr bwMode="auto">
          <a:xfrm>
            <a:off x="2465388" y="2502699"/>
            <a:ext cx="23812" cy="42863"/>
          </a:xfrm>
          <a:custGeom>
            <a:avLst/>
            <a:gdLst/>
            <a:ahLst/>
            <a:cxnLst>
              <a:cxn ang="0">
                <a:pos x="0" y="36"/>
              </a:cxn>
              <a:cxn ang="0">
                <a:pos x="1" y="39"/>
              </a:cxn>
              <a:cxn ang="0">
                <a:pos x="2" y="41"/>
              </a:cxn>
              <a:cxn ang="0">
                <a:pos x="4" y="43"/>
              </a:cxn>
              <a:cxn ang="0">
                <a:pos x="6" y="45"/>
              </a:cxn>
              <a:cxn ang="0">
                <a:pos x="12" y="48"/>
              </a:cxn>
              <a:cxn ang="0">
                <a:pos x="14" y="49"/>
              </a:cxn>
              <a:cxn ang="0">
                <a:pos x="18" y="49"/>
              </a:cxn>
              <a:cxn ang="0">
                <a:pos x="24" y="46"/>
              </a:cxn>
              <a:cxn ang="0">
                <a:pos x="29" y="42"/>
              </a:cxn>
              <a:cxn ang="0">
                <a:pos x="35" y="39"/>
              </a:cxn>
              <a:cxn ang="0">
                <a:pos x="39" y="35"/>
              </a:cxn>
              <a:cxn ang="0">
                <a:pos x="44" y="31"/>
              </a:cxn>
              <a:cxn ang="0">
                <a:pos x="46" y="27"/>
              </a:cxn>
              <a:cxn ang="0">
                <a:pos x="47" y="24"/>
              </a:cxn>
              <a:cxn ang="0">
                <a:pos x="47" y="12"/>
              </a:cxn>
              <a:cxn ang="0">
                <a:pos x="47" y="0"/>
              </a:cxn>
              <a:cxn ang="0">
                <a:pos x="27" y="0"/>
              </a:cxn>
              <a:cxn ang="0">
                <a:pos x="17" y="8"/>
              </a:cxn>
              <a:cxn ang="0">
                <a:pos x="9" y="16"/>
              </a:cxn>
              <a:cxn ang="0">
                <a:pos x="5" y="20"/>
              </a:cxn>
              <a:cxn ang="0">
                <a:pos x="2" y="25"/>
              </a:cxn>
              <a:cxn ang="0">
                <a:pos x="1" y="30"/>
              </a:cxn>
              <a:cxn ang="0">
                <a:pos x="0" y="36"/>
              </a:cxn>
            </a:cxnLst>
            <a:rect l="0" t="0" r="r" b="b"/>
            <a:pathLst>
              <a:path w="47" h="49">
                <a:moveTo>
                  <a:pt x="0" y="36"/>
                </a:moveTo>
                <a:lnTo>
                  <a:pt x="1" y="39"/>
                </a:lnTo>
                <a:lnTo>
                  <a:pt x="2" y="41"/>
                </a:lnTo>
                <a:lnTo>
                  <a:pt x="4" y="43"/>
                </a:lnTo>
                <a:lnTo>
                  <a:pt x="6" y="45"/>
                </a:lnTo>
                <a:lnTo>
                  <a:pt x="12" y="48"/>
                </a:lnTo>
                <a:lnTo>
                  <a:pt x="14" y="49"/>
                </a:lnTo>
                <a:lnTo>
                  <a:pt x="18" y="49"/>
                </a:lnTo>
                <a:lnTo>
                  <a:pt x="24" y="46"/>
                </a:lnTo>
                <a:lnTo>
                  <a:pt x="29" y="42"/>
                </a:lnTo>
                <a:lnTo>
                  <a:pt x="35" y="39"/>
                </a:lnTo>
                <a:lnTo>
                  <a:pt x="39" y="35"/>
                </a:lnTo>
                <a:lnTo>
                  <a:pt x="44" y="31"/>
                </a:lnTo>
                <a:lnTo>
                  <a:pt x="46" y="27"/>
                </a:lnTo>
                <a:lnTo>
                  <a:pt x="47" y="24"/>
                </a:lnTo>
                <a:lnTo>
                  <a:pt x="47" y="12"/>
                </a:lnTo>
                <a:lnTo>
                  <a:pt x="47" y="0"/>
                </a:lnTo>
                <a:lnTo>
                  <a:pt x="27" y="0"/>
                </a:lnTo>
                <a:lnTo>
                  <a:pt x="17" y="8"/>
                </a:lnTo>
                <a:lnTo>
                  <a:pt x="9" y="16"/>
                </a:lnTo>
                <a:lnTo>
                  <a:pt x="5" y="20"/>
                </a:lnTo>
                <a:lnTo>
                  <a:pt x="2" y="25"/>
                </a:lnTo>
                <a:lnTo>
                  <a:pt x="1" y="30"/>
                </a:lnTo>
                <a:lnTo>
                  <a:pt x="0" y="3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104" name="Freeform 56"/>
          <p:cNvSpPr>
            <a:spLocks/>
          </p:cNvSpPr>
          <p:nvPr>
            <p:custDataLst>
              <p:tags r:id="rId49"/>
            </p:custDataLst>
          </p:nvPr>
        </p:nvSpPr>
        <p:spPr bwMode="auto">
          <a:xfrm>
            <a:off x="2484438" y="2484840"/>
            <a:ext cx="12700" cy="4286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4"/>
              </a:cxn>
              <a:cxn ang="0">
                <a:pos x="3" y="7"/>
              </a:cxn>
              <a:cxn ang="0">
                <a:pos x="6" y="8"/>
              </a:cxn>
              <a:cxn ang="0">
                <a:pos x="11" y="9"/>
              </a:cxn>
              <a:cxn ang="0">
                <a:pos x="15" y="8"/>
              </a:cxn>
              <a:cxn ang="0">
                <a:pos x="20" y="7"/>
              </a:cxn>
              <a:cxn ang="0">
                <a:pos x="23" y="4"/>
              </a:cxn>
              <a:cxn ang="0">
                <a:pos x="26" y="0"/>
              </a:cxn>
              <a:cxn ang="0">
                <a:pos x="0" y="0"/>
              </a:cxn>
            </a:cxnLst>
            <a:rect l="0" t="0" r="r" b="b"/>
            <a:pathLst>
              <a:path w="26" h="9">
                <a:moveTo>
                  <a:pt x="0" y="0"/>
                </a:moveTo>
                <a:lnTo>
                  <a:pt x="0" y="4"/>
                </a:lnTo>
                <a:lnTo>
                  <a:pt x="3" y="7"/>
                </a:lnTo>
                <a:lnTo>
                  <a:pt x="6" y="8"/>
                </a:lnTo>
                <a:lnTo>
                  <a:pt x="11" y="9"/>
                </a:lnTo>
                <a:lnTo>
                  <a:pt x="15" y="8"/>
                </a:lnTo>
                <a:lnTo>
                  <a:pt x="20" y="7"/>
                </a:lnTo>
                <a:lnTo>
                  <a:pt x="23" y="4"/>
                </a:lnTo>
                <a:lnTo>
                  <a:pt x="26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105" name="Freeform 57"/>
          <p:cNvSpPr>
            <a:spLocks/>
          </p:cNvSpPr>
          <p:nvPr>
            <p:custDataLst>
              <p:tags r:id="rId50"/>
            </p:custDataLst>
          </p:nvPr>
        </p:nvSpPr>
        <p:spPr bwMode="auto">
          <a:xfrm>
            <a:off x="1966915" y="2238379"/>
            <a:ext cx="15875" cy="4286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18"/>
              </a:cxn>
              <a:cxn ang="0">
                <a:pos x="6" y="18"/>
              </a:cxn>
              <a:cxn ang="0">
                <a:pos x="13" y="18"/>
              </a:cxn>
              <a:cxn ang="0">
                <a:pos x="23" y="17"/>
              </a:cxn>
              <a:cxn ang="0">
                <a:pos x="30" y="14"/>
              </a:cxn>
              <a:cxn ang="0">
                <a:pos x="34" y="12"/>
              </a:cxn>
              <a:cxn ang="0">
                <a:pos x="37" y="10"/>
              </a:cxn>
              <a:cxn ang="0">
                <a:pos x="38" y="8"/>
              </a:cxn>
              <a:cxn ang="0">
                <a:pos x="39" y="6"/>
              </a:cxn>
              <a:cxn ang="0">
                <a:pos x="29" y="5"/>
              </a:cxn>
              <a:cxn ang="0">
                <a:pos x="19" y="3"/>
              </a:cxn>
              <a:cxn ang="0">
                <a:pos x="10" y="0"/>
              </a:cxn>
              <a:cxn ang="0">
                <a:pos x="0" y="0"/>
              </a:cxn>
            </a:cxnLst>
            <a:rect l="0" t="0" r="r" b="b"/>
            <a:pathLst>
              <a:path w="39" h="18">
                <a:moveTo>
                  <a:pt x="0" y="0"/>
                </a:moveTo>
                <a:lnTo>
                  <a:pt x="0" y="18"/>
                </a:lnTo>
                <a:lnTo>
                  <a:pt x="6" y="18"/>
                </a:lnTo>
                <a:lnTo>
                  <a:pt x="13" y="18"/>
                </a:lnTo>
                <a:lnTo>
                  <a:pt x="23" y="17"/>
                </a:lnTo>
                <a:lnTo>
                  <a:pt x="30" y="14"/>
                </a:lnTo>
                <a:lnTo>
                  <a:pt x="34" y="12"/>
                </a:lnTo>
                <a:lnTo>
                  <a:pt x="37" y="10"/>
                </a:lnTo>
                <a:lnTo>
                  <a:pt x="38" y="8"/>
                </a:lnTo>
                <a:lnTo>
                  <a:pt x="39" y="6"/>
                </a:lnTo>
                <a:lnTo>
                  <a:pt x="29" y="5"/>
                </a:lnTo>
                <a:lnTo>
                  <a:pt x="19" y="3"/>
                </a:lnTo>
                <a:lnTo>
                  <a:pt x="1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grpSp>
        <p:nvGrpSpPr>
          <p:cNvPr id="4" name="Group 58"/>
          <p:cNvGrpSpPr>
            <a:grpSpLocks/>
          </p:cNvGrpSpPr>
          <p:nvPr>
            <p:custDataLst>
              <p:tags r:id="rId51"/>
            </p:custDataLst>
          </p:nvPr>
        </p:nvGrpSpPr>
        <p:grpSpPr bwMode="auto">
          <a:xfrm>
            <a:off x="2092332" y="2113365"/>
            <a:ext cx="131763" cy="146447"/>
            <a:chOff x="1199" y="2121"/>
            <a:chExt cx="97" cy="123"/>
          </a:xfrm>
        </p:grpSpPr>
        <p:sp>
          <p:nvSpPr>
            <p:cNvPr id="2107" name="Freeform 59"/>
            <p:cNvSpPr>
              <a:spLocks/>
            </p:cNvSpPr>
            <p:nvPr/>
          </p:nvSpPr>
          <p:spPr bwMode="auto">
            <a:xfrm>
              <a:off x="1274" y="2236"/>
              <a:ext cx="16" cy="8"/>
            </a:xfrm>
            <a:custGeom>
              <a:avLst/>
              <a:gdLst/>
              <a:ahLst/>
              <a:cxnLst>
                <a:cxn ang="0">
                  <a:pos x="0" y="25"/>
                </a:cxn>
                <a:cxn ang="0">
                  <a:pos x="7" y="25"/>
                </a:cxn>
                <a:cxn ang="0">
                  <a:pos x="15" y="24"/>
                </a:cxn>
                <a:cxn ang="0">
                  <a:pos x="23" y="22"/>
                </a:cxn>
                <a:cxn ang="0">
                  <a:pos x="30" y="19"/>
                </a:cxn>
                <a:cxn ang="0">
                  <a:pos x="38" y="15"/>
                </a:cxn>
                <a:cxn ang="0">
                  <a:pos x="43" y="11"/>
                </a:cxn>
                <a:cxn ang="0">
                  <a:pos x="49" y="6"/>
                </a:cxn>
                <a:cxn ang="0">
                  <a:pos x="52" y="0"/>
                </a:cxn>
                <a:cxn ang="0">
                  <a:pos x="40" y="0"/>
                </a:cxn>
                <a:cxn ang="0">
                  <a:pos x="31" y="0"/>
                </a:cxn>
                <a:cxn ang="0">
                  <a:pos x="23" y="1"/>
                </a:cxn>
                <a:cxn ang="0">
                  <a:pos x="16" y="3"/>
                </a:cxn>
                <a:cxn ang="0">
                  <a:pos x="11" y="6"/>
                </a:cxn>
                <a:cxn ang="0">
                  <a:pos x="5" y="10"/>
                </a:cxn>
                <a:cxn ang="0">
                  <a:pos x="2" y="16"/>
                </a:cxn>
                <a:cxn ang="0">
                  <a:pos x="0" y="25"/>
                </a:cxn>
              </a:cxnLst>
              <a:rect l="0" t="0" r="r" b="b"/>
              <a:pathLst>
                <a:path w="52" h="25">
                  <a:moveTo>
                    <a:pt x="0" y="25"/>
                  </a:moveTo>
                  <a:lnTo>
                    <a:pt x="7" y="25"/>
                  </a:lnTo>
                  <a:lnTo>
                    <a:pt x="15" y="24"/>
                  </a:lnTo>
                  <a:lnTo>
                    <a:pt x="23" y="22"/>
                  </a:lnTo>
                  <a:lnTo>
                    <a:pt x="30" y="19"/>
                  </a:lnTo>
                  <a:lnTo>
                    <a:pt x="38" y="15"/>
                  </a:lnTo>
                  <a:lnTo>
                    <a:pt x="43" y="11"/>
                  </a:lnTo>
                  <a:lnTo>
                    <a:pt x="49" y="6"/>
                  </a:lnTo>
                  <a:lnTo>
                    <a:pt x="52" y="0"/>
                  </a:lnTo>
                  <a:lnTo>
                    <a:pt x="40" y="0"/>
                  </a:lnTo>
                  <a:lnTo>
                    <a:pt x="31" y="0"/>
                  </a:lnTo>
                  <a:lnTo>
                    <a:pt x="23" y="1"/>
                  </a:lnTo>
                  <a:lnTo>
                    <a:pt x="16" y="3"/>
                  </a:lnTo>
                  <a:lnTo>
                    <a:pt x="11" y="6"/>
                  </a:lnTo>
                  <a:lnTo>
                    <a:pt x="5" y="10"/>
                  </a:lnTo>
                  <a:lnTo>
                    <a:pt x="2" y="16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108" name="Freeform 60"/>
            <p:cNvSpPr>
              <a:spLocks/>
            </p:cNvSpPr>
            <p:nvPr/>
          </p:nvSpPr>
          <p:spPr bwMode="auto">
            <a:xfrm>
              <a:off x="1199" y="2131"/>
              <a:ext cx="11" cy="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6"/>
                </a:cxn>
                <a:cxn ang="0">
                  <a:pos x="0" y="13"/>
                </a:cxn>
                <a:cxn ang="0">
                  <a:pos x="9" y="13"/>
                </a:cxn>
                <a:cxn ang="0">
                  <a:pos x="16" y="13"/>
                </a:cxn>
                <a:cxn ang="0">
                  <a:pos x="24" y="11"/>
                </a:cxn>
                <a:cxn ang="0">
                  <a:pos x="33" y="6"/>
                </a:cxn>
                <a:cxn ang="0">
                  <a:pos x="24" y="3"/>
                </a:cxn>
                <a:cxn ang="0">
                  <a:pos x="16" y="1"/>
                </a:cxn>
                <a:cxn ang="0">
                  <a:pos x="9" y="0"/>
                </a:cxn>
                <a:cxn ang="0">
                  <a:pos x="0" y="0"/>
                </a:cxn>
              </a:cxnLst>
              <a:rect l="0" t="0" r="r" b="b"/>
              <a:pathLst>
                <a:path w="33" h="13">
                  <a:moveTo>
                    <a:pt x="0" y="0"/>
                  </a:moveTo>
                  <a:lnTo>
                    <a:pt x="0" y="6"/>
                  </a:lnTo>
                  <a:lnTo>
                    <a:pt x="0" y="13"/>
                  </a:lnTo>
                  <a:lnTo>
                    <a:pt x="9" y="13"/>
                  </a:lnTo>
                  <a:lnTo>
                    <a:pt x="16" y="13"/>
                  </a:lnTo>
                  <a:lnTo>
                    <a:pt x="24" y="11"/>
                  </a:lnTo>
                  <a:lnTo>
                    <a:pt x="33" y="6"/>
                  </a:lnTo>
                  <a:lnTo>
                    <a:pt x="24" y="3"/>
                  </a:lnTo>
                  <a:lnTo>
                    <a:pt x="16" y="1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109" name="Freeform 61"/>
            <p:cNvSpPr>
              <a:spLocks/>
            </p:cNvSpPr>
            <p:nvPr/>
          </p:nvSpPr>
          <p:spPr bwMode="auto">
            <a:xfrm>
              <a:off x="1210" y="2121"/>
              <a:ext cx="20" cy="28"/>
            </a:xfrm>
            <a:custGeom>
              <a:avLst/>
              <a:gdLst/>
              <a:ahLst/>
              <a:cxnLst>
                <a:cxn ang="0">
                  <a:pos x="26" y="18"/>
                </a:cxn>
                <a:cxn ang="0">
                  <a:pos x="0" y="0"/>
                </a:cxn>
                <a:cxn ang="0">
                  <a:pos x="26" y="0"/>
                </a:cxn>
                <a:cxn ang="0">
                  <a:pos x="29" y="4"/>
                </a:cxn>
                <a:cxn ang="0">
                  <a:pos x="33" y="8"/>
                </a:cxn>
                <a:cxn ang="0">
                  <a:pos x="36" y="11"/>
                </a:cxn>
                <a:cxn ang="0">
                  <a:pos x="39" y="14"/>
                </a:cxn>
                <a:cxn ang="0">
                  <a:pos x="47" y="17"/>
                </a:cxn>
                <a:cxn ang="0">
                  <a:pos x="54" y="18"/>
                </a:cxn>
                <a:cxn ang="0">
                  <a:pos x="58" y="30"/>
                </a:cxn>
                <a:cxn ang="0">
                  <a:pos x="62" y="40"/>
                </a:cxn>
                <a:cxn ang="0">
                  <a:pos x="63" y="45"/>
                </a:cxn>
                <a:cxn ang="0">
                  <a:pos x="66" y="50"/>
                </a:cxn>
                <a:cxn ang="0">
                  <a:pos x="66" y="55"/>
                </a:cxn>
                <a:cxn ang="0">
                  <a:pos x="67" y="61"/>
                </a:cxn>
                <a:cxn ang="0">
                  <a:pos x="63" y="74"/>
                </a:cxn>
                <a:cxn ang="0">
                  <a:pos x="60" y="86"/>
                </a:cxn>
                <a:cxn ang="0">
                  <a:pos x="55" y="69"/>
                </a:cxn>
                <a:cxn ang="0">
                  <a:pos x="51" y="54"/>
                </a:cxn>
                <a:cxn ang="0">
                  <a:pos x="50" y="47"/>
                </a:cxn>
                <a:cxn ang="0">
                  <a:pos x="50" y="41"/>
                </a:cxn>
                <a:cxn ang="0">
                  <a:pos x="51" y="35"/>
                </a:cxn>
                <a:cxn ang="0">
                  <a:pos x="54" y="30"/>
                </a:cxn>
                <a:cxn ang="0">
                  <a:pos x="44" y="30"/>
                </a:cxn>
                <a:cxn ang="0">
                  <a:pos x="35" y="29"/>
                </a:cxn>
                <a:cxn ang="0">
                  <a:pos x="32" y="27"/>
                </a:cxn>
                <a:cxn ang="0">
                  <a:pos x="28" y="25"/>
                </a:cxn>
                <a:cxn ang="0">
                  <a:pos x="27" y="22"/>
                </a:cxn>
                <a:cxn ang="0">
                  <a:pos x="26" y="18"/>
                </a:cxn>
              </a:cxnLst>
              <a:rect l="0" t="0" r="r" b="b"/>
              <a:pathLst>
                <a:path w="67" h="86">
                  <a:moveTo>
                    <a:pt x="26" y="18"/>
                  </a:moveTo>
                  <a:lnTo>
                    <a:pt x="0" y="0"/>
                  </a:lnTo>
                  <a:lnTo>
                    <a:pt x="26" y="0"/>
                  </a:lnTo>
                  <a:lnTo>
                    <a:pt x="29" y="4"/>
                  </a:lnTo>
                  <a:lnTo>
                    <a:pt x="33" y="8"/>
                  </a:lnTo>
                  <a:lnTo>
                    <a:pt x="36" y="11"/>
                  </a:lnTo>
                  <a:lnTo>
                    <a:pt x="39" y="14"/>
                  </a:lnTo>
                  <a:lnTo>
                    <a:pt x="47" y="17"/>
                  </a:lnTo>
                  <a:lnTo>
                    <a:pt x="54" y="18"/>
                  </a:lnTo>
                  <a:lnTo>
                    <a:pt x="58" y="30"/>
                  </a:lnTo>
                  <a:lnTo>
                    <a:pt x="62" y="40"/>
                  </a:lnTo>
                  <a:lnTo>
                    <a:pt x="63" y="45"/>
                  </a:lnTo>
                  <a:lnTo>
                    <a:pt x="66" y="50"/>
                  </a:lnTo>
                  <a:lnTo>
                    <a:pt x="66" y="55"/>
                  </a:lnTo>
                  <a:lnTo>
                    <a:pt x="67" y="61"/>
                  </a:lnTo>
                  <a:lnTo>
                    <a:pt x="63" y="74"/>
                  </a:lnTo>
                  <a:lnTo>
                    <a:pt x="60" y="86"/>
                  </a:lnTo>
                  <a:lnTo>
                    <a:pt x="55" y="69"/>
                  </a:lnTo>
                  <a:lnTo>
                    <a:pt x="51" y="54"/>
                  </a:lnTo>
                  <a:lnTo>
                    <a:pt x="50" y="47"/>
                  </a:lnTo>
                  <a:lnTo>
                    <a:pt x="50" y="41"/>
                  </a:lnTo>
                  <a:lnTo>
                    <a:pt x="51" y="35"/>
                  </a:lnTo>
                  <a:lnTo>
                    <a:pt x="54" y="30"/>
                  </a:lnTo>
                  <a:lnTo>
                    <a:pt x="44" y="30"/>
                  </a:lnTo>
                  <a:lnTo>
                    <a:pt x="35" y="29"/>
                  </a:lnTo>
                  <a:lnTo>
                    <a:pt x="32" y="27"/>
                  </a:lnTo>
                  <a:lnTo>
                    <a:pt x="28" y="25"/>
                  </a:lnTo>
                  <a:lnTo>
                    <a:pt x="27" y="22"/>
                  </a:lnTo>
                  <a:lnTo>
                    <a:pt x="26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110" name="Freeform 62"/>
            <p:cNvSpPr>
              <a:spLocks/>
            </p:cNvSpPr>
            <p:nvPr/>
          </p:nvSpPr>
          <p:spPr bwMode="auto">
            <a:xfrm>
              <a:off x="1201" y="2159"/>
              <a:ext cx="16" cy="28"/>
            </a:xfrm>
            <a:custGeom>
              <a:avLst/>
              <a:gdLst/>
              <a:ahLst/>
              <a:cxnLst>
                <a:cxn ang="0">
                  <a:pos x="27" y="12"/>
                </a:cxn>
                <a:cxn ang="0">
                  <a:pos x="20" y="6"/>
                </a:cxn>
                <a:cxn ang="0">
                  <a:pos x="14" y="0"/>
                </a:cxn>
                <a:cxn ang="0">
                  <a:pos x="9" y="5"/>
                </a:cxn>
                <a:cxn ang="0">
                  <a:pos x="5" y="13"/>
                </a:cxn>
                <a:cxn ang="0">
                  <a:pos x="1" y="21"/>
                </a:cxn>
                <a:cxn ang="0">
                  <a:pos x="0" y="30"/>
                </a:cxn>
                <a:cxn ang="0">
                  <a:pos x="0" y="36"/>
                </a:cxn>
                <a:cxn ang="0">
                  <a:pos x="3" y="43"/>
                </a:cxn>
                <a:cxn ang="0">
                  <a:pos x="5" y="50"/>
                </a:cxn>
                <a:cxn ang="0">
                  <a:pos x="8" y="58"/>
                </a:cxn>
                <a:cxn ang="0">
                  <a:pos x="12" y="66"/>
                </a:cxn>
                <a:cxn ang="0">
                  <a:pos x="17" y="74"/>
                </a:cxn>
                <a:cxn ang="0">
                  <a:pos x="22" y="80"/>
                </a:cxn>
                <a:cxn ang="0">
                  <a:pos x="27" y="86"/>
                </a:cxn>
                <a:cxn ang="0">
                  <a:pos x="31" y="79"/>
                </a:cxn>
                <a:cxn ang="0">
                  <a:pos x="37" y="69"/>
                </a:cxn>
                <a:cxn ang="0">
                  <a:pos x="42" y="57"/>
                </a:cxn>
                <a:cxn ang="0">
                  <a:pos x="46" y="45"/>
                </a:cxn>
                <a:cxn ang="0">
                  <a:pos x="49" y="39"/>
                </a:cxn>
                <a:cxn ang="0">
                  <a:pos x="49" y="33"/>
                </a:cxn>
                <a:cxn ang="0">
                  <a:pos x="49" y="26"/>
                </a:cxn>
                <a:cxn ang="0">
                  <a:pos x="48" y="22"/>
                </a:cxn>
                <a:cxn ang="0">
                  <a:pos x="44" y="18"/>
                </a:cxn>
                <a:cxn ang="0">
                  <a:pos x="40" y="15"/>
                </a:cxn>
                <a:cxn ang="0">
                  <a:pos x="34" y="13"/>
                </a:cxn>
                <a:cxn ang="0">
                  <a:pos x="27" y="12"/>
                </a:cxn>
              </a:cxnLst>
              <a:rect l="0" t="0" r="r" b="b"/>
              <a:pathLst>
                <a:path w="49" h="86">
                  <a:moveTo>
                    <a:pt x="27" y="12"/>
                  </a:moveTo>
                  <a:lnTo>
                    <a:pt x="20" y="6"/>
                  </a:lnTo>
                  <a:lnTo>
                    <a:pt x="14" y="0"/>
                  </a:lnTo>
                  <a:lnTo>
                    <a:pt x="9" y="5"/>
                  </a:lnTo>
                  <a:lnTo>
                    <a:pt x="5" y="13"/>
                  </a:lnTo>
                  <a:lnTo>
                    <a:pt x="1" y="21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3" y="43"/>
                  </a:lnTo>
                  <a:lnTo>
                    <a:pt x="5" y="50"/>
                  </a:lnTo>
                  <a:lnTo>
                    <a:pt x="8" y="58"/>
                  </a:lnTo>
                  <a:lnTo>
                    <a:pt x="12" y="66"/>
                  </a:lnTo>
                  <a:lnTo>
                    <a:pt x="17" y="74"/>
                  </a:lnTo>
                  <a:lnTo>
                    <a:pt x="22" y="80"/>
                  </a:lnTo>
                  <a:lnTo>
                    <a:pt x="27" y="86"/>
                  </a:lnTo>
                  <a:lnTo>
                    <a:pt x="31" y="79"/>
                  </a:lnTo>
                  <a:lnTo>
                    <a:pt x="37" y="69"/>
                  </a:lnTo>
                  <a:lnTo>
                    <a:pt x="42" y="57"/>
                  </a:lnTo>
                  <a:lnTo>
                    <a:pt x="46" y="45"/>
                  </a:lnTo>
                  <a:lnTo>
                    <a:pt x="49" y="39"/>
                  </a:lnTo>
                  <a:lnTo>
                    <a:pt x="49" y="33"/>
                  </a:lnTo>
                  <a:lnTo>
                    <a:pt x="49" y="26"/>
                  </a:lnTo>
                  <a:lnTo>
                    <a:pt x="48" y="22"/>
                  </a:lnTo>
                  <a:lnTo>
                    <a:pt x="44" y="18"/>
                  </a:lnTo>
                  <a:lnTo>
                    <a:pt x="40" y="15"/>
                  </a:lnTo>
                  <a:lnTo>
                    <a:pt x="34" y="13"/>
                  </a:lnTo>
                  <a:lnTo>
                    <a:pt x="27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111" name="Freeform 63"/>
            <p:cNvSpPr>
              <a:spLocks/>
            </p:cNvSpPr>
            <p:nvPr/>
          </p:nvSpPr>
          <p:spPr bwMode="auto">
            <a:xfrm>
              <a:off x="1226" y="2161"/>
              <a:ext cx="2" cy="4"/>
            </a:xfrm>
            <a:custGeom>
              <a:avLst/>
              <a:gdLst/>
              <a:ahLst/>
              <a:cxnLst>
                <a:cxn ang="0">
                  <a:pos x="0" y="12"/>
                </a:cxn>
                <a:cxn ang="0">
                  <a:pos x="6" y="0"/>
                </a:cxn>
                <a:cxn ang="0">
                  <a:pos x="4" y="0"/>
                </a:cxn>
                <a:cxn ang="0">
                  <a:pos x="2" y="2"/>
                </a:cxn>
                <a:cxn ang="0">
                  <a:pos x="1" y="4"/>
                </a:cxn>
                <a:cxn ang="0">
                  <a:pos x="0" y="6"/>
                </a:cxn>
                <a:cxn ang="0">
                  <a:pos x="0" y="10"/>
                </a:cxn>
                <a:cxn ang="0">
                  <a:pos x="0" y="12"/>
                </a:cxn>
              </a:cxnLst>
              <a:rect l="0" t="0" r="r" b="b"/>
              <a:pathLst>
                <a:path w="6" h="12">
                  <a:moveTo>
                    <a:pt x="0" y="12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1" y="4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112" name="Freeform 64"/>
            <p:cNvSpPr>
              <a:spLocks/>
            </p:cNvSpPr>
            <p:nvPr/>
          </p:nvSpPr>
          <p:spPr bwMode="auto">
            <a:xfrm>
              <a:off x="1230" y="2154"/>
              <a:ext cx="13" cy="1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1" y="9"/>
                </a:cxn>
                <a:cxn ang="0">
                  <a:pos x="22" y="17"/>
                </a:cxn>
                <a:cxn ang="0">
                  <a:pos x="32" y="24"/>
                </a:cxn>
                <a:cxn ang="0">
                  <a:pos x="39" y="30"/>
                </a:cxn>
                <a:cxn ang="0">
                  <a:pos x="36" y="39"/>
                </a:cxn>
                <a:cxn ang="0">
                  <a:pos x="33" y="48"/>
                </a:cxn>
                <a:cxn ang="0">
                  <a:pos x="18" y="36"/>
                </a:cxn>
                <a:cxn ang="0">
                  <a:pos x="8" y="26"/>
                </a:cxn>
                <a:cxn ang="0">
                  <a:pos x="4" y="21"/>
                </a:cxn>
                <a:cxn ang="0">
                  <a:pos x="2" y="15"/>
                </a:cxn>
                <a:cxn ang="0">
                  <a:pos x="0" y="8"/>
                </a:cxn>
                <a:cxn ang="0">
                  <a:pos x="0" y="0"/>
                </a:cxn>
              </a:cxnLst>
              <a:rect l="0" t="0" r="r" b="b"/>
              <a:pathLst>
                <a:path w="39" h="48">
                  <a:moveTo>
                    <a:pt x="0" y="0"/>
                  </a:moveTo>
                  <a:lnTo>
                    <a:pt x="11" y="9"/>
                  </a:lnTo>
                  <a:lnTo>
                    <a:pt x="22" y="17"/>
                  </a:lnTo>
                  <a:lnTo>
                    <a:pt x="32" y="24"/>
                  </a:lnTo>
                  <a:lnTo>
                    <a:pt x="39" y="30"/>
                  </a:lnTo>
                  <a:lnTo>
                    <a:pt x="36" y="39"/>
                  </a:lnTo>
                  <a:lnTo>
                    <a:pt x="33" y="48"/>
                  </a:lnTo>
                  <a:lnTo>
                    <a:pt x="18" y="36"/>
                  </a:lnTo>
                  <a:lnTo>
                    <a:pt x="8" y="26"/>
                  </a:lnTo>
                  <a:lnTo>
                    <a:pt x="4" y="21"/>
                  </a:lnTo>
                  <a:lnTo>
                    <a:pt x="2" y="15"/>
                  </a:lnTo>
                  <a:lnTo>
                    <a:pt x="0" y="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113" name="Freeform 65"/>
            <p:cNvSpPr>
              <a:spLocks/>
            </p:cNvSpPr>
            <p:nvPr/>
          </p:nvSpPr>
          <p:spPr bwMode="auto">
            <a:xfrm>
              <a:off x="1247" y="2167"/>
              <a:ext cx="6" cy="14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11" y="9"/>
                </a:cxn>
                <a:cxn ang="0">
                  <a:pos x="15" y="16"/>
                </a:cxn>
                <a:cxn ang="0">
                  <a:pos x="16" y="22"/>
                </a:cxn>
                <a:cxn ang="0">
                  <a:pos x="16" y="27"/>
                </a:cxn>
                <a:cxn ang="0">
                  <a:pos x="15" y="31"/>
                </a:cxn>
                <a:cxn ang="0">
                  <a:pos x="11" y="35"/>
                </a:cxn>
                <a:cxn ang="0">
                  <a:pos x="7" y="39"/>
                </a:cxn>
                <a:cxn ang="0">
                  <a:pos x="0" y="43"/>
                </a:cxn>
                <a:cxn ang="0">
                  <a:pos x="2" y="28"/>
                </a:cxn>
                <a:cxn ang="0">
                  <a:pos x="4" y="18"/>
                </a:cxn>
                <a:cxn ang="0">
                  <a:pos x="6" y="9"/>
                </a:cxn>
                <a:cxn ang="0">
                  <a:pos x="7" y="0"/>
                </a:cxn>
              </a:cxnLst>
              <a:rect l="0" t="0" r="r" b="b"/>
              <a:pathLst>
                <a:path w="16" h="43">
                  <a:moveTo>
                    <a:pt x="7" y="0"/>
                  </a:moveTo>
                  <a:lnTo>
                    <a:pt x="11" y="9"/>
                  </a:lnTo>
                  <a:lnTo>
                    <a:pt x="15" y="16"/>
                  </a:lnTo>
                  <a:lnTo>
                    <a:pt x="16" y="22"/>
                  </a:lnTo>
                  <a:lnTo>
                    <a:pt x="16" y="27"/>
                  </a:lnTo>
                  <a:lnTo>
                    <a:pt x="15" y="31"/>
                  </a:lnTo>
                  <a:lnTo>
                    <a:pt x="11" y="35"/>
                  </a:lnTo>
                  <a:lnTo>
                    <a:pt x="7" y="39"/>
                  </a:lnTo>
                  <a:lnTo>
                    <a:pt x="0" y="43"/>
                  </a:lnTo>
                  <a:lnTo>
                    <a:pt x="2" y="28"/>
                  </a:lnTo>
                  <a:lnTo>
                    <a:pt x="4" y="18"/>
                  </a:lnTo>
                  <a:lnTo>
                    <a:pt x="6" y="9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114" name="Freeform 66"/>
            <p:cNvSpPr>
              <a:spLocks/>
            </p:cNvSpPr>
            <p:nvPr/>
          </p:nvSpPr>
          <p:spPr bwMode="auto">
            <a:xfrm>
              <a:off x="1248" y="2190"/>
              <a:ext cx="8" cy="12"/>
            </a:xfrm>
            <a:custGeom>
              <a:avLst/>
              <a:gdLst/>
              <a:ahLst/>
              <a:cxnLst>
                <a:cxn ang="0">
                  <a:pos x="24" y="36"/>
                </a:cxn>
                <a:cxn ang="0">
                  <a:pos x="19" y="27"/>
                </a:cxn>
                <a:cxn ang="0">
                  <a:pos x="15" y="18"/>
                </a:cxn>
                <a:cxn ang="0">
                  <a:pos x="12" y="9"/>
                </a:cxn>
                <a:cxn ang="0">
                  <a:pos x="11" y="0"/>
                </a:cxn>
                <a:cxn ang="0">
                  <a:pos x="6" y="10"/>
                </a:cxn>
                <a:cxn ang="0">
                  <a:pos x="3" y="19"/>
                </a:cxn>
                <a:cxn ang="0">
                  <a:pos x="1" y="26"/>
                </a:cxn>
                <a:cxn ang="0">
                  <a:pos x="0" y="31"/>
                </a:cxn>
                <a:cxn ang="0">
                  <a:pos x="1" y="33"/>
                </a:cxn>
                <a:cxn ang="0">
                  <a:pos x="2" y="35"/>
                </a:cxn>
                <a:cxn ang="0">
                  <a:pos x="4" y="36"/>
                </a:cxn>
                <a:cxn ang="0">
                  <a:pos x="6" y="37"/>
                </a:cxn>
                <a:cxn ang="0">
                  <a:pos x="14" y="37"/>
                </a:cxn>
                <a:cxn ang="0">
                  <a:pos x="24" y="36"/>
                </a:cxn>
              </a:cxnLst>
              <a:rect l="0" t="0" r="r" b="b"/>
              <a:pathLst>
                <a:path w="24" h="37">
                  <a:moveTo>
                    <a:pt x="24" y="36"/>
                  </a:moveTo>
                  <a:lnTo>
                    <a:pt x="19" y="27"/>
                  </a:lnTo>
                  <a:lnTo>
                    <a:pt x="15" y="18"/>
                  </a:lnTo>
                  <a:lnTo>
                    <a:pt x="12" y="9"/>
                  </a:lnTo>
                  <a:lnTo>
                    <a:pt x="11" y="0"/>
                  </a:lnTo>
                  <a:lnTo>
                    <a:pt x="6" y="10"/>
                  </a:lnTo>
                  <a:lnTo>
                    <a:pt x="3" y="19"/>
                  </a:lnTo>
                  <a:lnTo>
                    <a:pt x="1" y="26"/>
                  </a:lnTo>
                  <a:lnTo>
                    <a:pt x="0" y="31"/>
                  </a:lnTo>
                  <a:lnTo>
                    <a:pt x="1" y="33"/>
                  </a:lnTo>
                  <a:lnTo>
                    <a:pt x="2" y="35"/>
                  </a:lnTo>
                  <a:lnTo>
                    <a:pt x="4" y="36"/>
                  </a:lnTo>
                  <a:lnTo>
                    <a:pt x="6" y="37"/>
                  </a:lnTo>
                  <a:lnTo>
                    <a:pt x="14" y="37"/>
                  </a:lnTo>
                  <a:lnTo>
                    <a:pt x="24" y="3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115" name="Freeform 67"/>
            <p:cNvSpPr>
              <a:spLocks/>
            </p:cNvSpPr>
            <p:nvPr/>
          </p:nvSpPr>
          <p:spPr bwMode="auto">
            <a:xfrm>
              <a:off x="1265" y="2204"/>
              <a:ext cx="11" cy="17"/>
            </a:xfrm>
            <a:custGeom>
              <a:avLst/>
              <a:gdLst/>
              <a:ahLst/>
              <a:cxnLst>
                <a:cxn ang="0">
                  <a:pos x="34" y="0"/>
                </a:cxn>
                <a:cxn ang="0">
                  <a:pos x="34" y="13"/>
                </a:cxn>
                <a:cxn ang="0">
                  <a:pos x="34" y="25"/>
                </a:cxn>
                <a:cxn ang="0">
                  <a:pos x="33" y="32"/>
                </a:cxn>
                <a:cxn ang="0">
                  <a:pos x="31" y="38"/>
                </a:cxn>
                <a:cxn ang="0">
                  <a:pos x="29" y="43"/>
                </a:cxn>
                <a:cxn ang="0">
                  <a:pos x="24" y="47"/>
                </a:cxn>
                <a:cxn ang="0">
                  <a:pos x="20" y="51"/>
                </a:cxn>
                <a:cxn ang="0">
                  <a:pos x="14" y="53"/>
                </a:cxn>
                <a:cxn ang="0">
                  <a:pos x="8" y="55"/>
                </a:cxn>
                <a:cxn ang="0">
                  <a:pos x="0" y="55"/>
                </a:cxn>
                <a:cxn ang="0">
                  <a:pos x="9" y="36"/>
                </a:cxn>
                <a:cxn ang="0">
                  <a:pos x="14" y="21"/>
                </a:cxn>
                <a:cxn ang="0">
                  <a:pos x="18" y="16"/>
                </a:cxn>
                <a:cxn ang="0">
                  <a:pos x="22" y="10"/>
                </a:cxn>
                <a:cxn ang="0">
                  <a:pos x="28" y="5"/>
                </a:cxn>
                <a:cxn ang="0">
                  <a:pos x="34" y="0"/>
                </a:cxn>
              </a:cxnLst>
              <a:rect l="0" t="0" r="r" b="b"/>
              <a:pathLst>
                <a:path w="34" h="55">
                  <a:moveTo>
                    <a:pt x="34" y="0"/>
                  </a:moveTo>
                  <a:lnTo>
                    <a:pt x="34" y="13"/>
                  </a:lnTo>
                  <a:lnTo>
                    <a:pt x="34" y="25"/>
                  </a:lnTo>
                  <a:lnTo>
                    <a:pt x="33" y="32"/>
                  </a:lnTo>
                  <a:lnTo>
                    <a:pt x="31" y="38"/>
                  </a:lnTo>
                  <a:lnTo>
                    <a:pt x="29" y="43"/>
                  </a:lnTo>
                  <a:lnTo>
                    <a:pt x="24" y="47"/>
                  </a:lnTo>
                  <a:lnTo>
                    <a:pt x="20" y="51"/>
                  </a:lnTo>
                  <a:lnTo>
                    <a:pt x="14" y="53"/>
                  </a:lnTo>
                  <a:lnTo>
                    <a:pt x="8" y="55"/>
                  </a:lnTo>
                  <a:lnTo>
                    <a:pt x="0" y="55"/>
                  </a:lnTo>
                  <a:lnTo>
                    <a:pt x="9" y="36"/>
                  </a:lnTo>
                  <a:lnTo>
                    <a:pt x="14" y="21"/>
                  </a:lnTo>
                  <a:lnTo>
                    <a:pt x="18" y="16"/>
                  </a:lnTo>
                  <a:lnTo>
                    <a:pt x="22" y="10"/>
                  </a:lnTo>
                  <a:lnTo>
                    <a:pt x="28" y="5"/>
                  </a:lnTo>
                  <a:lnTo>
                    <a:pt x="3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116" name="Freeform 68"/>
            <p:cNvSpPr>
              <a:spLocks/>
            </p:cNvSpPr>
            <p:nvPr/>
          </p:nvSpPr>
          <p:spPr bwMode="auto">
            <a:xfrm>
              <a:off x="1285" y="2215"/>
              <a:ext cx="11" cy="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4"/>
                </a:cxn>
                <a:cxn ang="0">
                  <a:pos x="6" y="7"/>
                </a:cxn>
                <a:cxn ang="0">
                  <a:pos x="10" y="9"/>
                </a:cxn>
                <a:cxn ang="0">
                  <a:pos x="14" y="11"/>
                </a:cxn>
                <a:cxn ang="0">
                  <a:pos x="23" y="12"/>
                </a:cxn>
                <a:cxn ang="0">
                  <a:pos x="33" y="12"/>
                </a:cxn>
                <a:cxn ang="0">
                  <a:pos x="28" y="8"/>
                </a:cxn>
                <a:cxn ang="0">
                  <a:pos x="19" y="4"/>
                </a:cxn>
                <a:cxn ang="0">
                  <a:pos x="10" y="1"/>
                </a:cxn>
                <a:cxn ang="0">
                  <a:pos x="0" y="0"/>
                </a:cxn>
              </a:cxnLst>
              <a:rect l="0" t="0" r="r" b="b"/>
              <a:pathLst>
                <a:path w="33" h="12">
                  <a:moveTo>
                    <a:pt x="0" y="0"/>
                  </a:moveTo>
                  <a:lnTo>
                    <a:pt x="2" y="4"/>
                  </a:lnTo>
                  <a:lnTo>
                    <a:pt x="6" y="7"/>
                  </a:lnTo>
                  <a:lnTo>
                    <a:pt x="10" y="9"/>
                  </a:lnTo>
                  <a:lnTo>
                    <a:pt x="14" y="11"/>
                  </a:lnTo>
                  <a:lnTo>
                    <a:pt x="23" y="12"/>
                  </a:lnTo>
                  <a:lnTo>
                    <a:pt x="33" y="12"/>
                  </a:lnTo>
                  <a:lnTo>
                    <a:pt x="28" y="8"/>
                  </a:lnTo>
                  <a:lnTo>
                    <a:pt x="19" y="4"/>
                  </a:lnTo>
                  <a:lnTo>
                    <a:pt x="10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2117" name="Freeform 69"/>
          <p:cNvSpPr>
            <a:spLocks/>
          </p:cNvSpPr>
          <p:nvPr>
            <p:custDataLst>
              <p:tags r:id="rId52"/>
            </p:custDataLst>
          </p:nvPr>
        </p:nvSpPr>
        <p:spPr bwMode="auto">
          <a:xfrm>
            <a:off x="7905750" y="3183736"/>
            <a:ext cx="12700" cy="42863"/>
          </a:xfrm>
          <a:custGeom>
            <a:avLst/>
            <a:gdLst/>
            <a:ahLst/>
            <a:cxnLst>
              <a:cxn ang="0">
                <a:pos x="0" y="62"/>
              </a:cxn>
              <a:cxn ang="0">
                <a:pos x="0" y="53"/>
              </a:cxn>
              <a:cxn ang="0">
                <a:pos x="0" y="45"/>
              </a:cxn>
              <a:cxn ang="0">
                <a:pos x="0" y="37"/>
              </a:cxn>
              <a:cxn ang="0">
                <a:pos x="0" y="31"/>
              </a:cxn>
              <a:cxn ang="0">
                <a:pos x="0" y="26"/>
              </a:cxn>
              <a:cxn ang="0">
                <a:pos x="2" y="22"/>
              </a:cxn>
              <a:cxn ang="0">
                <a:pos x="4" y="17"/>
              </a:cxn>
              <a:cxn ang="0">
                <a:pos x="8" y="13"/>
              </a:cxn>
              <a:cxn ang="0">
                <a:pos x="14" y="6"/>
              </a:cxn>
              <a:cxn ang="0">
                <a:pos x="20" y="0"/>
              </a:cxn>
              <a:cxn ang="0">
                <a:pos x="26" y="6"/>
              </a:cxn>
              <a:cxn ang="0">
                <a:pos x="33" y="13"/>
              </a:cxn>
            </a:cxnLst>
            <a:rect l="0" t="0" r="r" b="b"/>
            <a:pathLst>
              <a:path w="33" h="62">
                <a:moveTo>
                  <a:pt x="0" y="62"/>
                </a:moveTo>
                <a:lnTo>
                  <a:pt x="0" y="53"/>
                </a:lnTo>
                <a:lnTo>
                  <a:pt x="0" y="45"/>
                </a:lnTo>
                <a:lnTo>
                  <a:pt x="0" y="37"/>
                </a:lnTo>
                <a:lnTo>
                  <a:pt x="0" y="31"/>
                </a:lnTo>
                <a:lnTo>
                  <a:pt x="0" y="26"/>
                </a:lnTo>
                <a:lnTo>
                  <a:pt x="2" y="22"/>
                </a:lnTo>
                <a:lnTo>
                  <a:pt x="4" y="17"/>
                </a:lnTo>
                <a:lnTo>
                  <a:pt x="8" y="13"/>
                </a:lnTo>
                <a:lnTo>
                  <a:pt x="14" y="6"/>
                </a:lnTo>
                <a:lnTo>
                  <a:pt x="20" y="0"/>
                </a:lnTo>
                <a:lnTo>
                  <a:pt x="26" y="6"/>
                </a:lnTo>
                <a:lnTo>
                  <a:pt x="33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118" name="Freeform 70"/>
          <p:cNvSpPr>
            <a:spLocks/>
          </p:cNvSpPr>
          <p:nvPr>
            <p:custDataLst>
              <p:tags r:id="rId53"/>
            </p:custDataLst>
          </p:nvPr>
        </p:nvSpPr>
        <p:spPr bwMode="auto">
          <a:xfrm>
            <a:off x="7915282" y="3251606"/>
            <a:ext cx="9525" cy="44053"/>
          </a:xfrm>
          <a:custGeom>
            <a:avLst/>
            <a:gdLst/>
            <a:ahLst/>
            <a:cxnLst>
              <a:cxn ang="0">
                <a:pos x="0" y="18"/>
              </a:cxn>
              <a:cxn ang="0">
                <a:pos x="0" y="0"/>
              </a:cxn>
              <a:cxn ang="0">
                <a:pos x="26" y="0"/>
              </a:cxn>
              <a:cxn ang="0">
                <a:pos x="6" y="12"/>
              </a:cxn>
              <a:cxn ang="0">
                <a:pos x="6" y="6"/>
              </a:cxn>
            </a:cxnLst>
            <a:rect l="0" t="0" r="r" b="b"/>
            <a:pathLst>
              <a:path w="26" h="18">
                <a:moveTo>
                  <a:pt x="0" y="18"/>
                </a:moveTo>
                <a:lnTo>
                  <a:pt x="0" y="0"/>
                </a:lnTo>
                <a:lnTo>
                  <a:pt x="26" y="0"/>
                </a:lnTo>
                <a:lnTo>
                  <a:pt x="6" y="12"/>
                </a:lnTo>
                <a:lnTo>
                  <a:pt x="6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119" name="Freeform 71"/>
          <p:cNvSpPr>
            <a:spLocks/>
          </p:cNvSpPr>
          <p:nvPr>
            <p:custDataLst>
              <p:tags r:id="rId54"/>
            </p:custDataLst>
          </p:nvPr>
        </p:nvSpPr>
        <p:spPr bwMode="auto">
          <a:xfrm>
            <a:off x="8029575" y="3183741"/>
            <a:ext cx="77788" cy="97631"/>
          </a:xfrm>
          <a:custGeom>
            <a:avLst/>
            <a:gdLst/>
            <a:ahLst/>
            <a:cxnLst>
              <a:cxn ang="0">
                <a:pos x="180" y="222"/>
              </a:cxn>
              <a:cxn ang="0">
                <a:pos x="175" y="223"/>
              </a:cxn>
              <a:cxn ang="0">
                <a:pos x="171" y="223"/>
              </a:cxn>
              <a:cxn ang="0">
                <a:pos x="167" y="225"/>
              </a:cxn>
              <a:cxn ang="0">
                <a:pos x="164" y="227"/>
              </a:cxn>
              <a:cxn ang="0">
                <a:pos x="158" y="232"/>
              </a:cxn>
              <a:cxn ang="0">
                <a:pos x="153" y="240"/>
              </a:cxn>
              <a:cxn ang="0">
                <a:pos x="140" y="232"/>
              </a:cxn>
              <a:cxn ang="0">
                <a:pos x="131" y="223"/>
              </a:cxn>
              <a:cxn ang="0">
                <a:pos x="123" y="214"/>
              </a:cxn>
              <a:cxn ang="0">
                <a:pos x="118" y="206"/>
              </a:cxn>
              <a:cxn ang="0">
                <a:pos x="112" y="195"/>
              </a:cxn>
              <a:cxn ang="0">
                <a:pos x="106" y="185"/>
              </a:cxn>
              <a:cxn ang="0">
                <a:pos x="98" y="174"/>
              </a:cxn>
              <a:cxn ang="0">
                <a:pos x="87" y="161"/>
              </a:cxn>
              <a:cxn ang="0">
                <a:pos x="82" y="153"/>
              </a:cxn>
              <a:cxn ang="0">
                <a:pos x="75" y="146"/>
              </a:cxn>
              <a:cxn ang="0">
                <a:pos x="70" y="139"/>
              </a:cxn>
              <a:cxn ang="0">
                <a:pos x="62" y="133"/>
              </a:cxn>
              <a:cxn ang="0">
                <a:pos x="48" y="121"/>
              </a:cxn>
              <a:cxn ang="0">
                <a:pos x="33" y="110"/>
              </a:cxn>
              <a:cxn ang="0">
                <a:pos x="27" y="104"/>
              </a:cxn>
              <a:cxn ang="0">
                <a:pos x="21" y="98"/>
              </a:cxn>
              <a:cxn ang="0">
                <a:pos x="15" y="92"/>
              </a:cxn>
              <a:cxn ang="0">
                <a:pos x="10" y="84"/>
              </a:cxn>
              <a:cxn ang="0">
                <a:pos x="6" y="77"/>
              </a:cxn>
              <a:cxn ang="0">
                <a:pos x="4" y="68"/>
              </a:cxn>
              <a:cxn ang="0">
                <a:pos x="1" y="60"/>
              </a:cxn>
              <a:cxn ang="0">
                <a:pos x="0" y="50"/>
              </a:cxn>
              <a:cxn ang="0">
                <a:pos x="0" y="35"/>
              </a:cxn>
              <a:cxn ang="0">
                <a:pos x="0" y="25"/>
              </a:cxn>
              <a:cxn ang="0">
                <a:pos x="0" y="15"/>
              </a:cxn>
              <a:cxn ang="0">
                <a:pos x="0" y="0"/>
              </a:cxn>
              <a:cxn ang="0">
                <a:pos x="10" y="8"/>
              </a:cxn>
              <a:cxn ang="0">
                <a:pos x="19" y="17"/>
              </a:cxn>
              <a:cxn ang="0">
                <a:pos x="27" y="27"/>
              </a:cxn>
              <a:cxn ang="0">
                <a:pos x="34" y="38"/>
              </a:cxn>
              <a:cxn ang="0">
                <a:pos x="41" y="48"/>
              </a:cxn>
              <a:cxn ang="0">
                <a:pos x="46" y="58"/>
              </a:cxn>
              <a:cxn ang="0">
                <a:pos x="51" y="66"/>
              </a:cxn>
              <a:cxn ang="0">
                <a:pos x="54" y="74"/>
              </a:cxn>
              <a:cxn ang="0">
                <a:pos x="60" y="86"/>
              </a:cxn>
              <a:cxn ang="0">
                <a:pos x="66" y="98"/>
              </a:cxn>
              <a:cxn ang="0">
                <a:pos x="74" y="107"/>
              </a:cxn>
              <a:cxn ang="0">
                <a:pos x="82" y="116"/>
              </a:cxn>
              <a:cxn ang="0">
                <a:pos x="100" y="133"/>
              </a:cxn>
              <a:cxn ang="0">
                <a:pos x="119" y="149"/>
              </a:cxn>
              <a:cxn ang="0">
                <a:pos x="139" y="164"/>
              </a:cxn>
              <a:cxn ang="0">
                <a:pos x="155" y="180"/>
              </a:cxn>
              <a:cxn ang="0">
                <a:pos x="163" y="189"/>
              </a:cxn>
              <a:cxn ang="0">
                <a:pos x="169" y="199"/>
              </a:cxn>
              <a:cxn ang="0">
                <a:pos x="175" y="210"/>
              </a:cxn>
              <a:cxn ang="0">
                <a:pos x="180" y="222"/>
              </a:cxn>
            </a:cxnLst>
            <a:rect l="0" t="0" r="r" b="b"/>
            <a:pathLst>
              <a:path w="180" h="240">
                <a:moveTo>
                  <a:pt x="180" y="222"/>
                </a:moveTo>
                <a:lnTo>
                  <a:pt x="175" y="223"/>
                </a:lnTo>
                <a:lnTo>
                  <a:pt x="171" y="223"/>
                </a:lnTo>
                <a:lnTo>
                  <a:pt x="167" y="225"/>
                </a:lnTo>
                <a:lnTo>
                  <a:pt x="164" y="227"/>
                </a:lnTo>
                <a:lnTo>
                  <a:pt x="158" y="232"/>
                </a:lnTo>
                <a:lnTo>
                  <a:pt x="153" y="240"/>
                </a:lnTo>
                <a:lnTo>
                  <a:pt x="140" y="232"/>
                </a:lnTo>
                <a:lnTo>
                  <a:pt x="131" y="223"/>
                </a:lnTo>
                <a:lnTo>
                  <a:pt x="123" y="214"/>
                </a:lnTo>
                <a:lnTo>
                  <a:pt x="118" y="206"/>
                </a:lnTo>
                <a:lnTo>
                  <a:pt x="112" y="195"/>
                </a:lnTo>
                <a:lnTo>
                  <a:pt x="106" y="185"/>
                </a:lnTo>
                <a:lnTo>
                  <a:pt x="98" y="174"/>
                </a:lnTo>
                <a:lnTo>
                  <a:pt x="87" y="161"/>
                </a:lnTo>
                <a:lnTo>
                  <a:pt x="82" y="153"/>
                </a:lnTo>
                <a:lnTo>
                  <a:pt x="75" y="146"/>
                </a:lnTo>
                <a:lnTo>
                  <a:pt x="70" y="139"/>
                </a:lnTo>
                <a:lnTo>
                  <a:pt x="62" y="133"/>
                </a:lnTo>
                <a:lnTo>
                  <a:pt x="48" y="121"/>
                </a:lnTo>
                <a:lnTo>
                  <a:pt x="33" y="110"/>
                </a:lnTo>
                <a:lnTo>
                  <a:pt x="27" y="104"/>
                </a:lnTo>
                <a:lnTo>
                  <a:pt x="21" y="98"/>
                </a:lnTo>
                <a:lnTo>
                  <a:pt x="15" y="92"/>
                </a:lnTo>
                <a:lnTo>
                  <a:pt x="10" y="84"/>
                </a:lnTo>
                <a:lnTo>
                  <a:pt x="6" y="77"/>
                </a:lnTo>
                <a:lnTo>
                  <a:pt x="4" y="68"/>
                </a:lnTo>
                <a:lnTo>
                  <a:pt x="1" y="60"/>
                </a:lnTo>
                <a:lnTo>
                  <a:pt x="0" y="50"/>
                </a:lnTo>
                <a:lnTo>
                  <a:pt x="0" y="35"/>
                </a:lnTo>
                <a:lnTo>
                  <a:pt x="0" y="25"/>
                </a:lnTo>
                <a:lnTo>
                  <a:pt x="0" y="15"/>
                </a:lnTo>
                <a:lnTo>
                  <a:pt x="0" y="0"/>
                </a:lnTo>
                <a:lnTo>
                  <a:pt x="10" y="8"/>
                </a:lnTo>
                <a:lnTo>
                  <a:pt x="19" y="17"/>
                </a:lnTo>
                <a:lnTo>
                  <a:pt x="27" y="27"/>
                </a:lnTo>
                <a:lnTo>
                  <a:pt x="34" y="38"/>
                </a:lnTo>
                <a:lnTo>
                  <a:pt x="41" y="48"/>
                </a:lnTo>
                <a:lnTo>
                  <a:pt x="46" y="58"/>
                </a:lnTo>
                <a:lnTo>
                  <a:pt x="51" y="66"/>
                </a:lnTo>
                <a:lnTo>
                  <a:pt x="54" y="74"/>
                </a:lnTo>
                <a:lnTo>
                  <a:pt x="60" y="86"/>
                </a:lnTo>
                <a:lnTo>
                  <a:pt x="66" y="98"/>
                </a:lnTo>
                <a:lnTo>
                  <a:pt x="74" y="107"/>
                </a:lnTo>
                <a:lnTo>
                  <a:pt x="82" y="116"/>
                </a:lnTo>
                <a:lnTo>
                  <a:pt x="100" y="133"/>
                </a:lnTo>
                <a:lnTo>
                  <a:pt x="119" y="149"/>
                </a:lnTo>
                <a:lnTo>
                  <a:pt x="139" y="164"/>
                </a:lnTo>
                <a:lnTo>
                  <a:pt x="155" y="180"/>
                </a:lnTo>
                <a:lnTo>
                  <a:pt x="163" y="189"/>
                </a:lnTo>
                <a:lnTo>
                  <a:pt x="169" y="199"/>
                </a:lnTo>
                <a:lnTo>
                  <a:pt x="175" y="210"/>
                </a:lnTo>
                <a:lnTo>
                  <a:pt x="180" y="22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120" name="Freeform 72"/>
          <p:cNvSpPr>
            <a:spLocks/>
          </p:cNvSpPr>
          <p:nvPr>
            <p:custDataLst>
              <p:tags r:id="rId55"/>
            </p:custDataLst>
          </p:nvPr>
        </p:nvSpPr>
        <p:spPr bwMode="auto">
          <a:xfrm>
            <a:off x="8029575" y="3163495"/>
            <a:ext cx="14288" cy="4286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" y="5"/>
              </a:cxn>
              <a:cxn ang="0">
                <a:pos x="3" y="11"/>
              </a:cxn>
              <a:cxn ang="0">
                <a:pos x="4" y="14"/>
              </a:cxn>
              <a:cxn ang="0">
                <a:pos x="4" y="19"/>
              </a:cxn>
              <a:cxn ang="0">
                <a:pos x="3" y="24"/>
              </a:cxn>
              <a:cxn ang="0">
                <a:pos x="0" y="30"/>
              </a:cxn>
              <a:cxn ang="0">
                <a:pos x="17" y="27"/>
              </a:cxn>
              <a:cxn ang="0">
                <a:pos x="27" y="24"/>
              </a:cxn>
              <a:cxn ang="0">
                <a:pos x="23" y="20"/>
              </a:cxn>
              <a:cxn ang="0">
                <a:pos x="17" y="12"/>
              </a:cxn>
              <a:cxn ang="0">
                <a:pos x="11" y="8"/>
              </a:cxn>
              <a:cxn ang="0">
                <a:pos x="7" y="4"/>
              </a:cxn>
              <a:cxn ang="0">
                <a:pos x="4" y="1"/>
              </a:cxn>
              <a:cxn ang="0">
                <a:pos x="0" y="0"/>
              </a:cxn>
            </a:cxnLst>
            <a:rect l="0" t="0" r="r" b="b"/>
            <a:pathLst>
              <a:path w="27" h="30">
                <a:moveTo>
                  <a:pt x="0" y="0"/>
                </a:moveTo>
                <a:lnTo>
                  <a:pt x="1" y="5"/>
                </a:lnTo>
                <a:lnTo>
                  <a:pt x="3" y="11"/>
                </a:lnTo>
                <a:lnTo>
                  <a:pt x="4" y="14"/>
                </a:lnTo>
                <a:lnTo>
                  <a:pt x="4" y="19"/>
                </a:lnTo>
                <a:lnTo>
                  <a:pt x="3" y="24"/>
                </a:lnTo>
                <a:lnTo>
                  <a:pt x="0" y="30"/>
                </a:lnTo>
                <a:lnTo>
                  <a:pt x="17" y="27"/>
                </a:lnTo>
                <a:lnTo>
                  <a:pt x="27" y="24"/>
                </a:lnTo>
                <a:lnTo>
                  <a:pt x="23" y="20"/>
                </a:lnTo>
                <a:lnTo>
                  <a:pt x="17" y="12"/>
                </a:lnTo>
                <a:lnTo>
                  <a:pt x="11" y="8"/>
                </a:lnTo>
                <a:lnTo>
                  <a:pt x="7" y="4"/>
                </a:lnTo>
                <a:lnTo>
                  <a:pt x="4" y="1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grpSp>
        <p:nvGrpSpPr>
          <p:cNvPr id="5" name="Group 73"/>
          <p:cNvGrpSpPr>
            <a:grpSpLocks/>
          </p:cNvGrpSpPr>
          <p:nvPr>
            <p:custDataLst>
              <p:tags r:id="rId56"/>
            </p:custDataLst>
          </p:nvPr>
        </p:nvGrpSpPr>
        <p:grpSpPr bwMode="auto">
          <a:xfrm>
            <a:off x="7720020" y="3554018"/>
            <a:ext cx="458787" cy="303609"/>
            <a:chOff x="5372" y="3323"/>
            <a:chExt cx="341" cy="253"/>
          </a:xfrm>
          <a:solidFill>
            <a:srgbClr val="0070C0"/>
          </a:solidFill>
        </p:grpSpPr>
        <p:sp>
          <p:nvSpPr>
            <p:cNvPr id="2122" name="Freeform 74"/>
            <p:cNvSpPr>
              <a:spLocks/>
            </p:cNvSpPr>
            <p:nvPr/>
          </p:nvSpPr>
          <p:spPr bwMode="auto">
            <a:xfrm>
              <a:off x="5372" y="3565"/>
              <a:ext cx="16" cy="11"/>
            </a:xfrm>
            <a:custGeom>
              <a:avLst/>
              <a:gdLst/>
              <a:ahLst/>
              <a:cxnLst>
                <a:cxn ang="0">
                  <a:pos x="0" y="31"/>
                </a:cxn>
                <a:cxn ang="0">
                  <a:pos x="4" y="26"/>
                </a:cxn>
                <a:cxn ang="0">
                  <a:pos x="8" y="21"/>
                </a:cxn>
                <a:cxn ang="0">
                  <a:pos x="15" y="16"/>
                </a:cxn>
                <a:cxn ang="0">
                  <a:pos x="21" y="11"/>
                </a:cxn>
                <a:cxn ang="0">
                  <a:pos x="29" y="7"/>
                </a:cxn>
                <a:cxn ang="0">
                  <a:pos x="38" y="3"/>
                </a:cxn>
                <a:cxn ang="0">
                  <a:pos x="45" y="1"/>
                </a:cxn>
                <a:cxn ang="0">
                  <a:pos x="53" y="0"/>
                </a:cxn>
                <a:cxn ang="0">
                  <a:pos x="53" y="18"/>
                </a:cxn>
                <a:cxn ang="0">
                  <a:pos x="38" y="24"/>
                </a:cxn>
                <a:cxn ang="0">
                  <a:pos x="27" y="30"/>
                </a:cxn>
                <a:cxn ang="0">
                  <a:pos x="21" y="32"/>
                </a:cxn>
                <a:cxn ang="0">
                  <a:pos x="16" y="33"/>
                </a:cxn>
                <a:cxn ang="0">
                  <a:pos x="9" y="33"/>
                </a:cxn>
                <a:cxn ang="0">
                  <a:pos x="0" y="31"/>
                </a:cxn>
              </a:cxnLst>
              <a:rect l="0" t="0" r="r" b="b"/>
              <a:pathLst>
                <a:path w="53" h="33">
                  <a:moveTo>
                    <a:pt x="0" y="31"/>
                  </a:moveTo>
                  <a:lnTo>
                    <a:pt x="4" y="26"/>
                  </a:lnTo>
                  <a:lnTo>
                    <a:pt x="8" y="21"/>
                  </a:lnTo>
                  <a:lnTo>
                    <a:pt x="15" y="16"/>
                  </a:lnTo>
                  <a:lnTo>
                    <a:pt x="21" y="11"/>
                  </a:lnTo>
                  <a:lnTo>
                    <a:pt x="29" y="7"/>
                  </a:lnTo>
                  <a:lnTo>
                    <a:pt x="38" y="3"/>
                  </a:lnTo>
                  <a:lnTo>
                    <a:pt x="45" y="1"/>
                  </a:lnTo>
                  <a:lnTo>
                    <a:pt x="53" y="0"/>
                  </a:lnTo>
                  <a:lnTo>
                    <a:pt x="53" y="18"/>
                  </a:lnTo>
                  <a:lnTo>
                    <a:pt x="38" y="24"/>
                  </a:lnTo>
                  <a:lnTo>
                    <a:pt x="27" y="30"/>
                  </a:lnTo>
                  <a:lnTo>
                    <a:pt x="21" y="32"/>
                  </a:lnTo>
                  <a:lnTo>
                    <a:pt x="16" y="33"/>
                  </a:lnTo>
                  <a:lnTo>
                    <a:pt x="9" y="33"/>
                  </a:lnTo>
                  <a:lnTo>
                    <a:pt x="0" y="3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123" name="Freeform 75"/>
            <p:cNvSpPr>
              <a:spLocks/>
            </p:cNvSpPr>
            <p:nvPr/>
          </p:nvSpPr>
          <p:spPr bwMode="auto">
            <a:xfrm>
              <a:off x="5379" y="3446"/>
              <a:ext cx="202" cy="117"/>
            </a:xfrm>
            <a:custGeom>
              <a:avLst/>
              <a:gdLst/>
              <a:ahLst/>
              <a:cxnLst>
                <a:cxn ang="0">
                  <a:pos x="24" y="296"/>
                </a:cxn>
                <a:cxn ang="0">
                  <a:pos x="50" y="290"/>
                </a:cxn>
                <a:cxn ang="0">
                  <a:pos x="65" y="277"/>
                </a:cxn>
                <a:cxn ang="0">
                  <a:pos x="79" y="253"/>
                </a:cxn>
                <a:cxn ang="0">
                  <a:pos x="100" y="256"/>
                </a:cxn>
                <a:cxn ang="0">
                  <a:pos x="126" y="253"/>
                </a:cxn>
                <a:cxn ang="0">
                  <a:pos x="141" y="247"/>
                </a:cxn>
                <a:cxn ang="0">
                  <a:pos x="162" y="229"/>
                </a:cxn>
                <a:cxn ang="0">
                  <a:pos x="180" y="208"/>
                </a:cxn>
                <a:cxn ang="0">
                  <a:pos x="211" y="192"/>
                </a:cxn>
                <a:cxn ang="0">
                  <a:pos x="260" y="175"/>
                </a:cxn>
                <a:cxn ang="0">
                  <a:pos x="329" y="152"/>
                </a:cxn>
                <a:cxn ang="0">
                  <a:pos x="361" y="137"/>
                </a:cxn>
                <a:cxn ang="0">
                  <a:pos x="392" y="130"/>
                </a:cxn>
                <a:cxn ang="0">
                  <a:pos x="406" y="127"/>
                </a:cxn>
                <a:cxn ang="0">
                  <a:pos x="440" y="107"/>
                </a:cxn>
                <a:cxn ang="0">
                  <a:pos x="469" y="80"/>
                </a:cxn>
                <a:cxn ang="0">
                  <a:pos x="478" y="63"/>
                </a:cxn>
                <a:cxn ang="0">
                  <a:pos x="504" y="58"/>
                </a:cxn>
                <a:cxn ang="0">
                  <a:pos x="537" y="36"/>
                </a:cxn>
                <a:cxn ang="0">
                  <a:pos x="568" y="11"/>
                </a:cxn>
                <a:cxn ang="0">
                  <a:pos x="591" y="0"/>
                </a:cxn>
                <a:cxn ang="0">
                  <a:pos x="602" y="22"/>
                </a:cxn>
                <a:cxn ang="0">
                  <a:pos x="617" y="30"/>
                </a:cxn>
                <a:cxn ang="0">
                  <a:pos x="625" y="46"/>
                </a:cxn>
                <a:cxn ang="0">
                  <a:pos x="601" y="88"/>
                </a:cxn>
                <a:cxn ang="0">
                  <a:pos x="568" y="125"/>
                </a:cxn>
                <a:cxn ang="0">
                  <a:pos x="529" y="154"/>
                </a:cxn>
                <a:cxn ang="0">
                  <a:pos x="487" y="173"/>
                </a:cxn>
                <a:cxn ang="0">
                  <a:pos x="445" y="180"/>
                </a:cxn>
                <a:cxn ang="0">
                  <a:pos x="438" y="197"/>
                </a:cxn>
                <a:cxn ang="0">
                  <a:pos x="433" y="200"/>
                </a:cxn>
                <a:cxn ang="0">
                  <a:pos x="395" y="199"/>
                </a:cxn>
                <a:cxn ang="0">
                  <a:pos x="367" y="210"/>
                </a:cxn>
                <a:cxn ang="0">
                  <a:pos x="347" y="212"/>
                </a:cxn>
                <a:cxn ang="0">
                  <a:pos x="338" y="204"/>
                </a:cxn>
                <a:cxn ang="0">
                  <a:pos x="313" y="241"/>
                </a:cxn>
                <a:cxn ang="0">
                  <a:pos x="272" y="280"/>
                </a:cxn>
                <a:cxn ang="0">
                  <a:pos x="220" y="315"/>
                </a:cxn>
                <a:cxn ang="0">
                  <a:pos x="164" y="343"/>
                </a:cxn>
                <a:cxn ang="0">
                  <a:pos x="110" y="357"/>
                </a:cxn>
                <a:cxn ang="0">
                  <a:pos x="71" y="356"/>
                </a:cxn>
                <a:cxn ang="0">
                  <a:pos x="56" y="348"/>
                </a:cxn>
                <a:cxn ang="0">
                  <a:pos x="33" y="340"/>
                </a:cxn>
              </a:cxnLst>
              <a:rect l="0" t="0" r="r" b="b"/>
              <a:pathLst>
                <a:path w="631" h="358">
                  <a:moveTo>
                    <a:pt x="0" y="327"/>
                  </a:moveTo>
                  <a:lnTo>
                    <a:pt x="7" y="297"/>
                  </a:lnTo>
                  <a:lnTo>
                    <a:pt x="24" y="296"/>
                  </a:lnTo>
                  <a:lnTo>
                    <a:pt x="39" y="293"/>
                  </a:lnTo>
                  <a:lnTo>
                    <a:pt x="44" y="292"/>
                  </a:lnTo>
                  <a:lnTo>
                    <a:pt x="50" y="290"/>
                  </a:lnTo>
                  <a:lnTo>
                    <a:pt x="54" y="287"/>
                  </a:lnTo>
                  <a:lnTo>
                    <a:pt x="58" y="285"/>
                  </a:lnTo>
                  <a:lnTo>
                    <a:pt x="65" y="277"/>
                  </a:lnTo>
                  <a:lnTo>
                    <a:pt x="70" y="270"/>
                  </a:lnTo>
                  <a:lnTo>
                    <a:pt x="75" y="262"/>
                  </a:lnTo>
                  <a:lnTo>
                    <a:pt x="79" y="253"/>
                  </a:lnTo>
                  <a:lnTo>
                    <a:pt x="87" y="255"/>
                  </a:lnTo>
                  <a:lnTo>
                    <a:pt x="93" y="256"/>
                  </a:lnTo>
                  <a:lnTo>
                    <a:pt x="100" y="256"/>
                  </a:lnTo>
                  <a:lnTo>
                    <a:pt x="106" y="256"/>
                  </a:lnTo>
                  <a:lnTo>
                    <a:pt x="116" y="254"/>
                  </a:lnTo>
                  <a:lnTo>
                    <a:pt x="126" y="253"/>
                  </a:lnTo>
                  <a:lnTo>
                    <a:pt x="131" y="252"/>
                  </a:lnTo>
                  <a:lnTo>
                    <a:pt x="136" y="250"/>
                  </a:lnTo>
                  <a:lnTo>
                    <a:pt x="141" y="247"/>
                  </a:lnTo>
                  <a:lnTo>
                    <a:pt x="145" y="244"/>
                  </a:lnTo>
                  <a:lnTo>
                    <a:pt x="153" y="237"/>
                  </a:lnTo>
                  <a:lnTo>
                    <a:pt x="162" y="229"/>
                  </a:lnTo>
                  <a:lnTo>
                    <a:pt x="168" y="220"/>
                  </a:lnTo>
                  <a:lnTo>
                    <a:pt x="175" y="213"/>
                  </a:lnTo>
                  <a:lnTo>
                    <a:pt x="180" y="208"/>
                  </a:lnTo>
                  <a:lnTo>
                    <a:pt x="186" y="204"/>
                  </a:lnTo>
                  <a:lnTo>
                    <a:pt x="199" y="198"/>
                  </a:lnTo>
                  <a:lnTo>
                    <a:pt x="211" y="192"/>
                  </a:lnTo>
                  <a:lnTo>
                    <a:pt x="223" y="187"/>
                  </a:lnTo>
                  <a:lnTo>
                    <a:pt x="235" y="182"/>
                  </a:lnTo>
                  <a:lnTo>
                    <a:pt x="260" y="175"/>
                  </a:lnTo>
                  <a:lnTo>
                    <a:pt x="283" y="167"/>
                  </a:lnTo>
                  <a:lnTo>
                    <a:pt x="308" y="160"/>
                  </a:lnTo>
                  <a:lnTo>
                    <a:pt x="329" y="152"/>
                  </a:lnTo>
                  <a:lnTo>
                    <a:pt x="340" y="147"/>
                  </a:lnTo>
                  <a:lnTo>
                    <a:pt x="351" y="142"/>
                  </a:lnTo>
                  <a:lnTo>
                    <a:pt x="361" y="137"/>
                  </a:lnTo>
                  <a:lnTo>
                    <a:pt x="372" y="130"/>
                  </a:lnTo>
                  <a:lnTo>
                    <a:pt x="382" y="130"/>
                  </a:lnTo>
                  <a:lnTo>
                    <a:pt x="392" y="130"/>
                  </a:lnTo>
                  <a:lnTo>
                    <a:pt x="396" y="130"/>
                  </a:lnTo>
                  <a:lnTo>
                    <a:pt x="401" y="129"/>
                  </a:lnTo>
                  <a:lnTo>
                    <a:pt x="406" y="127"/>
                  </a:lnTo>
                  <a:lnTo>
                    <a:pt x="413" y="124"/>
                  </a:lnTo>
                  <a:lnTo>
                    <a:pt x="426" y="117"/>
                  </a:lnTo>
                  <a:lnTo>
                    <a:pt x="440" y="107"/>
                  </a:lnTo>
                  <a:lnTo>
                    <a:pt x="454" y="97"/>
                  </a:lnTo>
                  <a:lnTo>
                    <a:pt x="465" y="86"/>
                  </a:lnTo>
                  <a:lnTo>
                    <a:pt x="469" y="80"/>
                  </a:lnTo>
                  <a:lnTo>
                    <a:pt x="473" y="74"/>
                  </a:lnTo>
                  <a:lnTo>
                    <a:pt x="477" y="69"/>
                  </a:lnTo>
                  <a:lnTo>
                    <a:pt x="478" y="63"/>
                  </a:lnTo>
                  <a:lnTo>
                    <a:pt x="488" y="62"/>
                  </a:lnTo>
                  <a:lnTo>
                    <a:pt x="496" y="61"/>
                  </a:lnTo>
                  <a:lnTo>
                    <a:pt x="504" y="58"/>
                  </a:lnTo>
                  <a:lnTo>
                    <a:pt x="512" y="54"/>
                  </a:lnTo>
                  <a:lnTo>
                    <a:pt x="525" y="46"/>
                  </a:lnTo>
                  <a:lnTo>
                    <a:pt x="537" y="36"/>
                  </a:lnTo>
                  <a:lnTo>
                    <a:pt x="549" y="26"/>
                  </a:lnTo>
                  <a:lnTo>
                    <a:pt x="561" y="16"/>
                  </a:lnTo>
                  <a:lnTo>
                    <a:pt x="568" y="11"/>
                  </a:lnTo>
                  <a:lnTo>
                    <a:pt x="575" y="7"/>
                  </a:lnTo>
                  <a:lnTo>
                    <a:pt x="583" y="4"/>
                  </a:lnTo>
                  <a:lnTo>
                    <a:pt x="591" y="0"/>
                  </a:lnTo>
                  <a:lnTo>
                    <a:pt x="594" y="10"/>
                  </a:lnTo>
                  <a:lnTo>
                    <a:pt x="597" y="16"/>
                  </a:lnTo>
                  <a:lnTo>
                    <a:pt x="602" y="22"/>
                  </a:lnTo>
                  <a:lnTo>
                    <a:pt x="606" y="25"/>
                  </a:lnTo>
                  <a:lnTo>
                    <a:pt x="612" y="28"/>
                  </a:lnTo>
                  <a:lnTo>
                    <a:pt x="617" y="30"/>
                  </a:lnTo>
                  <a:lnTo>
                    <a:pt x="624" y="31"/>
                  </a:lnTo>
                  <a:lnTo>
                    <a:pt x="631" y="31"/>
                  </a:lnTo>
                  <a:lnTo>
                    <a:pt x="625" y="46"/>
                  </a:lnTo>
                  <a:lnTo>
                    <a:pt x="618" y="61"/>
                  </a:lnTo>
                  <a:lnTo>
                    <a:pt x="611" y="75"/>
                  </a:lnTo>
                  <a:lnTo>
                    <a:pt x="601" y="88"/>
                  </a:lnTo>
                  <a:lnTo>
                    <a:pt x="591" y="101"/>
                  </a:lnTo>
                  <a:lnTo>
                    <a:pt x="580" y="114"/>
                  </a:lnTo>
                  <a:lnTo>
                    <a:pt x="568" y="125"/>
                  </a:lnTo>
                  <a:lnTo>
                    <a:pt x="556" y="136"/>
                  </a:lnTo>
                  <a:lnTo>
                    <a:pt x="543" y="145"/>
                  </a:lnTo>
                  <a:lnTo>
                    <a:pt x="529" y="154"/>
                  </a:lnTo>
                  <a:lnTo>
                    <a:pt x="515" y="161"/>
                  </a:lnTo>
                  <a:lnTo>
                    <a:pt x="501" y="167"/>
                  </a:lnTo>
                  <a:lnTo>
                    <a:pt x="487" y="173"/>
                  </a:lnTo>
                  <a:lnTo>
                    <a:pt x="473" y="177"/>
                  </a:lnTo>
                  <a:lnTo>
                    <a:pt x="459" y="179"/>
                  </a:lnTo>
                  <a:lnTo>
                    <a:pt x="445" y="180"/>
                  </a:lnTo>
                  <a:lnTo>
                    <a:pt x="443" y="189"/>
                  </a:lnTo>
                  <a:lnTo>
                    <a:pt x="439" y="195"/>
                  </a:lnTo>
                  <a:lnTo>
                    <a:pt x="438" y="197"/>
                  </a:lnTo>
                  <a:lnTo>
                    <a:pt x="436" y="199"/>
                  </a:lnTo>
                  <a:lnTo>
                    <a:pt x="435" y="200"/>
                  </a:lnTo>
                  <a:lnTo>
                    <a:pt x="433" y="200"/>
                  </a:lnTo>
                  <a:lnTo>
                    <a:pt x="422" y="199"/>
                  </a:lnTo>
                  <a:lnTo>
                    <a:pt x="405" y="198"/>
                  </a:lnTo>
                  <a:lnTo>
                    <a:pt x="395" y="199"/>
                  </a:lnTo>
                  <a:lnTo>
                    <a:pt x="385" y="202"/>
                  </a:lnTo>
                  <a:lnTo>
                    <a:pt x="376" y="206"/>
                  </a:lnTo>
                  <a:lnTo>
                    <a:pt x="367" y="210"/>
                  </a:lnTo>
                  <a:lnTo>
                    <a:pt x="358" y="213"/>
                  </a:lnTo>
                  <a:lnTo>
                    <a:pt x="351" y="213"/>
                  </a:lnTo>
                  <a:lnTo>
                    <a:pt x="347" y="212"/>
                  </a:lnTo>
                  <a:lnTo>
                    <a:pt x="344" y="211"/>
                  </a:lnTo>
                  <a:lnTo>
                    <a:pt x="342" y="208"/>
                  </a:lnTo>
                  <a:lnTo>
                    <a:pt x="338" y="204"/>
                  </a:lnTo>
                  <a:lnTo>
                    <a:pt x="333" y="216"/>
                  </a:lnTo>
                  <a:lnTo>
                    <a:pt x="324" y="229"/>
                  </a:lnTo>
                  <a:lnTo>
                    <a:pt x="313" y="241"/>
                  </a:lnTo>
                  <a:lnTo>
                    <a:pt x="301" y="254"/>
                  </a:lnTo>
                  <a:lnTo>
                    <a:pt x="288" y="267"/>
                  </a:lnTo>
                  <a:lnTo>
                    <a:pt x="272" y="280"/>
                  </a:lnTo>
                  <a:lnTo>
                    <a:pt x="256" y="293"/>
                  </a:lnTo>
                  <a:lnTo>
                    <a:pt x="238" y="304"/>
                  </a:lnTo>
                  <a:lnTo>
                    <a:pt x="220" y="315"/>
                  </a:lnTo>
                  <a:lnTo>
                    <a:pt x="202" y="325"/>
                  </a:lnTo>
                  <a:lnTo>
                    <a:pt x="182" y="334"/>
                  </a:lnTo>
                  <a:lnTo>
                    <a:pt x="164" y="343"/>
                  </a:lnTo>
                  <a:lnTo>
                    <a:pt x="145" y="349"/>
                  </a:lnTo>
                  <a:lnTo>
                    <a:pt x="127" y="354"/>
                  </a:lnTo>
                  <a:lnTo>
                    <a:pt x="110" y="357"/>
                  </a:lnTo>
                  <a:lnTo>
                    <a:pt x="93" y="358"/>
                  </a:lnTo>
                  <a:lnTo>
                    <a:pt x="80" y="358"/>
                  </a:lnTo>
                  <a:lnTo>
                    <a:pt x="71" y="356"/>
                  </a:lnTo>
                  <a:lnTo>
                    <a:pt x="65" y="354"/>
                  </a:lnTo>
                  <a:lnTo>
                    <a:pt x="60" y="351"/>
                  </a:lnTo>
                  <a:lnTo>
                    <a:pt x="56" y="348"/>
                  </a:lnTo>
                  <a:lnTo>
                    <a:pt x="51" y="345"/>
                  </a:lnTo>
                  <a:lnTo>
                    <a:pt x="44" y="343"/>
                  </a:lnTo>
                  <a:lnTo>
                    <a:pt x="33" y="340"/>
                  </a:lnTo>
                  <a:lnTo>
                    <a:pt x="0" y="32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124" name="Freeform 76"/>
            <p:cNvSpPr>
              <a:spLocks/>
            </p:cNvSpPr>
            <p:nvPr/>
          </p:nvSpPr>
          <p:spPr bwMode="auto">
            <a:xfrm>
              <a:off x="5597" y="3323"/>
              <a:ext cx="116" cy="141"/>
            </a:xfrm>
            <a:custGeom>
              <a:avLst/>
              <a:gdLst/>
              <a:ahLst/>
              <a:cxnLst>
                <a:cxn ang="0">
                  <a:pos x="60" y="288"/>
                </a:cxn>
                <a:cxn ang="0">
                  <a:pos x="95" y="269"/>
                </a:cxn>
                <a:cxn ang="0">
                  <a:pos x="165" y="209"/>
                </a:cxn>
                <a:cxn ang="0">
                  <a:pos x="172" y="168"/>
                </a:cxn>
                <a:cxn ang="0">
                  <a:pos x="180" y="149"/>
                </a:cxn>
                <a:cxn ang="0">
                  <a:pos x="193" y="137"/>
                </a:cxn>
                <a:cxn ang="0">
                  <a:pos x="190" y="126"/>
                </a:cxn>
                <a:cxn ang="0">
                  <a:pos x="179" y="94"/>
                </a:cxn>
                <a:cxn ang="0">
                  <a:pos x="173" y="34"/>
                </a:cxn>
                <a:cxn ang="0">
                  <a:pos x="182" y="0"/>
                </a:cxn>
                <a:cxn ang="0">
                  <a:pos x="194" y="11"/>
                </a:cxn>
                <a:cxn ang="0">
                  <a:pos x="207" y="29"/>
                </a:cxn>
                <a:cxn ang="0">
                  <a:pos x="231" y="56"/>
                </a:cxn>
                <a:cxn ang="0">
                  <a:pos x="238" y="73"/>
                </a:cxn>
                <a:cxn ang="0">
                  <a:pos x="237" y="88"/>
                </a:cxn>
                <a:cxn ang="0">
                  <a:pos x="226" y="102"/>
                </a:cxn>
                <a:cxn ang="0">
                  <a:pos x="205" y="120"/>
                </a:cxn>
                <a:cxn ang="0">
                  <a:pos x="199" y="131"/>
                </a:cxn>
                <a:cxn ang="0">
                  <a:pos x="199" y="149"/>
                </a:cxn>
                <a:cxn ang="0">
                  <a:pos x="205" y="159"/>
                </a:cxn>
                <a:cxn ang="0">
                  <a:pos x="226" y="160"/>
                </a:cxn>
                <a:cxn ang="0">
                  <a:pos x="233" y="153"/>
                </a:cxn>
                <a:cxn ang="0">
                  <a:pos x="232" y="135"/>
                </a:cxn>
                <a:cxn ang="0">
                  <a:pos x="259" y="193"/>
                </a:cxn>
                <a:cxn ang="0">
                  <a:pos x="271" y="208"/>
                </a:cxn>
                <a:cxn ang="0">
                  <a:pos x="291" y="219"/>
                </a:cxn>
                <a:cxn ang="0">
                  <a:pos x="300" y="217"/>
                </a:cxn>
                <a:cxn ang="0">
                  <a:pos x="312" y="206"/>
                </a:cxn>
                <a:cxn ang="0">
                  <a:pos x="341" y="194"/>
                </a:cxn>
                <a:cxn ang="0">
                  <a:pos x="355" y="206"/>
                </a:cxn>
                <a:cxn ang="0">
                  <a:pos x="342" y="240"/>
                </a:cxn>
                <a:cxn ang="0">
                  <a:pos x="321" y="261"/>
                </a:cxn>
                <a:cxn ang="0">
                  <a:pos x="295" y="275"/>
                </a:cxn>
                <a:cxn ang="0">
                  <a:pos x="247" y="288"/>
                </a:cxn>
                <a:cxn ang="0">
                  <a:pos x="208" y="299"/>
                </a:cxn>
                <a:cxn ang="0">
                  <a:pos x="193" y="308"/>
                </a:cxn>
                <a:cxn ang="0">
                  <a:pos x="179" y="339"/>
                </a:cxn>
                <a:cxn ang="0">
                  <a:pos x="163" y="356"/>
                </a:cxn>
                <a:cxn ang="0">
                  <a:pos x="109" y="394"/>
                </a:cxn>
                <a:cxn ang="0">
                  <a:pos x="48" y="424"/>
                </a:cxn>
                <a:cxn ang="0">
                  <a:pos x="19" y="431"/>
                </a:cxn>
                <a:cxn ang="0">
                  <a:pos x="7" y="426"/>
                </a:cxn>
                <a:cxn ang="0">
                  <a:pos x="1" y="415"/>
                </a:cxn>
                <a:cxn ang="0">
                  <a:pos x="1" y="402"/>
                </a:cxn>
                <a:cxn ang="0">
                  <a:pos x="9" y="391"/>
                </a:cxn>
                <a:cxn ang="0">
                  <a:pos x="56" y="374"/>
                </a:cxn>
                <a:cxn ang="0">
                  <a:pos x="73" y="351"/>
                </a:cxn>
                <a:cxn ang="0">
                  <a:pos x="71" y="335"/>
                </a:cxn>
                <a:cxn ang="0">
                  <a:pos x="64" y="326"/>
                </a:cxn>
                <a:cxn ang="0">
                  <a:pos x="51" y="320"/>
                </a:cxn>
                <a:cxn ang="0">
                  <a:pos x="19" y="320"/>
                </a:cxn>
              </a:cxnLst>
              <a:rect l="0" t="0" r="r" b="b"/>
              <a:pathLst>
                <a:path w="359" h="431">
                  <a:moveTo>
                    <a:pt x="39" y="296"/>
                  </a:moveTo>
                  <a:lnTo>
                    <a:pt x="50" y="292"/>
                  </a:lnTo>
                  <a:lnTo>
                    <a:pt x="60" y="288"/>
                  </a:lnTo>
                  <a:lnTo>
                    <a:pt x="70" y="284"/>
                  </a:lnTo>
                  <a:lnTo>
                    <a:pt x="79" y="279"/>
                  </a:lnTo>
                  <a:lnTo>
                    <a:pt x="95" y="269"/>
                  </a:lnTo>
                  <a:lnTo>
                    <a:pt x="110" y="257"/>
                  </a:lnTo>
                  <a:lnTo>
                    <a:pt x="138" y="233"/>
                  </a:lnTo>
                  <a:lnTo>
                    <a:pt x="165" y="209"/>
                  </a:lnTo>
                  <a:lnTo>
                    <a:pt x="166" y="198"/>
                  </a:lnTo>
                  <a:lnTo>
                    <a:pt x="170" y="175"/>
                  </a:lnTo>
                  <a:lnTo>
                    <a:pt x="172" y="168"/>
                  </a:lnTo>
                  <a:lnTo>
                    <a:pt x="174" y="162"/>
                  </a:lnTo>
                  <a:lnTo>
                    <a:pt x="176" y="156"/>
                  </a:lnTo>
                  <a:lnTo>
                    <a:pt x="180" y="149"/>
                  </a:lnTo>
                  <a:lnTo>
                    <a:pt x="183" y="144"/>
                  </a:lnTo>
                  <a:lnTo>
                    <a:pt x="188" y="140"/>
                  </a:lnTo>
                  <a:lnTo>
                    <a:pt x="193" y="137"/>
                  </a:lnTo>
                  <a:lnTo>
                    <a:pt x="199" y="135"/>
                  </a:lnTo>
                  <a:lnTo>
                    <a:pt x="194" y="131"/>
                  </a:lnTo>
                  <a:lnTo>
                    <a:pt x="190" y="126"/>
                  </a:lnTo>
                  <a:lnTo>
                    <a:pt x="186" y="119"/>
                  </a:lnTo>
                  <a:lnTo>
                    <a:pt x="184" y="112"/>
                  </a:lnTo>
                  <a:lnTo>
                    <a:pt x="179" y="94"/>
                  </a:lnTo>
                  <a:lnTo>
                    <a:pt x="175" y="75"/>
                  </a:lnTo>
                  <a:lnTo>
                    <a:pt x="174" y="54"/>
                  </a:lnTo>
                  <a:lnTo>
                    <a:pt x="173" y="34"/>
                  </a:lnTo>
                  <a:lnTo>
                    <a:pt x="172" y="16"/>
                  </a:lnTo>
                  <a:lnTo>
                    <a:pt x="172" y="0"/>
                  </a:lnTo>
                  <a:lnTo>
                    <a:pt x="182" y="0"/>
                  </a:lnTo>
                  <a:lnTo>
                    <a:pt x="192" y="0"/>
                  </a:lnTo>
                  <a:lnTo>
                    <a:pt x="193" y="6"/>
                  </a:lnTo>
                  <a:lnTo>
                    <a:pt x="194" y="11"/>
                  </a:lnTo>
                  <a:lnTo>
                    <a:pt x="196" y="16"/>
                  </a:lnTo>
                  <a:lnTo>
                    <a:pt x="199" y="20"/>
                  </a:lnTo>
                  <a:lnTo>
                    <a:pt x="207" y="29"/>
                  </a:lnTo>
                  <a:lnTo>
                    <a:pt x="216" y="37"/>
                  </a:lnTo>
                  <a:lnTo>
                    <a:pt x="224" y="47"/>
                  </a:lnTo>
                  <a:lnTo>
                    <a:pt x="231" y="56"/>
                  </a:lnTo>
                  <a:lnTo>
                    <a:pt x="235" y="62"/>
                  </a:lnTo>
                  <a:lnTo>
                    <a:pt x="237" y="67"/>
                  </a:lnTo>
                  <a:lnTo>
                    <a:pt x="238" y="73"/>
                  </a:lnTo>
                  <a:lnTo>
                    <a:pt x="239" y="80"/>
                  </a:lnTo>
                  <a:lnTo>
                    <a:pt x="238" y="84"/>
                  </a:lnTo>
                  <a:lnTo>
                    <a:pt x="237" y="88"/>
                  </a:lnTo>
                  <a:lnTo>
                    <a:pt x="235" y="92"/>
                  </a:lnTo>
                  <a:lnTo>
                    <a:pt x="232" y="95"/>
                  </a:lnTo>
                  <a:lnTo>
                    <a:pt x="226" y="102"/>
                  </a:lnTo>
                  <a:lnTo>
                    <a:pt x="219" y="108"/>
                  </a:lnTo>
                  <a:lnTo>
                    <a:pt x="211" y="114"/>
                  </a:lnTo>
                  <a:lnTo>
                    <a:pt x="205" y="120"/>
                  </a:lnTo>
                  <a:lnTo>
                    <a:pt x="203" y="123"/>
                  </a:lnTo>
                  <a:lnTo>
                    <a:pt x="200" y="127"/>
                  </a:lnTo>
                  <a:lnTo>
                    <a:pt x="199" y="131"/>
                  </a:lnTo>
                  <a:lnTo>
                    <a:pt x="199" y="135"/>
                  </a:lnTo>
                  <a:lnTo>
                    <a:pt x="199" y="143"/>
                  </a:lnTo>
                  <a:lnTo>
                    <a:pt x="199" y="149"/>
                  </a:lnTo>
                  <a:lnTo>
                    <a:pt x="200" y="155"/>
                  </a:lnTo>
                  <a:lnTo>
                    <a:pt x="203" y="157"/>
                  </a:lnTo>
                  <a:lnTo>
                    <a:pt x="205" y="159"/>
                  </a:lnTo>
                  <a:lnTo>
                    <a:pt x="210" y="160"/>
                  </a:lnTo>
                  <a:lnTo>
                    <a:pt x="217" y="160"/>
                  </a:lnTo>
                  <a:lnTo>
                    <a:pt x="226" y="160"/>
                  </a:lnTo>
                  <a:lnTo>
                    <a:pt x="229" y="160"/>
                  </a:lnTo>
                  <a:lnTo>
                    <a:pt x="232" y="158"/>
                  </a:lnTo>
                  <a:lnTo>
                    <a:pt x="233" y="153"/>
                  </a:lnTo>
                  <a:lnTo>
                    <a:pt x="233" y="150"/>
                  </a:lnTo>
                  <a:lnTo>
                    <a:pt x="233" y="142"/>
                  </a:lnTo>
                  <a:lnTo>
                    <a:pt x="232" y="135"/>
                  </a:lnTo>
                  <a:lnTo>
                    <a:pt x="244" y="163"/>
                  </a:lnTo>
                  <a:lnTo>
                    <a:pt x="255" y="188"/>
                  </a:lnTo>
                  <a:lnTo>
                    <a:pt x="259" y="193"/>
                  </a:lnTo>
                  <a:lnTo>
                    <a:pt x="262" y="198"/>
                  </a:lnTo>
                  <a:lnTo>
                    <a:pt x="266" y="203"/>
                  </a:lnTo>
                  <a:lnTo>
                    <a:pt x="271" y="208"/>
                  </a:lnTo>
                  <a:lnTo>
                    <a:pt x="276" y="213"/>
                  </a:lnTo>
                  <a:lnTo>
                    <a:pt x="283" y="216"/>
                  </a:lnTo>
                  <a:lnTo>
                    <a:pt x="291" y="219"/>
                  </a:lnTo>
                  <a:lnTo>
                    <a:pt x="298" y="222"/>
                  </a:lnTo>
                  <a:lnTo>
                    <a:pt x="299" y="220"/>
                  </a:lnTo>
                  <a:lnTo>
                    <a:pt x="300" y="217"/>
                  </a:lnTo>
                  <a:lnTo>
                    <a:pt x="303" y="215"/>
                  </a:lnTo>
                  <a:lnTo>
                    <a:pt x="305" y="212"/>
                  </a:lnTo>
                  <a:lnTo>
                    <a:pt x="312" y="206"/>
                  </a:lnTo>
                  <a:lnTo>
                    <a:pt x="321" y="201"/>
                  </a:lnTo>
                  <a:lnTo>
                    <a:pt x="331" y="197"/>
                  </a:lnTo>
                  <a:lnTo>
                    <a:pt x="341" y="194"/>
                  </a:lnTo>
                  <a:lnTo>
                    <a:pt x="350" y="192"/>
                  </a:lnTo>
                  <a:lnTo>
                    <a:pt x="359" y="191"/>
                  </a:lnTo>
                  <a:lnTo>
                    <a:pt x="355" y="206"/>
                  </a:lnTo>
                  <a:lnTo>
                    <a:pt x="352" y="219"/>
                  </a:lnTo>
                  <a:lnTo>
                    <a:pt x="348" y="231"/>
                  </a:lnTo>
                  <a:lnTo>
                    <a:pt x="342" y="240"/>
                  </a:lnTo>
                  <a:lnTo>
                    <a:pt x="336" y="248"/>
                  </a:lnTo>
                  <a:lnTo>
                    <a:pt x="329" y="255"/>
                  </a:lnTo>
                  <a:lnTo>
                    <a:pt x="321" y="261"/>
                  </a:lnTo>
                  <a:lnTo>
                    <a:pt x="314" y="267"/>
                  </a:lnTo>
                  <a:lnTo>
                    <a:pt x="305" y="271"/>
                  </a:lnTo>
                  <a:lnTo>
                    <a:pt x="295" y="275"/>
                  </a:lnTo>
                  <a:lnTo>
                    <a:pt x="284" y="278"/>
                  </a:lnTo>
                  <a:lnTo>
                    <a:pt x="272" y="281"/>
                  </a:lnTo>
                  <a:lnTo>
                    <a:pt x="247" y="288"/>
                  </a:lnTo>
                  <a:lnTo>
                    <a:pt x="219" y="296"/>
                  </a:lnTo>
                  <a:lnTo>
                    <a:pt x="213" y="297"/>
                  </a:lnTo>
                  <a:lnTo>
                    <a:pt x="208" y="299"/>
                  </a:lnTo>
                  <a:lnTo>
                    <a:pt x="204" y="301"/>
                  </a:lnTo>
                  <a:lnTo>
                    <a:pt x="199" y="303"/>
                  </a:lnTo>
                  <a:lnTo>
                    <a:pt x="193" y="308"/>
                  </a:lnTo>
                  <a:lnTo>
                    <a:pt x="188" y="314"/>
                  </a:lnTo>
                  <a:lnTo>
                    <a:pt x="183" y="328"/>
                  </a:lnTo>
                  <a:lnTo>
                    <a:pt x="179" y="339"/>
                  </a:lnTo>
                  <a:lnTo>
                    <a:pt x="175" y="344"/>
                  </a:lnTo>
                  <a:lnTo>
                    <a:pt x="170" y="350"/>
                  </a:lnTo>
                  <a:lnTo>
                    <a:pt x="163" y="356"/>
                  </a:lnTo>
                  <a:lnTo>
                    <a:pt x="154" y="363"/>
                  </a:lnTo>
                  <a:lnTo>
                    <a:pt x="134" y="379"/>
                  </a:lnTo>
                  <a:lnTo>
                    <a:pt x="109" y="394"/>
                  </a:lnTo>
                  <a:lnTo>
                    <a:pt x="84" y="408"/>
                  </a:lnTo>
                  <a:lnTo>
                    <a:pt x="59" y="420"/>
                  </a:lnTo>
                  <a:lnTo>
                    <a:pt x="48" y="424"/>
                  </a:lnTo>
                  <a:lnTo>
                    <a:pt x="37" y="428"/>
                  </a:lnTo>
                  <a:lnTo>
                    <a:pt x="28" y="430"/>
                  </a:lnTo>
                  <a:lnTo>
                    <a:pt x="19" y="431"/>
                  </a:lnTo>
                  <a:lnTo>
                    <a:pt x="15" y="430"/>
                  </a:lnTo>
                  <a:lnTo>
                    <a:pt x="11" y="429"/>
                  </a:lnTo>
                  <a:lnTo>
                    <a:pt x="7" y="426"/>
                  </a:lnTo>
                  <a:lnTo>
                    <a:pt x="5" y="423"/>
                  </a:lnTo>
                  <a:lnTo>
                    <a:pt x="3" y="420"/>
                  </a:lnTo>
                  <a:lnTo>
                    <a:pt x="1" y="415"/>
                  </a:lnTo>
                  <a:lnTo>
                    <a:pt x="0" y="411"/>
                  </a:lnTo>
                  <a:lnTo>
                    <a:pt x="0" y="406"/>
                  </a:lnTo>
                  <a:lnTo>
                    <a:pt x="1" y="402"/>
                  </a:lnTo>
                  <a:lnTo>
                    <a:pt x="2" y="398"/>
                  </a:lnTo>
                  <a:lnTo>
                    <a:pt x="5" y="395"/>
                  </a:lnTo>
                  <a:lnTo>
                    <a:pt x="9" y="391"/>
                  </a:lnTo>
                  <a:lnTo>
                    <a:pt x="19" y="386"/>
                  </a:lnTo>
                  <a:lnTo>
                    <a:pt x="31" y="382"/>
                  </a:lnTo>
                  <a:lnTo>
                    <a:pt x="56" y="374"/>
                  </a:lnTo>
                  <a:lnTo>
                    <a:pt x="73" y="369"/>
                  </a:lnTo>
                  <a:lnTo>
                    <a:pt x="73" y="360"/>
                  </a:lnTo>
                  <a:lnTo>
                    <a:pt x="73" y="351"/>
                  </a:lnTo>
                  <a:lnTo>
                    <a:pt x="72" y="345"/>
                  </a:lnTo>
                  <a:lnTo>
                    <a:pt x="72" y="339"/>
                  </a:lnTo>
                  <a:lnTo>
                    <a:pt x="71" y="335"/>
                  </a:lnTo>
                  <a:lnTo>
                    <a:pt x="69" y="331"/>
                  </a:lnTo>
                  <a:lnTo>
                    <a:pt x="67" y="328"/>
                  </a:lnTo>
                  <a:lnTo>
                    <a:pt x="64" y="326"/>
                  </a:lnTo>
                  <a:lnTo>
                    <a:pt x="62" y="324"/>
                  </a:lnTo>
                  <a:lnTo>
                    <a:pt x="59" y="322"/>
                  </a:lnTo>
                  <a:lnTo>
                    <a:pt x="51" y="320"/>
                  </a:lnTo>
                  <a:lnTo>
                    <a:pt x="41" y="319"/>
                  </a:lnTo>
                  <a:lnTo>
                    <a:pt x="31" y="320"/>
                  </a:lnTo>
                  <a:lnTo>
                    <a:pt x="19" y="320"/>
                  </a:lnTo>
                  <a:lnTo>
                    <a:pt x="39" y="29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2125" name="Freeform 77"/>
          <p:cNvSpPr>
            <a:spLocks/>
          </p:cNvSpPr>
          <p:nvPr>
            <p:custDataLst>
              <p:tags r:id="rId57"/>
            </p:custDataLst>
          </p:nvPr>
        </p:nvSpPr>
        <p:spPr bwMode="auto">
          <a:xfrm>
            <a:off x="7362832" y="2546752"/>
            <a:ext cx="9525" cy="42863"/>
          </a:xfrm>
          <a:custGeom>
            <a:avLst/>
            <a:gdLst/>
            <a:ahLst/>
            <a:cxnLst>
              <a:cxn ang="0">
                <a:pos x="0" y="43"/>
              </a:cxn>
              <a:cxn ang="0">
                <a:pos x="1" y="29"/>
              </a:cxn>
              <a:cxn ang="0">
                <a:pos x="3" y="17"/>
              </a:cxn>
              <a:cxn ang="0">
                <a:pos x="4" y="11"/>
              </a:cxn>
              <a:cxn ang="0">
                <a:pos x="6" y="7"/>
              </a:cxn>
              <a:cxn ang="0">
                <a:pos x="9" y="3"/>
              </a:cxn>
              <a:cxn ang="0">
                <a:pos x="15" y="0"/>
              </a:cxn>
              <a:cxn ang="0">
                <a:pos x="15" y="15"/>
              </a:cxn>
              <a:cxn ang="0">
                <a:pos x="18" y="31"/>
              </a:cxn>
              <a:cxn ang="0">
                <a:pos x="20" y="44"/>
              </a:cxn>
              <a:cxn ang="0">
                <a:pos x="21" y="49"/>
              </a:cxn>
              <a:cxn ang="0">
                <a:pos x="10" y="55"/>
              </a:cxn>
              <a:cxn ang="0">
                <a:pos x="0" y="62"/>
              </a:cxn>
              <a:cxn ang="0">
                <a:pos x="0" y="43"/>
              </a:cxn>
            </a:cxnLst>
            <a:rect l="0" t="0" r="r" b="b"/>
            <a:pathLst>
              <a:path w="21" h="62">
                <a:moveTo>
                  <a:pt x="0" y="43"/>
                </a:moveTo>
                <a:lnTo>
                  <a:pt x="1" y="29"/>
                </a:lnTo>
                <a:lnTo>
                  <a:pt x="3" y="17"/>
                </a:lnTo>
                <a:lnTo>
                  <a:pt x="4" y="11"/>
                </a:lnTo>
                <a:lnTo>
                  <a:pt x="6" y="7"/>
                </a:lnTo>
                <a:lnTo>
                  <a:pt x="9" y="3"/>
                </a:lnTo>
                <a:lnTo>
                  <a:pt x="15" y="0"/>
                </a:lnTo>
                <a:lnTo>
                  <a:pt x="15" y="15"/>
                </a:lnTo>
                <a:lnTo>
                  <a:pt x="18" y="31"/>
                </a:lnTo>
                <a:lnTo>
                  <a:pt x="20" y="44"/>
                </a:lnTo>
                <a:lnTo>
                  <a:pt x="21" y="49"/>
                </a:lnTo>
                <a:lnTo>
                  <a:pt x="10" y="55"/>
                </a:lnTo>
                <a:lnTo>
                  <a:pt x="0" y="62"/>
                </a:lnTo>
                <a:lnTo>
                  <a:pt x="0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126" name="Freeform 78"/>
          <p:cNvSpPr>
            <a:spLocks/>
          </p:cNvSpPr>
          <p:nvPr>
            <p:custDataLst>
              <p:tags r:id="rId58"/>
            </p:custDataLst>
          </p:nvPr>
        </p:nvSpPr>
        <p:spPr bwMode="auto">
          <a:xfrm>
            <a:off x="8089900" y="3223027"/>
            <a:ext cx="14288" cy="4286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5" y="5"/>
              </a:cxn>
              <a:cxn ang="0">
                <a:pos x="10" y="10"/>
              </a:cxn>
              <a:cxn ang="0">
                <a:pos x="11" y="13"/>
              </a:cxn>
              <a:cxn ang="0">
                <a:pos x="12" y="16"/>
              </a:cxn>
              <a:cxn ang="0">
                <a:pos x="13" y="20"/>
              </a:cxn>
              <a:cxn ang="0">
                <a:pos x="13" y="24"/>
              </a:cxn>
              <a:cxn ang="0">
                <a:pos x="33" y="0"/>
              </a:cxn>
              <a:cxn ang="0">
                <a:pos x="24" y="0"/>
              </a:cxn>
              <a:cxn ang="0">
                <a:pos x="16" y="0"/>
              </a:cxn>
              <a:cxn ang="0">
                <a:pos x="9" y="0"/>
              </a:cxn>
              <a:cxn ang="0">
                <a:pos x="0" y="0"/>
              </a:cxn>
            </a:cxnLst>
            <a:rect l="0" t="0" r="r" b="b"/>
            <a:pathLst>
              <a:path w="33" h="24">
                <a:moveTo>
                  <a:pt x="0" y="0"/>
                </a:moveTo>
                <a:lnTo>
                  <a:pt x="5" y="5"/>
                </a:lnTo>
                <a:lnTo>
                  <a:pt x="10" y="10"/>
                </a:lnTo>
                <a:lnTo>
                  <a:pt x="11" y="13"/>
                </a:lnTo>
                <a:lnTo>
                  <a:pt x="12" y="16"/>
                </a:lnTo>
                <a:lnTo>
                  <a:pt x="13" y="20"/>
                </a:lnTo>
                <a:lnTo>
                  <a:pt x="13" y="24"/>
                </a:lnTo>
                <a:lnTo>
                  <a:pt x="33" y="0"/>
                </a:lnTo>
                <a:lnTo>
                  <a:pt x="24" y="0"/>
                </a:lnTo>
                <a:lnTo>
                  <a:pt x="16" y="0"/>
                </a:lnTo>
                <a:lnTo>
                  <a:pt x="9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127" name="Freeform 79"/>
          <p:cNvSpPr>
            <a:spLocks/>
          </p:cNvSpPr>
          <p:nvPr>
            <p:custDataLst>
              <p:tags r:id="rId59"/>
            </p:custDataLst>
          </p:nvPr>
        </p:nvSpPr>
        <p:spPr bwMode="auto">
          <a:xfrm>
            <a:off x="8112125" y="3230174"/>
            <a:ext cx="17463" cy="44053"/>
          </a:xfrm>
          <a:custGeom>
            <a:avLst/>
            <a:gdLst/>
            <a:ahLst/>
            <a:cxnLst>
              <a:cxn ang="0">
                <a:pos x="26" y="25"/>
              </a:cxn>
              <a:cxn ang="0">
                <a:pos x="29" y="22"/>
              </a:cxn>
              <a:cxn ang="0">
                <a:pos x="33" y="18"/>
              </a:cxn>
              <a:cxn ang="0">
                <a:pos x="33" y="0"/>
              </a:cxn>
              <a:cxn ang="0">
                <a:pos x="25" y="0"/>
              </a:cxn>
              <a:cxn ang="0">
                <a:pos x="16" y="0"/>
              </a:cxn>
              <a:cxn ang="0">
                <a:pos x="6" y="0"/>
              </a:cxn>
              <a:cxn ang="0">
                <a:pos x="0" y="0"/>
              </a:cxn>
              <a:cxn ang="0">
                <a:pos x="26" y="25"/>
              </a:cxn>
            </a:cxnLst>
            <a:rect l="0" t="0" r="r" b="b"/>
            <a:pathLst>
              <a:path w="33" h="25">
                <a:moveTo>
                  <a:pt x="26" y="25"/>
                </a:moveTo>
                <a:lnTo>
                  <a:pt x="29" y="22"/>
                </a:lnTo>
                <a:lnTo>
                  <a:pt x="33" y="18"/>
                </a:lnTo>
                <a:lnTo>
                  <a:pt x="33" y="0"/>
                </a:lnTo>
                <a:lnTo>
                  <a:pt x="25" y="0"/>
                </a:lnTo>
                <a:lnTo>
                  <a:pt x="16" y="0"/>
                </a:lnTo>
                <a:lnTo>
                  <a:pt x="6" y="0"/>
                </a:lnTo>
                <a:lnTo>
                  <a:pt x="0" y="0"/>
                </a:lnTo>
                <a:lnTo>
                  <a:pt x="26" y="2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128" name="Freeform 80"/>
          <p:cNvSpPr>
            <a:spLocks/>
          </p:cNvSpPr>
          <p:nvPr>
            <p:custDataLst>
              <p:tags r:id="rId60"/>
            </p:custDataLst>
          </p:nvPr>
        </p:nvSpPr>
        <p:spPr bwMode="auto">
          <a:xfrm>
            <a:off x="7426325" y="2538420"/>
            <a:ext cx="1588" cy="41672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7" y="0"/>
              </a:cxn>
              <a:cxn ang="0">
                <a:pos x="0" y="0"/>
              </a:cxn>
            </a:cxnLst>
            <a:rect l="0" t="0" r="r" b="b"/>
            <a:pathLst>
              <a:path w="7">
                <a:moveTo>
                  <a:pt x="0" y="0"/>
                </a:moveTo>
                <a:lnTo>
                  <a:pt x="7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129" name="Freeform 81"/>
          <p:cNvSpPr>
            <a:spLocks/>
          </p:cNvSpPr>
          <p:nvPr>
            <p:custDataLst>
              <p:tags r:id="rId61"/>
            </p:custDataLst>
          </p:nvPr>
        </p:nvSpPr>
        <p:spPr bwMode="auto">
          <a:xfrm>
            <a:off x="7485063" y="2496745"/>
            <a:ext cx="6350" cy="42863"/>
          </a:xfrm>
          <a:custGeom>
            <a:avLst/>
            <a:gdLst/>
            <a:ahLst/>
            <a:cxnLst>
              <a:cxn ang="0">
                <a:pos x="16" y="0"/>
              </a:cxn>
              <a:cxn ang="0">
                <a:pos x="16" y="6"/>
              </a:cxn>
              <a:cxn ang="0">
                <a:pos x="14" y="13"/>
              </a:cxn>
              <a:cxn ang="0">
                <a:pos x="13" y="16"/>
              </a:cxn>
              <a:cxn ang="0">
                <a:pos x="11" y="20"/>
              </a:cxn>
              <a:cxn ang="0">
                <a:pos x="7" y="23"/>
              </a:cxn>
              <a:cxn ang="0">
                <a:pos x="3" y="25"/>
              </a:cxn>
              <a:cxn ang="0">
                <a:pos x="1" y="24"/>
              </a:cxn>
              <a:cxn ang="0">
                <a:pos x="0" y="21"/>
              </a:cxn>
              <a:cxn ang="0">
                <a:pos x="1" y="18"/>
              </a:cxn>
              <a:cxn ang="0">
                <a:pos x="2" y="13"/>
              </a:cxn>
              <a:cxn ang="0">
                <a:pos x="4" y="9"/>
              </a:cxn>
              <a:cxn ang="0">
                <a:pos x="7" y="4"/>
              </a:cxn>
              <a:cxn ang="0">
                <a:pos x="11" y="1"/>
              </a:cxn>
              <a:cxn ang="0">
                <a:pos x="16" y="0"/>
              </a:cxn>
            </a:cxnLst>
            <a:rect l="0" t="0" r="r" b="b"/>
            <a:pathLst>
              <a:path w="16" h="25">
                <a:moveTo>
                  <a:pt x="16" y="0"/>
                </a:moveTo>
                <a:lnTo>
                  <a:pt x="16" y="6"/>
                </a:lnTo>
                <a:lnTo>
                  <a:pt x="14" y="13"/>
                </a:lnTo>
                <a:lnTo>
                  <a:pt x="13" y="16"/>
                </a:lnTo>
                <a:lnTo>
                  <a:pt x="11" y="20"/>
                </a:lnTo>
                <a:lnTo>
                  <a:pt x="7" y="23"/>
                </a:lnTo>
                <a:lnTo>
                  <a:pt x="3" y="25"/>
                </a:lnTo>
                <a:lnTo>
                  <a:pt x="1" y="24"/>
                </a:lnTo>
                <a:lnTo>
                  <a:pt x="0" y="21"/>
                </a:lnTo>
                <a:lnTo>
                  <a:pt x="1" y="18"/>
                </a:lnTo>
                <a:lnTo>
                  <a:pt x="2" y="13"/>
                </a:lnTo>
                <a:lnTo>
                  <a:pt x="4" y="9"/>
                </a:lnTo>
                <a:lnTo>
                  <a:pt x="7" y="4"/>
                </a:lnTo>
                <a:lnTo>
                  <a:pt x="11" y="1"/>
                </a:lnTo>
                <a:lnTo>
                  <a:pt x="1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130" name="Freeform 82"/>
          <p:cNvSpPr>
            <a:spLocks/>
          </p:cNvSpPr>
          <p:nvPr>
            <p:custDataLst>
              <p:tags r:id="rId62"/>
            </p:custDataLst>
          </p:nvPr>
        </p:nvSpPr>
        <p:spPr bwMode="auto">
          <a:xfrm>
            <a:off x="7597775" y="2413402"/>
            <a:ext cx="4763" cy="4286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3" y="1"/>
              </a:cxn>
              <a:cxn ang="0">
                <a:pos x="5" y="2"/>
              </a:cxn>
              <a:cxn ang="0">
                <a:pos x="7" y="4"/>
              </a:cxn>
              <a:cxn ang="0">
                <a:pos x="9" y="7"/>
              </a:cxn>
              <a:cxn ang="0">
                <a:pos x="13" y="13"/>
              </a:cxn>
              <a:cxn ang="0">
                <a:pos x="14" y="18"/>
              </a:cxn>
              <a:cxn ang="0">
                <a:pos x="0" y="0"/>
              </a:cxn>
            </a:cxnLst>
            <a:rect l="0" t="0" r="r" b="b"/>
            <a:pathLst>
              <a:path w="14" h="18">
                <a:moveTo>
                  <a:pt x="0" y="0"/>
                </a:moveTo>
                <a:lnTo>
                  <a:pt x="3" y="1"/>
                </a:lnTo>
                <a:lnTo>
                  <a:pt x="5" y="2"/>
                </a:lnTo>
                <a:lnTo>
                  <a:pt x="7" y="4"/>
                </a:lnTo>
                <a:lnTo>
                  <a:pt x="9" y="7"/>
                </a:lnTo>
                <a:lnTo>
                  <a:pt x="13" y="13"/>
                </a:lnTo>
                <a:lnTo>
                  <a:pt x="14" y="18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131" name="Freeform 83"/>
          <p:cNvSpPr>
            <a:spLocks/>
          </p:cNvSpPr>
          <p:nvPr>
            <p:custDataLst>
              <p:tags r:id="rId63"/>
            </p:custDataLst>
          </p:nvPr>
        </p:nvSpPr>
        <p:spPr bwMode="auto">
          <a:xfrm>
            <a:off x="7750176" y="2937272"/>
            <a:ext cx="26988" cy="4405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" y="17"/>
              </a:cxn>
              <a:cxn ang="0">
                <a:pos x="3" y="30"/>
              </a:cxn>
              <a:cxn ang="0">
                <a:pos x="7" y="41"/>
              </a:cxn>
              <a:cxn ang="0">
                <a:pos x="12" y="50"/>
              </a:cxn>
              <a:cxn ang="0">
                <a:pos x="17" y="58"/>
              </a:cxn>
              <a:cxn ang="0">
                <a:pos x="23" y="64"/>
              </a:cxn>
              <a:cxn ang="0">
                <a:pos x="28" y="69"/>
              </a:cxn>
              <a:cxn ang="0">
                <a:pos x="33" y="74"/>
              </a:cxn>
              <a:cxn ang="0">
                <a:pos x="44" y="65"/>
              </a:cxn>
              <a:cxn ang="0">
                <a:pos x="55" y="55"/>
              </a:cxn>
              <a:cxn ang="0">
                <a:pos x="59" y="49"/>
              </a:cxn>
              <a:cxn ang="0">
                <a:pos x="63" y="43"/>
              </a:cxn>
              <a:cxn ang="0">
                <a:pos x="66" y="37"/>
              </a:cxn>
              <a:cxn ang="0">
                <a:pos x="67" y="30"/>
              </a:cxn>
              <a:cxn ang="0">
                <a:pos x="67" y="25"/>
              </a:cxn>
              <a:cxn ang="0">
                <a:pos x="67" y="18"/>
              </a:cxn>
              <a:cxn ang="0">
                <a:pos x="67" y="9"/>
              </a:cxn>
              <a:cxn ang="0">
                <a:pos x="67" y="0"/>
              </a:cxn>
              <a:cxn ang="0">
                <a:pos x="48" y="0"/>
              </a:cxn>
              <a:cxn ang="0">
                <a:pos x="33" y="0"/>
              </a:cxn>
              <a:cxn ang="0">
                <a:pos x="17" y="0"/>
              </a:cxn>
              <a:cxn ang="0">
                <a:pos x="0" y="0"/>
              </a:cxn>
            </a:cxnLst>
            <a:rect l="0" t="0" r="r" b="b"/>
            <a:pathLst>
              <a:path w="67" h="74">
                <a:moveTo>
                  <a:pt x="0" y="0"/>
                </a:moveTo>
                <a:lnTo>
                  <a:pt x="1" y="17"/>
                </a:lnTo>
                <a:lnTo>
                  <a:pt x="3" y="30"/>
                </a:lnTo>
                <a:lnTo>
                  <a:pt x="7" y="41"/>
                </a:lnTo>
                <a:lnTo>
                  <a:pt x="12" y="50"/>
                </a:lnTo>
                <a:lnTo>
                  <a:pt x="17" y="58"/>
                </a:lnTo>
                <a:lnTo>
                  <a:pt x="23" y="64"/>
                </a:lnTo>
                <a:lnTo>
                  <a:pt x="28" y="69"/>
                </a:lnTo>
                <a:lnTo>
                  <a:pt x="33" y="74"/>
                </a:lnTo>
                <a:lnTo>
                  <a:pt x="44" y="65"/>
                </a:lnTo>
                <a:lnTo>
                  <a:pt x="55" y="55"/>
                </a:lnTo>
                <a:lnTo>
                  <a:pt x="59" y="49"/>
                </a:lnTo>
                <a:lnTo>
                  <a:pt x="63" y="43"/>
                </a:lnTo>
                <a:lnTo>
                  <a:pt x="66" y="37"/>
                </a:lnTo>
                <a:lnTo>
                  <a:pt x="67" y="30"/>
                </a:lnTo>
                <a:lnTo>
                  <a:pt x="67" y="25"/>
                </a:lnTo>
                <a:lnTo>
                  <a:pt x="67" y="18"/>
                </a:lnTo>
                <a:lnTo>
                  <a:pt x="67" y="9"/>
                </a:lnTo>
                <a:lnTo>
                  <a:pt x="67" y="0"/>
                </a:lnTo>
                <a:lnTo>
                  <a:pt x="48" y="0"/>
                </a:lnTo>
                <a:lnTo>
                  <a:pt x="33" y="0"/>
                </a:lnTo>
                <a:lnTo>
                  <a:pt x="17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132" name="Freeform 84"/>
          <p:cNvSpPr>
            <a:spLocks/>
          </p:cNvSpPr>
          <p:nvPr>
            <p:custDataLst>
              <p:tags r:id="rId64"/>
            </p:custDataLst>
          </p:nvPr>
        </p:nvSpPr>
        <p:spPr bwMode="auto">
          <a:xfrm>
            <a:off x="7813675" y="2947991"/>
            <a:ext cx="12700" cy="4286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" y="3"/>
              </a:cxn>
              <a:cxn ang="0">
                <a:pos x="4" y="7"/>
              </a:cxn>
              <a:cxn ang="0">
                <a:pos x="5" y="11"/>
              </a:cxn>
              <a:cxn ang="0">
                <a:pos x="6" y="16"/>
              </a:cxn>
              <a:cxn ang="0">
                <a:pos x="10" y="28"/>
              </a:cxn>
              <a:cxn ang="0">
                <a:pos x="13" y="38"/>
              </a:cxn>
              <a:cxn ang="0">
                <a:pos x="16" y="37"/>
              </a:cxn>
              <a:cxn ang="0">
                <a:pos x="20" y="36"/>
              </a:cxn>
              <a:cxn ang="0">
                <a:pos x="23" y="34"/>
              </a:cxn>
              <a:cxn ang="0">
                <a:pos x="26" y="31"/>
              </a:cxn>
              <a:cxn ang="0">
                <a:pos x="28" y="28"/>
              </a:cxn>
              <a:cxn ang="0">
                <a:pos x="32" y="24"/>
              </a:cxn>
              <a:cxn ang="0">
                <a:pos x="33" y="21"/>
              </a:cxn>
              <a:cxn ang="0">
                <a:pos x="34" y="19"/>
              </a:cxn>
              <a:cxn ang="0">
                <a:pos x="31" y="18"/>
              </a:cxn>
              <a:cxn ang="0">
                <a:pos x="28" y="17"/>
              </a:cxn>
              <a:cxn ang="0">
                <a:pos x="26" y="14"/>
              </a:cxn>
              <a:cxn ang="0">
                <a:pos x="24" y="12"/>
              </a:cxn>
              <a:cxn ang="0">
                <a:pos x="19" y="6"/>
              </a:cxn>
              <a:cxn ang="0">
                <a:pos x="13" y="0"/>
              </a:cxn>
              <a:cxn ang="0">
                <a:pos x="6" y="0"/>
              </a:cxn>
              <a:cxn ang="0">
                <a:pos x="0" y="0"/>
              </a:cxn>
            </a:cxnLst>
            <a:rect l="0" t="0" r="r" b="b"/>
            <a:pathLst>
              <a:path w="34" h="38">
                <a:moveTo>
                  <a:pt x="0" y="0"/>
                </a:moveTo>
                <a:lnTo>
                  <a:pt x="2" y="3"/>
                </a:lnTo>
                <a:lnTo>
                  <a:pt x="4" y="7"/>
                </a:lnTo>
                <a:lnTo>
                  <a:pt x="5" y="11"/>
                </a:lnTo>
                <a:lnTo>
                  <a:pt x="6" y="16"/>
                </a:lnTo>
                <a:lnTo>
                  <a:pt x="10" y="28"/>
                </a:lnTo>
                <a:lnTo>
                  <a:pt x="13" y="38"/>
                </a:lnTo>
                <a:lnTo>
                  <a:pt x="16" y="37"/>
                </a:lnTo>
                <a:lnTo>
                  <a:pt x="20" y="36"/>
                </a:lnTo>
                <a:lnTo>
                  <a:pt x="23" y="34"/>
                </a:lnTo>
                <a:lnTo>
                  <a:pt x="26" y="31"/>
                </a:lnTo>
                <a:lnTo>
                  <a:pt x="28" y="28"/>
                </a:lnTo>
                <a:lnTo>
                  <a:pt x="32" y="24"/>
                </a:lnTo>
                <a:lnTo>
                  <a:pt x="33" y="21"/>
                </a:lnTo>
                <a:lnTo>
                  <a:pt x="34" y="19"/>
                </a:lnTo>
                <a:lnTo>
                  <a:pt x="31" y="18"/>
                </a:lnTo>
                <a:lnTo>
                  <a:pt x="28" y="17"/>
                </a:lnTo>
                <a:lnTo>
                  <a:pt x="26" y="14"/>
                </a:lnTo>
                <a:lnTo>
                  <a:pt x="24" y="12"/>
                </a:lnTo>
                <a:lnTo>
                  <a:pt x="19" y="6"/>
                </a:lnTo>
                <a:lnTo>
                  <a:pt x="13" y="0"/>
                </a:lnTo>
                <a:lnTo>
                  <a:pt x="6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133" name="Freeform 85"/>
          <p:cNvSpPr>
            <a:spLocks/>
          </p:cNvSpPr>
          <p:nvPr>
            <p:custDataLst>
              <p:tags r:id="rId65"/>
            </p:custDataLst>
          </p:nvPr>
        </p:nvSpPr>
        <p:spPr bwMode="auto">
          <a:xfrm>
            <a:off x="7670800" y="2780111"/>
            <a:ext cx="25400" cy="41672"/>
          </a:xfrm>
          <a:custGeom>
            <a:avLst/>
            <a:gdLst/>
            <a:ahLst/>
            <a:cxnLst>
              <a:cxn ang="0">
                <a:pos x="53" y="23"/>
              </a:cxn>
              <a:cxn ang="0">
                <a:pos x="53" y="4"/>
              </a:cxn>
              <a:cxn ang="0">
                <a:pos x="49" y="2"/>
              </a:cxn>
              <a:cxn ang="0">
                <a:pos x="45" y="1"/>
              </a:cxn>
              <a:cxn ang="0">
                <a:pos x="42" y="0"/>
              </a:cxn>
              <a:cxn ang="0">
                <a:pos x="38" y="0"/>
              </a:cxn>
              <a:cxn ang="0">
                <a:pos x="31" y="1"/>
              </a:cxn>
              <a:cxn ang="0">
                <a:pos x="24" y="4"/>
              </a:cxn>
              <a:cxn ang="0">
                <a:pos x="11" y="13"/>
              </a:cxn>
              <a:cxn ang="0">
                <a:pos x="0" y="23"/>
              </a:cxn>
              <a:cxn ang="0">
                <a:pos x="53" y="23"/>
              </a:cxn>
            </a:cxnLst>
            <a:rect l="0" t="0" r="r" b="b"/>
            <a:pathLst>
              <a:path w="53" h="23">
                <a:moveTo>
                  <a:pt x="53" y="23"/>
                </a:moveTo>
                <a:lnTo>
                  <a:pt x="53" y="4"/>
                </a:lnTo>
                <a:lnTo>
                  <a:pt x="49" y="2"/>
                </a:lnTo>
                <a:lnTo>
                  <a:pt x="45" y="1"/>
                </a:lnTo>
                <a:lnTo>
                  <a:pt x="42" y="0"/>
                </a:lnTo>
                <a:lnTo>
                  <a:pt x="38" y="0"/>
                </a:lnTo>
                <a:lnTo>
                  <a:pt x="31" y="1"/>
                </a:lnTo>
                <a:lnTo>
                  <a:pt x="24" y="4"/>
                </a:lnTo>
                <a:lnTo>
                  <a:pt x="11" y="13"/>
                </a:lnTo>
                <a:lnTo>
                  <a:pt x="0" y="23"/>
                </a:lnTo>
                <a:lnTo>
                  <a:pt x="53" y="2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134" name="Freeform 86"/>
          <p:cNvSpPr>
            <a:spLocks/>
          </p:cNvSpPr>
          <p:nvPr>
            <p:custDataLst>
              <p:tags r:id="rId66"/>
            </p:custDataLst>
          </p:nvPr>
        </p:nvSpPr>
        <p:spPr bwMode="auto">
          <a:xfrm>
            <a:off x="7613657" y="2761065"/>
            <a:ext cx="11113" cy="4286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4" y="4"/>
              </a:cxn>
              <a:cxn ang="0">
                <a:pos x="11" y="8"/>
              </a:cxn>
              <a:cxn ang="0">
                <a:pos x="14" y="9"/>
              </a:cxn>
              <a:cxn ang="0">
                <a:pos x="18" y="11"/>
              </a:cxn>
              <a:cxn ang="0">
                <a:pos x="22" y="11"/>
              </a:cxn>
              <a:cxn ang="0">
                <a:pos x="26" y="12"/>
              </a:cxn>
              <a:cxn ang="0">
                <a:pos x="21" y="7"/>
              </a:cxn>
              <a:cxn ang="0">
                <a:pos x="13" y="3"/>
              </a:cxn>
              <a:cxn ang="0">
                <a:pos x="5" y="1"/>
              </a:cxn>
              <a:cxn ang="0">
                <a:pos x="0" y="0"/>
              </a:cxn>
            </a:cxnLst>
            <a:rect l="0" t="0" r="r" b="b"/>
            <a:pathLst>
              <a:path w="26" h="12">
                <a:moveTo>
                  <a:pt x="0" y="0"/>
                </a:moveTo>
                <a:lnTo>
                  <a:pt x="4" y="4"/>
                </a:lnTo>
                <a:lnTo>
                  <a:pt x="11" y="8"/>
                </a:lnTo>
                <a:lnTo>
                  <a:pt x="14" y="9"/>
                </a:lnTo>
                <a:lnTo>
                  <a:pt x="18" y="11"/>
                </a:lnTo>
                <a:lnTo>
                  <a:pt x="22" y="11"/>
                </a:lnTo>
                <a:lnTo>
                  <a:pt x="26" y="12"/>
                </a:lnTo>
                <a:lnTo>
                  <a:pt x="21" y="7"/>
                </a:lnTo>
                <a:lnTo>
                  <a:pt x="13" y="3"/>
                </a:lnTo>
                <a:lnTo>
                  <a:pt x="5" y="1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135" name="Freeform 87"/>
          <p:cNvSpPr>
            <a:spLocks/>
          </p:cNvSpPr>
          <p:nvPr>
            <p:custDataLst>
              <p:tags r:id="rId67"/>
            </p:custDataLst>
          </p:nvPr>
        </p:nvSpPr>
        <p:spPr bwMode="auto">
          <a:xfrm>
            <a:off x="7813675" y="3009904"/>
            <a:ext cx="31750" cy="4286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0" y="0"/>
              </a:cxn>
              <a:cxn ang="0">
                <a:pos x="37" y="0"/>
              </a:cxn>
              <a:cxn ang="0">
                <a:pos x="55" y="0"/>
              </a:cxn>
              <a:cxn ang="0">
                <a:pos x="73" y="0"/>
              </a:cxn>
            </a:cxnLst>
            <a:rect l="0" t="0" r="r" b="b"/>
            <a:pathLst>
              <a:path w="73">
                <a:moveTo>
                  <a:pt x="0" y="0"/>
                </a:moveTo>
                <a:lnTo>
                  <a:pt x="20" y="0"/>
                </a:lnTo>
                <a:lnTo>
                  <a:pt x="37" y="0"/>
                </a:lnTo>
                <a:lnTo>
                  <a:pt x="55" y="0"/>
                </a:lnTo>
                <a:lnTo>
                  <a:pt x="7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136" name="Freeform 88"/>
          <p:cNvSpPr>
            <a:spLocks/>
          </p:cNvSpPr>
          <p:nvPr>
            <p:custDataLst>
              <p:tags r:id="rId68"/>
            </p:custDataLst>
          </p:nvPr>
        </p:nvSpPr>
        <p:spPr bwMode="auto">
          <a:xfrm>
            <a:off x="7769232" y="3001570"/>
            <a:ext cx="22225" cy="4286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4" y="0"/>
              </a:cxn>
              <a:cxn ang="0">
                <a:pos x="27" y="3"/>
              </a:cxn>
              <a:cxn ang="0">
                <a:pos x="32" y="3"/>
              </a:cxn>
              <a:cxn ang="0">
                <a:pos x="39" y="3"/>
              </a:cxn>
              <a:cxn ang="0">
                <a:pos x="45" y="1"/>
              </a:cxn>
              <a:cxn ang="0">
                <a:pos x="53" y="0"/>
              </a:cxn>
            </a:cxnLst>
            <a:rect l="0" t="0" r="r" b="b"/>
            <a:pathLst>
              <a:path w="53" h="3">
                <a:moveTo>
                  <a:pt x="0" y="0"/>
                </a:moveTo>
                <a:lnTo>
                  <a:pt x="14" y="0"/>
                </a:lnTo>
                <a:lnTo>
                  <a:pt x="27" y="3"/>
                </a:lnTo>
                <a:lnTo>
                  <a:pt x="32" y="3"/>
                </a:lnTo>
                <a:lnTo>
                  <a:pt x="39" y="3"/>
                </a:lnTo>
                <a:lnTo>
                  <a:pt x="45" y="1"/>
                </a:lnTo>
                <a:lnTo>
                  <a:pt x="5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137" name="Line 89"/>
          <p:cNvSpPr>
            <a:spLocks noChangeShapeType="1"/>
          </p:cNvSpPr>
          <p:nvPr>
            <p:custDataLst>
              <p:tags r:id="rId69"/>
            </p:custDataLst>
          </p:nvPr>
        </p:nvSpPr>
        <p:spPr bwMode="auto">
          <a:xfrm>
            <a:off x="7802570" y="2990854"/>
            <a:ext cx="20637" cy="4763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138" name="Freeform 90"/>
          <p:cNvSpPr>
            <a:spLocks/>
          </p:cNvSpPr>
          <p:nvPr>
            <p:custDataLst>
              <p:tags r:id="rId70"/>
            </p:custDataLst>
          </p:nvPr>
        </p:nvSpPr>
        <p:spPr bwMode="auto">
          <a:xfrm>
            <a:off x="7823200" y="2995617"/>
            <a:ext cx="1588" cy="4286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6"/>
              </a:cxn>
              <a:cxn ang="0">
                <a:pos x="0" y="13"/>
              </a:cxn>
            </a:cxnLst>
            <a:rect l="0" t="0" r="r" b="b"/>
            <a:pathLst>
              <a:path h="13">
                <a:moveTo>
                  <a:pt x="0" y="0"/>
                </a:moveTo>
                <a:lnTo>
                  <a:pt x="0" y="6"/>
                </a:lnTo>
                <a:lnTo>
                  <a:pt x="0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139" name="Freeform 91"/>
          <p:cNvSpPr>
            <a:spLocks/>
          </p:cNvSpPr>
          <p:nvPr>
            <p:custDataLst>
              <p:tags r:id="rId71"/>
            </p:custDataLst>
          </p:nvPr>
        </p:nvSpPr>
        <p:spPr bwMode="auto">
          <a:xfrm>
            <a:off x="7777163" y="2990853"/>
            <a:ext cx="14287" cy="44054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5" y="0"/>
              </a:cxn>
              <a:cxn ang="0">
                <a:pos x="26" y="0"/>
              </a:cxn>
            </a:cxnLst>
            <a:rect l="0" t="0" r="r" b="b"/>
            <a:pathLst>
              <a:path w="26">
                <a:moveTo>
                  <a:pt x="0" y="0"/>
                </a:moveTo>
                <a:lnTo>
                  <a:pt x="15" y="0"/>
                </a:lnTo>
                <a:lnTo>
                  <a:pt x="2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140" name="Freeform 92"/>
          <p:cNvSpPr>
            <a:spLocks/>
          </p:cNvSpPr>
          <p:nvPr>
            <p:custDataLst>
              <p:tags r:id="rId72"/>
            </p:custDataLst>
          </p:nvPr>
        </p:nvSpPr>
        <p:spPr bwMode="auto">
          <a:xfrm>
            <a:off x="7770815" y="2976563"/>
            <a:ext cx="6350" cy="45244"/>
          </a:xfrm>
          <a:custGeom>
            <a:avLst/>
            <a:gdLst/>
            <a:ahLst/>
            <a:cxnLst>
              <a:cxn ang="0">
                <a:pos x="20" y="0"/>
              </a:cxn>
              <a:cxn ang="0">
                <a:pos x="0" y="13"/>
              </a:cxn>
              <a:cxn ang="0">
                <a:pos x="4" y="18"/>
              </a:cxn>
              <a:cxn ang="0">
                <a:pos x="10" y="21"/>
              </a:cxn>
              <a:cxn ang="0">
                <a:pos x="14" y="24"/>
              </a:cxn>
              <a:cxn ang="0">
                <a:pos x="20" y="25"/>
              </a:cxn>
              <a:cxn ang="0">
                <a:pos x="20" y="0"/>
              </a:cxn>
            </a:cxnLst>
            <a:rect l="0" t="0" r="r" b="b"/>
            <a:pathLst>
              <a:path w="20" h="25">
                <a:moveTo>
                  <a:pt x="20" y="0"/>
                </a:moveTo>
                <a:lnTo>
                  <a:pt x="0" y="13"/>
                </a:lnTo>
                <a:lnTo>
                  <a:pt x="4" y="18"/>
                </a:lnTo>
                <a:lnTo>
                  <a:pt x="10" y="21"/>
                </a:lnTo>
                <a:lnTo>
                  <a:pt x="14" y="24"/>
                </a:lnTo>
                <a:lnTo>
                  <a:pt x="20" y="25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141" name="Freeform 93"/>
          <p:cNvSpPr>
            <a:spLocks/>
          </p:cNvSpPr>
          <p:nvPr>
            <p:custDataLst>
              <p:tags r:id="rId73"/>
            </p:custDataLst>
          </p:nvPr>
        </p:nvSpPr>
        <p:spPr bwMode="auto">
          <a:xfrm>
            <a:off x="7851775" y="2771775"/>
            <a:ext cx="1588" cy="42863"/>
          </a:xfrm>
          <a:custGeom>
            <a:avLst/>
            <a:gdLst/>
            <a:ahLst/>
            <a:cxnLst>
              <a:cxn ang="0">
                <a:pos x="0" y="24"/>
              </a:cxn>
              <a:cxn ang="0">
                <a:pos x="0" y="0"/>
              </a:cxn>
              <a:cxn ang="0">
                <a:pos x="6" y="12"/>
              </a:cxn>
              <a:cxn ang="0">
                <a:pos x="0" y="24"/>
              </a:cxn>
            </a:cxnLst>
            <a:rect l="0" t="0" r="r" b="b"/>
            <a:pathLst>
              <a:path w="6" h="24">
                <a:moveTo>
                  <a:pt x="0" y="24"/>
                </a:moveTo>
                <a:lnTo>
                  <a:pt x="0" y="0"/>
                </a:lnTo>
                <a:lnTo>
                  <a:pt x="6" y="12"/>
                </a:lnTo>
                <a:lnTo>
                  <a:pt x="0" y="2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grpSp>
        <p:nvGrpSpPr>
          <p:cNvPr id="6" name="Group 94"/>
          <p:cNvGrpSpPr>
            <a:grpSpLocks/>
          </p:cNvGrpSpPr>
          <p:nvPr>
            <p:custDataLst>
              <p:tags r:id="rId74"/>
            </p:custDataLst>
          </p:nvPr>
        </p:nvGrpSpPr>
        <p:grpSpPr bwMode="auto">
          <a:xfrm>
            <a:off x="7726363" y="2525318"/>
            <a:ext cx="163512" cy="85725"/>
            <a:chOff x="5379" y="2466"/>
            <a:chExt cx="122" cy="71"/>
          </a:xfrm>
        </p:grpSpPr>
        <p:sp>
          <p:nvSpPr>
            <p:cNvPr id="2143" name="Freeform 95"/>
            <p:cNvSpPr>
              <a:spLocks/>
            </p:cNvSpPr>
            <p:nvPr/>
          </p:nvSpPr>
          <p:spPr bwMode="auto">
            <a:xfrm>
              <a:off x="5428" y="2492"/>
              <a:ext cx="6" cy="9"/>
            </a:xfrm>
            <a:custGeom>
              <a:avLst/>
              <a:gdLst/>
              <a:ahLst/>
              <a:cxnLst>
                <a:cxn ang="0">
                  <a:pos x="19" y="25"/>
                </a:cxn>
                <a:cxn ang="0">
                  <a:pos x="18" y="20"/>
                </a:cxn>
                <a:cxn ang="0">
                  <a:pos x="17" y="12"/>
                </a:cxn>
                <a:cxn ang="0">
                  <a:pos x="16" y="9"/>
                </a:cxn>
                <a:cxn ang="0">
                  <a:pos x="17" y="6"/>
                </a:cxn>
                <a:cxn ang="0">
                  <a:pos x="17" y="3"/>
                </a:cxn>
                <a:cxn ang="0">
                  <a:pos x="19" y="0"/>
                </a:cxn>
                <a:cxn ang="0">
                  <a:pos x="0" y="0"/>
                </a:cxn>
                <a:cxn ang="0">
                  <a:pos x="1" y="7"/>
                </a:cxn>
                <a:cxn ang="0">
                  <a:pos x="5" y="15"/>
                </a:cxn>
                <a:cxn ang="0">
                  <a:pos x="7" y="19"/>
                </a:cxn>
                <a:cxn ang="0">
                  <a:pos x="11" y="23"/>
                </a:cxn>
                <a:cxn ang="0">
                  <a:pos x="15" y="25"/>
                </a:cxn>
                <a:cxn ang="0">
                  <a:pos x="19" y="25"/>
                </a:cxn>
              </a:cxnLst>
              <a:rect l="0" t="0" r="r" b="b"/>
              <a:pathLst>
                <a:path w="19" h="25">
                  <a:moveTo>
                    <a:pt x="19" y="25"/>
                  </a:moveTo>
                  <a:lnTo>
                    <a:pt x="18" y="20"/>
                  </a:lnTo>
                  <a:lnTo>
                    <a:pt x="17" y="12"/>
                  </a:lnTo>
                  <a:lnTo>
                    <a:pt x="16" y="9"/>
                  </a:lnTo>
                  <a:lnTo>
                    <a:pt x="17" y="6"/>
                  </a:lnTo>
                  <a:lnTo>
                    <a:pt x="17" y="3"/>
                  </a:lnTo>
                  <a:lnTo>
                    <a:pt x="19" y="0"/>
                  </a:lnTo>
                  <a:lnTo>
                    <a:pt x="0" y="0"/>
                  </a:lnTo>
                  <a:lnTo>
                    <a:pt x="1" y="7"/>
                  </a:lnTo>
                  <a:lnTo>
                    <a:pt x="5" y="15"/>
                  </a:lnTo>
                  <a:lnTo>
                    <a:pt x="7" y="19"/>
                  </a:lnTo>
                  <a:lnTo>
                    <a:pt x="11" y="23"/>
                  </a:lnTo>
                  <a:lnTo>
                    <a:pt x="15" y="25"/>
                  </a:lnTo>
                  <a:lnTo>
                    <a:pt x="19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144" name="Freeform 96"/>
            <p:cNvSpPr>
              <a:spLocks/>
            </p:cNvSpPr>
            <p:nvPr/>
          </p:nvSpPr>
          <p:spPr bwMode="auto">
            <a:xfrm>
              <a:off x="5379" y="2505"/>
              <a:ext cx="7" cy="6"/>
            </a:xfrm>
            <a:custGeom>
              <a:avLst/>
              <a:gdLst/>
              <a:ahLst/>
              <a:cxnLst>
                <a:cxn ang="0">
                  <a:pos x="26" y="18"/>
                </a:cxn>
                <a:cxn ang="0">
                  <a:pos x="7" y="18"/>
                </a:cxn>
                <a:cxn ang="0">
                  <a:pos x="3" y="9"/>
                </a:cxn>
                <a:cxn ang="0">
                  <a:pos x="0" y="0"/>
                </a:cxn>
                <a:cxn ang="0">
                  <a:pos x="6" y="2"/>
                </a:cxn>
                <a:cxn ang="0">
                  <a:pos x="13" y="6"/>
                </a:cxn>
                <a:cxn ang="0">
                  <a:pos x="20" y="12"/>
                </a:cxn>
                <a:cxn ang="0">
                  <a:pos x="26" y="18"/>
                </a:cxn>
              </a:cxnLst>
              <a:rect l="0" t="0" r="r" b="b"/>
              <a:pathLst>
                <a:path w="26" h="18">
                  <a:moveTo>
                    <a:pt x="26" y="18"/>
                  </a:moveTo>
                  <a:lnTo>
                    <a:pt x="7" y="18"/>
                  </a:lnTo>
                  <a:lnTo>
                    <a:pt x="3" y="9"/>
                  </a:lnTo>
                  <a:lnTo>
                    <a:pt x="0" y="0"/>
                  </a:lnTo>
                  <a:lnTo>
                    <a:pt x="6" y="2"/>
                  </a:lnTo>
                  <a:lnTo>
                    <a:pt x="13" y="6"/>
                  </a:lnTo>
                  <a:lnTo>
                    <a:pt x="20" y="12"/>
                  </a:lnTo>
                  <a:lnTo>
                    <a:pt x="26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145" name="Freeform 97"/>
            <p:cNvSpPr>
              <a:spLocks/>
            </p:cNvSpPr>
            <p:nvPr/>
          </p:nvSpPr>
          <p:spPr bwMode="auto">
            <a:xfrm>
              <a:off x="5392" y="2466"/>
              <a:ext cx="5" cy="6"/>
            </a:xfrm>
            <a:custGeom>
              <a:avLst/>
              <a:gdLst/>
              <a:ahLst/>
              <a:cxnLst>
                <a:cxn ang="0">
                  <a:pos x="0" y="18"/>
                </a:cxn>
                <a:cxn ang="0">
                  <a:pos x="13" y="0"/>
                </a:cxn>
                <a:cxn ang="0">
                  <a:pos x="0" y="18"/>
                </a:cxn>
              </a:cxnLst>
              <a:rect l="0" t="0" r="r" b="b"/>
              <a:pathLst>
                <a:path w="13" h="18">
                  <a:moveTo>
                    <a:pt x="0" y="18"/>
                  </a:moveTo>
                  <a:lnTo>
                    <a:pt x="13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146" name="Freeform 98"/>
            <p:cNvSpPr>
              <a:spLocks/>
            </p:cNvSpPr>
            <p:nvPr/>
          </p:nvSpPr>
          <p:spPr bwMode="auto">
            <a:xfrm>
              <a:off x="5426" y="2468"/>
              <a:ext cx="8" cy="8"/>
            </a:xfrm>
            <a:custGeom>
              <a:avLst/>
              <a:gdLst/>
              <a:ahLst/>
              <a:cxnLst>
                <a:cxn ang="0">
                  <a:pos x="0" y="24"/>
                </a:cxn>
                <a:cxn ang="0">
                  <a:pos x="3" y="23"/>
                </a:cxn>
                <a:cxn ang="0">
                  <a:pos x="7" y="22"/>
                </a:cxn>
                <a:cxn ang="0">
                  <a:pos x="11" y="19"/>
                </a:cxn>
                <a:cxn ang="0">
                  <a:pos x="16" y="16"/>
                </a:cxn>
                <a:cxn ang="0">
                  <a:pos x="20" y="13"/>
                </a:cxn>
                <a:cxn ang="0">
                  <a:pos x="23" y="9"/>
                </a:cxn>
                <a:cxn ang="0">
                  <a:pos x="25" y="4"/>
                </a:cxn>
                <a:cxn ang="0">
                  <a:pos x="26" y="0"/>
                </a:cxn>
                <a:cxn ang="0">
                  <a:pos x="0" y="24"/>
                </a:cxn>
              </a:cxnLst>
              <a:rect l="0" t="0" r="r" b="b"/>
              <a:pathLst>
                <a:path w="26" h="24">
                  <a:moveTo>
                    <a:pt x="0" y="24"/>
                  </a:moveTo>
                  <a:lnTo>
                    <a:pt x="3" y="23"/>
                  </a:lnTo>
                  <a:lnTo>
                    <a:pt x="7" y="22"/>
                  </a:lnTo>
                  <a:lnTo>
                    <a:pt x="11" y="19"/>
                  </a:lnTo>
                  <a:lnTo>
                    <a:pt x="16" y="16"/>
                  </a:lnTo>
                  <a:lnTo>
                    <a:pt x="20" y="13"/>
                  </a:lnTo>
                  <a:lnTo>
                    <a:pt x="23" y="9"/>
                  </a:lnTo>
                  <a:lnTo>
                    <a:pt x="25" y="4"/>
                  </a:lnTo>
                  <a:lnTo>
                    <a:pt x="26" y="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147" name="Freeform 99"/>
            <p:cNvSpPr>
              <a:spLocks/>
            </p:cNvSpPr>
            <p:nvPr/>
          </p:nvSpPr>
          <p:spPr bwMode="auto">
            <a:xfrm>
              <a:off x="5490" y="2490"/>
              <a:ext cx="11" cy="2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10" y="6"/>
                </a:cxn>
                <a:cxn ang="0">
                  <a:pos x="17" y="5"/>
                </a:cxn>
                <a:cxn ang="0">
                  <a:pos x="25" y="4"/>
                </a:cxn>
                <a:cxn ang="0">
                  <a:pos x="34" y="0"/>
                </a:cxn>
              </a:cxnLst>
              <a:rect l="0" t="0" r="r" b="b"/>
              <a:pathLst>
                <a:path w="34" h="6">
                  <a:moveTo>
                    <a:pt x="0" y="6"/>
                  </a:moveTo>
                  <a:lnTo>
                    <a:pt x="10" y="6"/>
                  </a:lnTo>
                  <a:lnTo>
                    <a:pt x="17" y="5"/>
                  </a:lnTo>
                  <a:lnTo>
                    <a:pt x="25" y="4"/>
                  </a:lnTo>
                  <a:lnTo>
                    <a:pt x="3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148" name="Line 100"/>
            <p:cNvSpPr>
              <a:spLocks noChangeShapeType="1"/>
            </p:cNvSpPr>
            <p:nvPr/>
          </p:nvSpPr>
          <p:spPr bwMode="auto">
            <a:xfrm flipH="1">
              <a:off x="5495" y="2490"/>
              <a:ext cx="6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149" name="Freeform 101"/>
            <p:cNvSpPr>
              <a:spLocks/>
            </p:cNvSpPr>
            <p:nvPr/>
          </p:nvSpPr>
          <p:spPr bwMode="auto">
            <a:xfrm>
              <a:off x="5464" y="2530"/>
              <a:ext cx="1" cy="7"/>
            </a:xfrm>
            <a:custGeom>
              <a:avLst/>
              <a:gdLst/>
              <a:ahLst/>
              <a:cxnLst>
                <a:cxn ang="0">
                  <a:pos x="0" y="19"/>
                </a:cxn>
                <a:cxn ang="0">
                  <a:pos x="0" y="9"/>
                </a:cxn>
                <a:cxn ang="0">
                  <a:pos x="0" y="0"/>
                </a:cxn>
              </a:cxnLst>
              <a:rect l="0" t="0" r="r" b="b"/>
              <a:pathLst>
                <a:path h="19">
                  <a:moveTo>
                    <a:pt x="0" y="19"/>
                  </a:move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150" name="Line 102"/>
            <p:cNvSpPr>
              <a:spLocks noChangeShapeType="1"/>
            </p:cNvSpPr>
            <p:nvPr/>
          </p:nvSpPr>
          <p:spPr bwMode="auto">
            <a:xfrm>
              <a:off x="5464" y="2530"/>
              <a:ext cx="6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151" name="Freeform 103"/>
            <p:cNvSpPr>
              <a:spLocks/>
            </p:cNvSpPr>
            <p:nvPr/>
          </p:nvSpPr>
          <p:spPr bwMode="auto">
            <a:xfrm>
              <a:off x="5466" y="2530"/>
              <a:ext cx="4" cy="2"/>
            </a:xfrm>
            <a:custGeom>
              <a:avLst/>
              <a:gdLst/>
              <a:ahLst/>
              <a:cxnLst>
                <a:cxn ang="0">
                  <a:pos x="14" y="0"/>
                </a:cxn>
                <a:cxn ang="0">
                  <a:pos x="7" y="3"/>
                </a:cxn>
                <a:cxn ang="0">
                  <a:pos x="0" y="6"/>
                </a:cxn>
              </a:cxnLst>
              <a:rect l="0" t="0" r="r" b="b"/>
              <a:pathLst>
                <a:path w="14" h="6">
                  <a:moveTo>
                    <a:pt x="14" y="0"/>
                  </a:moveTo>
                  <a:lnTo>
                    <a:pt x="7" y="3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2152" name="Freeform 104"/>
          <p:cNvSpPr>
            <a:spLocks/>
          </p:cNvSpPr>
          <p:nvPr>
            <p:custDataLst>
              <p:tags r:id="rId75"/>
            </p:custDataLst>
          </p:nvPr>
        </p:nvSpPr>
        <p:spPr bwMode="auto">
          <a:xfrm>
            <a:off x="6310319" y="2421736"/>
            <a:ext cx="6350" cy="42863"/>
          </a:xfrm>
          <a:custGeom>
            <a:avLst/>
            <a:gdLst/>
            <a:ahLst/>
            <a:cxnLst>
              <a:cxn ang="0">
                <a:pos x="13" y="111"/>
              </a:cxn>
              <a:cxn ang="0">
                <a:pos x="9" y="103"/>
              </a:cxn>
              <a:cxn ang="0">
                <a:pos x="4" y="95"/>
              </a:cxn>
              <a:cxn ang="0">
                <a:pos x="2" y="91"/>
              </a:cxn>
              <a:cxn ang="0">
                <a:pos x="1" y="87"/>
              </a:cxn>
              <a:cxn ang="0">
                <a:pos x="0" y="80"/>
              </a:cxn>
              <a:cxn ang="0">
                <a:pos x="0" y="74"/>
              </a:cxn>
              <a:cxn ang="0">
                <a:pos x="0" y="61"/>
              </a:cxn>
              <a:cxn ang="0">
                <a:pos x="1" y="51"/>
              </a:cxn>
              <a:cxn ang="0">
                <a:pos x="3" y="41"/>
              </a:cxn>
              <a:cxn ang="0">
                <a:pos x="5" y="33"/>
              </a:cxn>
              <a:cxn ang="0">
                <a:pos x="9" y="24"/>
              </a:cxn>
              <a:cxn ang="0">
                <a:pos x="14" y="17"/>
              </a:cxn>
              <a:cxn ang="0">
                <a:pos x="20" y="9"/>
              </a:cxn>
              <a:cxn ang="0">
                <a:pos x="26" y="0"/>
              </a:cxn>
              <a:cxn ang="0">
                <a:pos x="26" y="6"/>
              </a:cxn>
              <a:cxn ang="0">
                <a:pos x="26" y="13"/>
              </a:cxn>
              <a:cxn ang="0">
                <a:pos x="26" y="22"/>
              </a:cxn>
              <a:cxn ang="0">
                <a:pos x="26" y="32"/>
              </a:cxn>
              <a:cxn ang="0">
                <a:pos x="25" y="44"/>
              </a:cxn>
              <a:cxn ang="0">
                <a:pos x="22" y="56"/>
              </a:cxn>
              <a:cxn ang="0">
                <a:pos x="18" y="67"/>
              </a:cxn>
              <a:cxn ang="0">
                <a:pos x="13" y="80"/>
              </a:cxn>
              <a:cxn ang="0">
                <a:pos x="13" y="111"/>
              </a:cxn>
            </a:cxnLst>
            <a:rect l="0" t="0" r="r" b="b"/>
            <a:pathLst>
              <a:path w="26" h="111">
                <a:moveTo>
                  <a:pt x="13" y="111"/>
                </a:moveTo>
                <a:lnTo>
                  <a:pt x="9" y="103"/>
                </a:lnTo>
                <a:lnTo>
                  <a:pt x="4" y="95"/>
                </a:lnTo>
                <a:lnTo>
                  <a:pt x="2" y="91"/>
                </a:lnTo>
                <a:lnTo>
                  <a:pt x="1" y="87"/>
                </a:lnTo>
                <a:lnTo>
                  <a:pt x="0" y="80"/>
                </a:lnTo>
                <a:lnTo>
                  <a:pt x="0" y="74"/>
                </a:lnTo>
                <a:lnTo>
                  <a:pt x="0" y="61"/>
                </a:lnTo>
                <a:lnTo>
                  <a:pt x="1" y="51"/>
                </a:lnTo>
                <a:lnTo>
                  <a:pt x="3" y="41"/>
                </a:lnTo>
                <a:lnTo>
                  <a:pt x="5" y="33"/>
                </a:lnTo>
                <a:lnTo>
                  <a:pt x="9" y="24"/>
                </a:lnTo>
                <a:lnTo>
                  <a:pt x="14" y="17"/>
                </a:lnTo>
                <a:lnTo>
                  <a:pt x="20" y="9"/>
                </a:lnTo>
                <a:lnTo>
                  <a:pt x="26" y="0"/>
                </a:lnTo>
                <a:lnTo>
                  <a:pt x="26" y="6"/>
                </a:lnTo>
                <a:lnTo>
                  <a:pt x="26" y="13"/>
                </a:lnTo>
                <a:lnTo>
                  <a:pt x="26" y="22"/>
                </a:lnTo>
                <a:lnTo>
                  <a:pt x="26" y="32"/>
                </a:lnTo>
                <a:lnTo>
                  <a:pt x="25" y="44"/>
                </a:lnTo>
                <a:lnTo>
                  <a:pt x="22" y="56"/>
                </a:lnTo>
                <a:lnTo>
                  <a:pt x="18" y="67"/>
                </a:lnTo>
                <a:lnTo>
                  <a:pt x="13" y="80"/>
                </a:lnTo>
                <a:lnTo>
                  <a:pt x="13" y="11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153" name="Freeform 105"/>
          <p:cNvSpPr>
            <a:spLocks/>
          </p:cNvSpPr>
          <p:nvPr>
            <p:custDataLst>
              <p:tags r:id="rId76"/>
            </p:custDataLst>
          </p:nvPr>
        </p:nvSpPr>
        <p:spPr bwMode="auto">
          <a:xfrm>
            <a:off x="3209932" y="4026696"/>
            <a:ext cx="53975" cy="44054"/>
          </a:xfrm>
          <a:custGeom>
            <a:avLst/>
            <a:gdLst/>
            <a:ahLst/>
            <a:cxnLst>
              <a:cxn ang="0">
                <a:pos x="0" y="19"/>
              </a:cxn>
              <a:cxn ang="0">
                <a:pos x="11" y="20"/>
              </a:cxn>
              <a:cxn ang="0">
                <a:pos x="21" y="21"/>
              </a:cxn>
              <a:cxn ang="0">
                <a:pos x="29" y="23"/>
              </a:cxn>
              <a:cxn ang="0">
                <a:pos x="36" y="26"/>
              </a:cxn>
              <a:cxn ang="0">
                <a:pos x="50" y="33"/>
              </a:cxn>
              <a:cxn ang="0">
                <a:pos x="61" y="40"/>
              </a:cxn>
              <a:cxn ang="0">
                <a:pos x="70" y="48"/>
              </a:cxn>
              <a:cxn ang="0">
                <a:pos x="79" y="55"/>
              </a:cxn>
              <a:cxn ang="0">
                <a:pos x="84" y="58"/>
              </a:cxn>
              <a:cxn ang="0">
                <a:pos x="89" y="60"/>
              </a:cxn>
              <a:cxn ang="0">
                <a:pos x="95" y="61"/>
              </a:cxn>
              <a:cxn ang="0">
                <a:pos x="100" y="62"/>
              </a:cxn>
              <a:cxn ang="0">
                <a:pos x="105" y="61"/>
              </a:cxn>
              <a:cxn ang="0">
                <a:pos x="109" y="60"/>
              </a:cxn>
              <a:cxn ang="0">
                <a:pos x="113" y="58"/>
              </a:cxn>
              <a:cxn ang="0">
                <a:pos x="117" y="56"/>
              </a:cxn>
              <a:cxn ang="0">
                <a:pos x="122" y="51"/>
              </a:cxn>
              <a:cxn ang="0">
                <a:pos x="126" y="49"/>
              </a:cxn>
              <a:cxn ang="0">
                <a:pos x="110" y="33"/>
              </a:cxn>
              <a:cxn ang="0">
                <a:pos x="96" y="21"/>
              </a:cxn>
              <a:cxn ang="0">
                <a:pos x="89" y="15"/>
              </a:cxn>
              <a:cxn ang="0">
                <a:pos x="81" y="9"/>
              </a:cxn>
              <a:cxn ang="0">
                <a:pos x="72" y="5"/>
              </a:cxn>
              <a:cxn ang="0">
                <a:pos x="61" y="0"/>
              </a:cxn>
              <a:cxn ang="0">
                <a:pos x="0" y="0"/>
              </a:cxn>
              <a:cxn ang="0">
                <a:pos x="0" y="9"/>
              </a:cxn>
              <a:cxn ang="0">
                <a:pos x="0" y="19"/>
              </a:cxn>
            </a:cxnLst>
            <a:rect l="0" t="0" r="r" b="b"/>
            <a:pathLst>
              <a:path w="126" h="62">
                <a:moveTo>
                  <a:pt x="0" y="19"/>
                </a:moveTo>
                <a:lnTo>
                  <a:pt x="11" y="20"/>
                </a:lnTo>
                <a:lnTo>
                  <a:pt x="21" y="21"/>
                </a:lnTo>
                <a:lnTo>
                  <a:pt x="29" y="23"/>
                </a:lnTo>
                <a:lnTo>
                  <a:pt x="36" y="26"/>
                </a:lnTo>
                <a:lnTo>
                  <a:pt x="50" y="33"/>
                </a:lnTo>
                <a:lnTo>
                  <a:pt x="61" y="40"/>
                </a:lnTo>
                <a:lnTo>
                  <a:pt x="70" y="48"/>
                </a:lnTo>
                <a:lnTo>
                  <a:pt x="79" y="55"/>
                </a:lnTo>
                <a:lnTo>
                  <a:pt x="84" y="58"/>
                </a:lnTo>
                <a:lnTo>
                  <a:pt x="89" y="60"/>
                </a:lnTo>
                <a:lnTo>
                  <a:pt x="95" y="61"/>
                </a:lnTo>
                <a:lnTo>
                  <a:pt x="100" y="62"/>
                </a:lnTo>
                <a:lnTo>
                  <a:pt x="105" y="61"/>
                </a:lnTo>
                <a:lnTo>
                  <a:pt x="109" y="60"/>
                </a:lnTo>
                <a:lnTo>
                  <a:pt x="113" y="58"/>
                </a:lnTo>
                <a:lnTo>
                  <a:pt x="117" y="56"/>
                </a:lnTo>
                <a:lnTo>
                  <a:pt x="122" y="51"/>
                </a:lnTo>
                <a:lnTo>
                  <a:pt x="126" y="49"/>
                </a:lnTo>
                <a:lnTo>
                  <a:pt x="110" y="33"/>
                </a:lnTo>
                <a:lnTo>
                  <a:pt x="96" y="21"/>
                </a:lnTo>
                <a:lnTo>
                  <a:pt x="89" y="15"/>
                </a:lnTo>
                <a:lnTo>
                  <a:pt x="81" y="9"/>
                </a:lnTo>
                <a:lnTo>
                  <a:pt x="72" y="5"/>
                </a:lnTo>
                <a:lnTo>
                  <a:pt x="61" y="0"/>
                </a:lnTo>
                <a:lnTo>
                  <a:pt x="0" y="0"/>
                </a:lnTo>
                <a:lnTo>
                  <a:pt x="0" y="9"/>
                </a:lnTo>
                <a:lnTo>
                  <a:pt x="0" y="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154" name="Freeform 106"/>
          <p:cNvSpPr>
            <a:spLocks/>
          </p:cNvSpPr>
          <p:nvPr>
            <p:custDataLst>
              <p:tags r:id="rId77"/>
            </p:custDataLst>
          </p:nvPr>
        </p:nvSpPr>
        <p:spPr bwMode="auto">
          <a:xfrm>
            <a:off x="5511807" y="3905256"/>
            <a:ext cx="30163" cy="41672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3" y="1"/>
              </a:cxn>
              <a:cxn ang="0">
                <a:pos x="23" y="2"/>
              </a:cxn>
              <a:cxn ang="0">
                <a:pos x="32" y="4"/>
              </a:cxn>
              <a:cxn ang="0">
                <a:pos x="38" y="7"/>
              </a:cxn>
              <a:cxn ang="0">
                <a:pos x="44" y="9"/>
              </a:cxn>
              <a:cxn ang="0">
                <a:pos x="50" y="11"/>
              </a:cxn>
              <a:cxn ang="0">
                <a:pos x="57" y="12"/>
              </a:cxn>
              <a:cxn ang="0">
                <a:pos x="66" y="13"/>
              </a:cxn>
              <a:cxn ang="0">
                <a:pos x="65" y="17"/>
              </a:cxn>
              <a:cxn ang="0">
                <a:pos x="62" y="21"/>
              </a:cxn>
              <a:cxn ang="0">
                <a:pos x="60" y="25"/>
              </a:cxn>
              <a:cxn ang="0">
                <a:pos x="57" y="28"/>
              </a:cxn>
              <a:cxn ang="0">
                <a:pos x="49" y="34"/>
              </a:cxn>
              <a:cxn ang="0">
                <a:pos x="40" y="39"/>
              </a:cxn>
              <a:cxn ang="0">
                <a:pos x="31" y="42"/>
              </a:cxn>
              <a:cxn ang="0">
                <a:pos x="21" y="44"/>
              </a:cxn>
              <a:cxn ang="0">
                <a:pos x="10" y="44"/>
              </a:cxn>
              <a:cxn ang="0">
                <a:pos x="0" y="43"/>
              </a:cxn>
              <a:cxn ang="0">
                <a:pos x="0" y="31"/>
              </a:cxn>
              <a:cxn ang="0">
                <a:pos x="0" y="22"/>
              </a:cxn>
              <a:cxn ang="0">
                <a:pos x="0" y="12"/>
              </a:cxn>
              <a:cxn ang="0">
                <a:pos x="0" y="0"/>
              </a:cxn>
            </a:cxnLst>
            <a:rect l="0" t="0" r="r" b="b"/>
            <a:pathLst>
              <a:path w="66" h="44">
                <a:moveTo>
                  <a:pt x="0" y="0"/>
                </a:moveTo>
                <a:lnTo>
                  <a:pt x="13" y="1"/>
                </a:lnTo>
                <a:lnTo>
                  <a:pt x="23" y="2"/>
                </a:lnTo>
                <a:lnTo>
                  <a:pt x="32" y="4"/>
                </a:lnTo>
                <a:lnTo>
                  <a:pt x="38" y="7"/>
                </a:lnTo>
                <a:lnTo>
                  <a:pt x="44" y="9"/>
                </a:lnTo>
                <a:lnTo>
                  <a:pt x="50" y="11"/>
                </a:lnTo>
                <a:lnTo>
                  <a:pt x="57" y="12"/>
                </a:lnTo>
                <a:lnTo>
                  <a:pt x="66" y="13"/>
                </a:lnTo>
                <a:lnTo>
                  <a:pt x="65" y="17"/>
                </a:lnTo>
                <a:lnTo>
                  <a:pt x="62" y="21"/>
                </a:lnTo>
                <a:lnTo>
                  <a:pt x="60" y="25"/>
                </a:lnTo>
                <a:lnTo>
                  <a:pt x="57" y="28"/>
                </a:lnTo>
                <a:lnTo>
                  <a:pt x="49" y="34"/>
                </a:lnTo>
                <a:lnTo>
                  <a:pt x="40" y="39"/>
                </a:lnTo>
                <a:lnTo>
                  <a:pt x="31" y="42"/>
                </a:lnTo>
                <a:lnTo>
                  <a:pt x="21" y="44"/>
                </a:lnTo>
                <a:lnTo>
                  <a:pt x="10" y="44"/>
                </a:lnTo>
                <a:lnTo>
                  <a:pt x="0" y="43"/>
                </a:lnTo>
                <a:lnTo>
                  <a:pt x="0" y="31"/>
                </a:lnTo>
                <a:lnTo>
                  <a:pt x="0" y="22"/>
                </a:lnTo>
                <a:lnTo>
                  <a:pt x="0" y="12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155" name="Freeform 107"/>
          <p:cNvSpPr>
            <a:spLocks/>
          </p:cNvSpPr>
          <p:nvPr>
            <p:custDataLst>
              <p:tags r:id="rId78"/>
            </p:custDataLst>
          </p:nvPr>
        </p:nvSpPr>
        <p:spPr bwMode="auto">
          <a:xfrm>
            <a:off x="7666045" y="1483522"/>
            <a:ext cx="20637" cy="42863"/>
          </a:xfrm>
          <a:custGeom>
            <a:avLst/>
            <a:gdLst/>
            <a:ahLst/>
            <a:cxnLst>
              <a:cxn ang="0">
                <a:pos x="46" y="0"/>
              </a:cxn>
              <a:cxn ang="0">
                <a:pos x="40" y="7"/>
              </a:cxn>
              <a:cxn ang="0">
                <a:pos x="35" y="13"/>
              </a:cxn>
              <a:cxn ang="0">
                <a:pos x="31" y="14"/>
              </a:cxn>
              <a:cxn ang="0">
                <a:pos x="29" y="15"/>
              </a:cxn>
              <a:cxn ang="0">
                <a:pos x="26" y="16"/>
              </a:cxn>
              <a:cxn ang="0">
                <a:pos x="23" y="16"/>
              </a:cxn>
              <a:cxn ang="0">
                <a:pos x="16" y="14"/>
              </a:cxn>
              <a:cxn ang="0">
                <a:pos x="11" y="11"/>
              </a:cxn>
              <a:cxn ang="0">
                <a:pos x="5" y="6"/>
              </a:cxn>
              <a:cxn ang="0">
                <a:pos x="0" y="0"/>
              </a:cxn>
              <a:cxn ang="0">
                <a:pos x="46" y="0"/>
              </a:cxn>
            </a:cxnLst>
            <a:rect l="0" t="0" r="r" b="b"/>
            <a:pathLst>
              <a:path w="46" h="16">
                <a:moveTo>
                  <a:pt x="46" y="0"/>
                </a:moveTo>
                <a:lnTo>
                  <a:pt x="40" y="7"/>
                </a:lnTo>
                <a:lnTo>
                  <a:pt x="35" y="13"/>
                </a:lnTo>
                <a:lnTo>
                  <a:pt x="31" y="14"/>
                </a:lnTo>
                <a:lnTo>
                  <a:pt x="29" y="15"/>
                </a:lnTo>
                <a:lnTo>
                  <a:pt x="26" y="16"/>
                </a:lnTo>
                <a:lnTo>
                  <a:pt x="23" y="16"/>
                </a:lnTo>
                <a:lnTo>
                  <a:pt x="16" y="14"/>
                </a:lnTo>
                <a:lnTo>
                  <a:pt x="11" y="11"/>
                </a:lnTo>
                <a:lnTo>
                  <a:pt x="5" y="6"/>
                </a:lnTo>
                <a:lnTo>
                  <a:pt x="0" y="0"/>
                </a:lnTo>
                <a:lnTo>
                  <a:pt x="4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156" name="Freeform 108"/>
          <p:cNvSpPr>
            <a:spLocks/>
          </p:cNvSpPr>
          <p:nvPr>
            <p:custDataLst>
              <p:tags r:id="rId79"/>
            </p:custDataLst>
          </p:nvPr>
        </p:nvSpPr>
        <p:spPr bwMode="auto">
          <a:xfrm>
            <a:off x="7236296" y="1923682"/>
            <a:ext cx="15875" cy="42863"/>
          </a:xfrm>
          <a:custGeom>
            <a:avLst/>
            <a:gdLst/>
            <a:ahLst/>
            <a:cxnLst>
              <a:cxn ang="0">
                <a:pos x="39" y="25"/>
              </a:cxn>
              <a:cxn ang="0">
                <a:pos x="36" y="26"/>
              </a:cxn>
              <a:cxn ang="0">
                <a:pos x="32" y="26"/>
              </a:cxn>
              <a:cxn ang="0">
                <a:pos x="28" y="26"/>
              </a:cxn>
              <a:cxn ang="0">
                <a:pos x="25" y="25"/>
              </a:cxn>
              <a:cxn ang="0">
                <a:pos x="18" y="22"/>
              </a:cxn>
              <a:cxn ang="0">
                <a:pos x="12" y="18"/>
              </a:cxn>
              <a:cxn ang="0">
                <a:pos x="7" y="13"/>
              </a:cxn>
              <a:cxn ang="0">
                <a:pos x="3" y="7"/>
              </a:cxn>
              <a:cxn ang="0">
                <a:pos x="1" y="3"/>
              </a:cxn>
              <a:cxn ang="0">
                <a:pos x="0" y="0"/>
              </a:cxn>
              <a:cxn ang="0">
                <a:pos x="11" y="6"/>
              </a:cxn>
              <a:cxn ang="0">
                <a:pos x="22" y="13"/>
              </a:cxn>
              <a:cxn ang="0">
                <a:pos x="33" y="20"/>
              </a:cxn>
              <a:cxn ang="0">
                <a:pos x="39" y="25"/>
              </a:cxn>
            </a:cxnLst>
            <a:rect l="0" t="0" r="r" b="b"/>
            <a:pathLst>
              <a:path w="39" h="26">
                <a:moveTo>
                  <a:pt x="39" y="25"/>
                </a:moveTo>
                <a:lnTo>
                  <a:pt x="36" y="26"/>
                </a:lnTo>
                <a:lnTo>
                  <a:pt x="32" y="26"/>
                </a:lnTo>
                <a:lnTo>
                  <a:pt x="28" y="26"/>
                </a:lnTo>
                <a:lnTo>
                  <a:pt x="25" y="25"/>
                </a:lnTo>
                <a:lnTo>
                  <a:pt x="18" y="22"/>
                </a:lnTo>
                <a:lnTo>
                  <a:pt x="12" y="18"/>
                </a:lnTo>
                <a:lnTo>
                  <a:pt x="7" y="13"/>
                </a:lnTo>
                <a:lnTo>
                  <a:pt x="3" y="7"/>
                </a:lnTo>
                <a:lnTo>
                  <a:pt x="1" y="3"/>
                </a:lnTo>
                <a:lnTo>
                  <a:pt x="0" y="0"/>
                </a:lnTo>
                <a:lnTo>
                  <a:pt x="11" y="6"/>
                </a:lnTo>
                <a:lnTo>
                  <a:pt x="22" y="13"/>
                </a:lnTo>
                <a:lnTo>
                  <a:pt x="33" y="20"/>
                </a:lnTo>
                <a:lnTo>
                  <a:pt x="39" y="25"/>
                </a:lnTo>
              </a:path>
            </a:pathLst>
          </a:custGeom>
          <a:solidFill>
            <a:srgbClr val="FF000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157" name="Freeform 109"/>
          <p:cNvSpPr>
            <a:spLocks/>
          </p:cNvSpPr>
          <p:nvPr>
            <p:custDataLst>
              <p:tags r:id="rId80"/>
            </p:custDataLst>
          </p:nvPr>
        </p:nvSpPr>
        <p:spPr bwMode="auto">
          <a:xfrm>
            <a:off x="7291393" y="1681164"/>
            <a:ext cx="4762" cy="44054"/>
          </a:xfrm>
          <a:custGeom>
            <a:avLst/>
            <a:gdLst/>
            <a:ahLst/>
            <a:cxnLst>
              <a:cxn ang="0">
                <a:pos x="11" y="0"/>
              </a:cxn>
              <a:cxn ang="0">
                <a:pos x="11" y="5"/>
              </a:cxn>
              <a:cxn ang="0">
                <a:pos x="10" y="12"/>
              </a:cxn>
              <a:cxn ang="0">
                <a:pos x="9" y="20"/>
              </a:cxn>
              <a:cxn ang="0">
                <a:pos x="4" y="25"/>
              </a:cxn>
              <a:cxn ang="0">
                <a:pos x="2" y="23"/>
              </a:cxn>
              <a:cxn ang="0">
                <a:pos x="1" y="20"/>
              </a:cxn>
              <a:cxn ang="0">
                <a:pos x="0" y="15"/>
              </a:cxn>
              <a:cxn ang="0">
                <a:pos x="0" y="12"/>
              </a:cxn>
              <a:cxn ang="0">
                <a:pos x="1" y="9"/>
              </a:cxn>
              <a:cxn ang="0">
                <a:pos x="3" y="5"/>
              </a:cxn>
              <a:cxn ang="0">
                <a:pos x="6" y="2"/>
              </a:cxn>
              <a:cxn ang="0">
                <a:pos x="11" y="0"/>
              </a:cxn>
            </a:cxnLst>
            <a:rect l="0" t="0" r="r" b="b"/>
            <a:pathLst>
              <a:path w="11" h="25">
                <a:moveTo>
                  <a:pt x="11" y="0"/>
                </a:moveTo>
                <a:lnTo>
                  <a:pt x="11" y="5"/>
                </a:lnTo>
                <a:lnTo>
                  <a:pt x="10" y="12"/>
                </a:lnTo>
                <a:lnTo>
                  <a:pt x="9" y="20"/>
                </a:lnTo>
                <a:lnTo>
                  <a:pt x="4" y="25"/>
                </a:lnTo>
                <a:lnTo>
                  <a:pt x="2" y="23"/>
                </a:lnTo>
                <a:lnTo>
                  <a:pt x="1" y="20"/>
                </a:lnTo>
                <a:lnTo>
                  <a:pt x="0" y="15"/>
                </a:lnTo>
                <a:lnTo>
                  <a:pt x="0" y="12"/>
                </a:lnTo>
                <a:lnTo>
                  <a:pt x="1" y="9"/>
                </a:lnTo>
                <a:lnTo>
                  <a:pt x="3" y="5"/>
                </a:lnTo>
                <a:lnTo>
                  <a:pt x="6" y="2"/>
                </a:lnTo>
                <a:lnTo>
                  <a:pt x="11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158" name="Freeform 110"/>
          <p:cNvSpPr>
            <a:spLocks/>
          </p:cNvSpPr>
          <p:nvPr>
            <p:custDataLst>
              <p:tags r:id="rId81"/>
            </p:custDataLst>
          </p:nvPr>
        </p:nvSpPr>
        <p:spPr bwMode="auto">
          <a:xfrm>
            <a:off x="7105650" y="2102646"/>
            <a:ext cx="14288" cy="44054"/>
          </a:xfrm>
          <a:custGeom>
            <a:avLst/>
            <a:gdLst/>
            <a:ahLst/>
            <a:cxnLst>
              <a:cxn ang="0">
                <a:pos x="20" y="0"/>
              </a:cxn>
              <a:cxn ang="0">
                <a:pos x="16" y="12"/>
              </a:cxn>
              <a:cxn ang="0">
                <a:pos x="10" y="20"/>
              </a:cxn>
              <a:cxn ang="0">
                <a:pos x="5" y="26"/>
              </a:cxn>
              <a:cxn ang="0">
                <a:pos x="0" y="31"/>
              </a:cxn>
              <a:cxn ang="0">
                <a:pos x="0" y="25"/>
              </a:cxn>
              <a:cxn ang="0">
                <a:pos x="1" y="19"/>
              </a:cxn>
              <a:cxn ang="0">
                <a:pos x="2" y="13"/>
              </a:cxn>
              <a:cxn ang="0">
                <a:pos x="5" y="9"/>
              </a:cxn>
              <a:cxn ang="0">
                <a:pos x="8" y="6"/>
              </a:cxn>
              <a:cxn ang="0">
                <a:pos x="11" y="3"/>
              </a:cxn>
              <a:cxn ang="0">
                <a:pos x="16" y="0"/>
              </a:cxn>
              <a:cxn ang="0">
                <a:pos x="20" y="0"/>
              </a:cxn>
            </a:cxnLst>
            <a:rect l="0" t="0" r="r" b="b"/>
            <a:pathLst>
              <a:path w="20" h="31">
                <a:moveTo>
                  <a:pt x="20" y="0"/>
                </a:moveTo>
                <a:lnTo>
                  <a:pt x="16" y="12"/>
                </a:lnTo>
                <a:lnTo>
                  <a:pt x="10" y="20"/>
                </a:lnTo>
                <a:lnTo>
                  <a:pt x="5" y="26"/>
                </a:lnTo>
                <a:lnTo>
                  <a:pt x="0" y="31"/>
                </a:lnTo>
                <a:lnTo>
                  <a:pt x="0" y="25"/>
                </a:lnTo>
                <a:lnTo>
                  <a:pt x="1" y="19"/>
                </a:lnTo>
                <a:lnTo>
                  <a:pt x="2" y="13"/>
                </a:lnTo>
                <a:lnTo>
                  <a:pt x="5" y="9"/>
                </a:lnTo>
                <a:lnTo>
                  <a:pt x="8" y="6"/>
                </a:lnTo>
                <a:lnTo>
                  <a:pt x="11" y="3"/>
                </a:lnTo>
                <a:lnTo>
                  <a:pt x="16" y="0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159" name="Freeform 111"/>
          <p:cNvSpPr>
            <a:spLocks/>
          </p:cNvSpPr>
          <p:nvPr>
            <p:custDataLst>
              <p:tags r:id="rId82"/>
            </p:custDataLst>
          </p:nvPr>
        </p:nvSpPr>
        <p:spPr bwMode="auto">
          <a:xfrm>
            <a:off x="7123113" y="2053833"/>
            <a:ext cx="15875" cy="42863"/>
          </a:xfrm>
          <a:custGeom>
            <a:avLst/>
            <a:gdLst/>
            <a:ahLst/>
            <a:cxnLst>
              <a:cxn ang="0">
                <a:pos x="13" y="37"/>
              </a:cxn>
              <a:cxn ang="0">
                <a:pos x="0" y="12"/>
              </a:cxn>
              <a:cxn ang="0">
                <a:pos x="6" y="7"/>
              </a:cxn>
              <a:cxn ang="0">
                <a:pos x="13" y="4"/>
              </a:cxn>
              <a:cxn ang="0">
                <a:pos x="21" y="1"/>
              </a:cxn>
              <a:cxn ang="0">
                <a:pos x="26" y="0"/>
              </a:cxn>
              <a:cxn ang="0">
                <a:pos x="26" y="6"/>
              </a:cxn>
              <a:cxn ang="0">
                <a:pos x="25" y="11"/>
              </a:cxn>
              <a:cxn ang="0">
                <a:pos x="24" y="17"/>
              </a:cxn>
              <a:cxn ang="0">
                <a:pos x="23" y="21"/>
              </a:cxn>
              <a:cxn ang="0">
                <a:pos x="18" y="29"/>
              </a:cxn>
              <a:cxn ang="0">
                <a:pos x="13" y="37"/>
              </a:cxn>
            </a:cxnLst>
            <a:rect l="0" t="0" r="r" b="b"/>
            <a:pathLst>
              <a:path w="26" h="37">
                <a:moveTo>
                  <a:pt x="13" y="37"/>
                </a:moveTo>
                <a:lnTo>
                  <a:pt x="0" y="12"/>
                </a:lnTo>
                <a:lnTo>
                  <a:pt x="6" y="7"/>
                </a:lnTo>
                <a:lnTo>
                  <a:pt x="13" y="4"/>
                </a:lnTo>
                <a:lnTo>
                  <a:pt x="21" y="1"/>
                </a:lnTo>
                <a:lnTo>
                  <a:pt x="26" y="0"/>
                </a:lnTo>
                <a:lnTo>
                  <a:pt x="26" y="6"/>
                </a:lnTo>
                <a:lnTo>
                  <a:pt x="25" y="11"/>
                </a:lnTo>
                <a:lnTo>
                  <a:pt x="24" y="17"/>
                </a:lnTo>
                <a:lnTo>
                  <a:pt x="23" y="21"/>
                </a:lnTo>
                <a:lnTo>
                  <a:pt x="18" y="29"/>
                </a:lnTo>
                <a:lnTo>
                  <a:pt x="13" y="3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160" name="Freeform 112"/>
          <p:cNvSpPr>
            <a:spLocks/>
          </p:cNvSpPr>
          <p:nvPr>
            <p:custDataLst>
              <p:tags r:id="rId83"/>
            </p:custDataLst>
          </p:nvPr>
        </p:nvSpPr>
        <p:spPr bwMode="auto">
          <a:xfrm>
            <a:off x="7011995" y="1940726"/>
            <a:ext cx="1587" cy="45244"/>
          </a:xfrm>
          <a:custGeom>
            <a:avLst/>
            <a:gdLst/>
            <a:ahLst/>
            <a:cxnLst>
              <a:cxn ang="0">
                <a:pos x="0" y="18"/>
              </a:cxn>
              <a:cxn ang="0">
                <a:pos x="0" y="0"/>
              </a:cxn>
              <a:cxn ang="0">
                <a:pos x="7" y="12"/>
              </a:cxn>
              <a:cxn ang="0">
                <a:pos x="0" y="18"/>
              </a:cxn>
            </a:cxnLst>
            <a:rect l="0" t="0" r="r" b="b"/>
            <a:pathLst>
              <a:path w="7" h="18">
                <a:moveTo>
                  <a:pt x="0" y="18"/>
                </a:moveTo>
                <a:lnTo>
                  <a:pt x="0" y="0"/>
                </a:lnTo>
                <a:lnTo>
                  <a:pt x="7" y="12"/>
                </a:lnTo>
                <a:lnTo>
                  <a:pt x="0" y="1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161" name="Freeform 113"/>
          <p:cNvSpPr>
            <a:spLocks/>
          </p:cNvSpPr>
          <p:nvPr>
            <p:custDataLst>
              <p:tags r:id="rId84"/>
            </p:custDataLst>
          </p:nvPr>
        </p:nvSpPr>
        <p:spPr bwMode="auto">
          <a:xfrm>
            <a:off x="3863978" y="1285875"/>
            <a:ext cx="9525" cy="42863"/>
          </a:xfrm>
          <a:custGeom>
            <a:avLst/>
            <a:gdLst/>
            <a:ahLst/>
            <a:cxnLst>
              <a:cxn ang="0">
                <a:pos x="0" y="12"/>
              </a:cxn>
              <a:cxn ang="0">
                <a:pos x="19" y="0"/>
              </a:cxn>
              <a:cxn ang="0">
                <a:pos x="24" y="5"/>
              </a:cxn>
              <a:cxn ang="0">
                <a:pos x="28" y="12"/>
              </a:cxn>
              <a:cxn ang="0">
                <a:pos x="32" y="22"/>
              </a:cxn>
              <a:cxn ang="0">
                <a:pos x="33" y="31"/>
              </a:cxn>
              <a:cxn ang="0">
                <a:pos x="27" y="30"/>
              </a:cxn>
              <a:cxn ang="0">
                <a:pos x="22" y="28"/>
              </a:cxn>
              <a:cxn ang="0">
                <a:pos x="16" y="25"/>
              </a:cxn>
              <a:cxn ang="0">
                <a:pos x="11" y="22"/>
              </a:cxn>
              <a:cxn ang="0">
                <a:pos x="3" y="15"/>
              </a:cxn>
              <a:cxn ang="0">
                <a:pos x="0" y="12"/>
              </a:cxn>
            </a:cxnLst>
            <a:rect l="0" t="0" r="r" b="b"/>
            <a:pathLst>
              <a:path w="33" h="31">
                <a:moveTo>
                  <a:pt x="0" y="12"/>
                </a:moveTo>
                <a:lnTo>
                  <a:pt x="19" y="0"/>
                </a:lnTo>
                <a:lnTo>
                  <a:pt x="24" y="5"/>
                </a:lnTo>
                <a:lnTo>
                  <a:pt x="28" y="12"/>
                </a:lnTo>
                <a:lnTo>
                  <a:pt x="32" y="22"/>
                </a:lnTo>
                <a:lnTo>
                  <a:pt x="33" y="31"/>
                </a:lnTo>
                <a:lnTo>
                  <a:pt x="27" y="30"/>
                </a:lnTo>
                <a:lnTo>
                  <a:pt x="22" y="28"/>
                </a:lnTo>
                <a:lnTo>
                  <a:pt x="16" y="25"/>
                </a:lnTo>
                <a:lnTo>
                  <a:pt x="11" y="22"/>
                </a:lnTo>
                <a:lnTo>
                  <a:pt x="3" y="15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162" name="Freeform 114"/>
          <p:cNvSpPr>
            <a:spLocks/>
          </p:cNvSpPr>
          <p:nvPr>
            <p:custDataLst>
              <p:tags r:id="rId85"/>
            </p:custDataLst>
          </p:nvPr>
        </p:nvSpPr>
        <p:spPr bwMode="auto">
          <a:xfrm>
            <a:off x="3849693" y="1112049"/>
            <a:ext cx="3175" cy="42863"/>
          </a:xfrm>
          <a:custGeom>
            <a:avLst/>
            <a:gdLst/>
            <a:ahLst/>
            <a:cxnLst>
              <a:cxn ang="0">
                <a:pos x="14" y="0"/>
              </a:cxn>
              <a:cxn ang="0">
                <a:pos x="0" y="6"/>
              </a:cxn>
              <a:cxn ang="0">
                <a:pos x="14" y="0"/>
              </a:cxn>
            </a:cxnLst>
            <a:rect l="0" t="0" r="r" b="b"/>
            <a:pathLst>
              <a:path w="14" h="6">
                <a:moveTo>
                  <a:pt x="14" y="0"/>
                </a:moveTo>
                <a:lnTo>
                  <a:pt x="0" y="6"/>
                </a:lnTo>
                <a:lnTo>
                  <a:pt x="1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163" name="Freeform 115"/>
          <p:cNvSpPr>
            <a:spLocks/>
          </p:cNvSpPr>
          <p:nvPr>
            <p:custDataLst>
              <p:tags r:id="rId86"/>
            </p:custDataLst>
          </p:nvPr>
        </p:nvSpPr>
        <p:spPr bwMode="auto">
          <a:xfrm>
            <a:off x="5330825" y="2445552"/>
            <a:ext cx="25400" cy="41672"/>
          </a:xfrm>
          <a:custGeom>
            <a:avLst/>
            <a:gdLst/>
            <a:ahLst/>
            <a:cxnLst>
              <a:cxn ang="0">
                <a:pos x="59" y="6"/>
              </a:cxn>
              <a:cxn ang="0">
                <a:pos x="57" y="11"/>
              </a:cxn>
              <a:cxn ang="0">
                <a:pos x="53" y="15"/>
              </a:cxn>
              <a:cxn ang="0">
                <a:pos x="49" y="19"/>
              </a:cxn>
              <a:cxn ang="0">
                <a:pos x="45" y="24"/>
              </a:cxn>
              <a:cxn ang="0">
                <a:pos x="40" y="27"/>
              </a:cxn>
              <a:cxn ang="0">
                <a:pos x="36" y="29"/>
              </a:cxn>
              <a:cxn ang="0">
                <a:pos x="30" y="31"/>
              </a:cxn>
              <a:cxn ang="0">
                <a:pos x="26" y="31"/>
              </a:cxn>
              <a:cxn ang="0">
                <a:pos x="21" y="31"/>
              </a:cxn>
              <a:cxn ang="0">
                <a:pos x="17" y="30"/>
              </a:cxn>
              <a:cxn ang="0">
                <a:pos x="14" y="29"/>
              </a:cxn>
              <a:cxn ang="0">
                <a:pos x="11" y="27"/>
              </a:cxn>
              <a:cxn ang="0">
                <a:pos x="4" y="20"/>
              </a:cxn>
              <a:cxn ang="0">
                <a:pos x="0" y="12"/>
              </a:cxn>
              <a:cxn ang="0">
                <a:pos x="1" y="9"/>
              </a:cxn>
              <a:cxn ang="0">
                <a:pos x="3" y="6"/>
              </a:cxn>
              <a:cxn ang="0">
                <a:pos x="5" y="4"/>
              </a:cxn>
              <a:cxn ang="0">
                <a:pos x="8" y="3"/>
              </a:cxn>
              <a:cxn ang="0">
                <a:pos x="16" y="1"/>
              </a:cxn>
              <a:cxn ang="0">
                <a:pos x="24" y="0"/>
              </a:cxn>
              <a:cxn ang="0">
                <a:pos x="34" y="0"/>
              </a:cxn>
              <a:cxn ang="0">
                <a:pos x="42" y="2"/>
              </a:cxn>
              <a:cxn ang="0">
                <a:pos x="51" y="4"/>
              </a:cxn>
              <a:cxn ang="0">
                <a:pos x="59" y="6"/>
              </a:cxn>
            </a:cxnLst>
            <a:rect l="0" t="0" r="r" b="b"/>
            <a:pathLst>
              <a:path w="59" h="31">
                <a:moveTo>
                  <a:pt x="59" y="6"/>
                </a:moveTo>
                <a:lnTo>
                  <a:pt x="57" y="11"/>
                </a:lnTo>
                <a:lnTo>
                  <a:pt x="53" y="15"/>
                </a:lnTo>
                <a:lnTo>
                  <a:pt x="49" y="19"/>
                </a:lnTo>
                <a:lnTo>
                  <a:pt x="45" y="24"/>
                </a:lnTo>
                <a:lnTo>
                  <a:pt x="40" y="27"/>
                </a:lnTo>
                <a:lnTo>
                  <a:pt x="36" y="29"/>
                </a:lnTo>
                <a:lnTo>
                  <a:pt x="30" y="31"/>
                </a:lnTo>
                <a:lnTo>
                  <a:pt x="26" y="31"/>
                </a:lnTo>
                <a:lnTo>
                  <a:pt x="21" y="31"/>
                </a:lnTo>
                <a:lnTo>
                  <a:pt x="17" y="30"/>
                </a:lnTo>
                <a:lnTo>
                  <a:pt x="14" y="29"/>
                </a:lnTo>
                <a:lnTo>
                  <a:pt x="11" y="27"/>
                </a:lnTo>
                <a:lnTo>
                  <a:pt x="4" y="20"/>
                </a:lnTo>
                <a:lnTo>
                  <a:pt x="0" y="12"/>
                </a:lnTo>
                <a:lnTo>
                  <a:pt x="1" y="9"/>
                </a:lnTo>
                <a:lnTo>
                  <a:pt x="3" y="6"/>
                </a:lnTo>
                <a:lnTo>
                  <a:pt x="5" y="4"/>
                </a:lnTo>
                <a:lnTo>
                  <a:pt x="8" y="3"/>
                </a:lnTo>
                <a:lnTo>
                  <a:pt x="16" y="1"/>
                </a:lnTo>
                <a:lnTo>
                  <a:pt x="24" y="0"/>
                </a:lnTo>
                <a:lnTo>
                  <a:pt x="34" y="0"/>
                </a:lnTo>
                <a:lnTo>
                  <a:pt x="42" y="2"/>
                </a:lnTo>
                <a:lnTo>
                  <a:pt x="51" y="4"/>
                </a:lnTo>
                <a:lnTo>
                  <a:pt x="59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164" name="Freeform 116"/>
          <p:cNvSpPr>
            <a:spLocks/>
          </p:cNvSpPr>
          <p:nvPr>
            <p:custDataLst>
              <p:tags r:id="rId87"/>
            </p:custDataLst>
          </p:nvPr>
        </p:nvSpPr>
        <p:spPr bwMode="auto">
          <a:xfrm>
            <a:off x="5033963" y="2341968"/>
            <a:ext cx="19050" cy="44053"/>
          </a:xfrm>
          <a:custGeom>
            <a:avLst/>
            <a:gdLst/>
            <a:ahLst/>
            <a:cxnLst>
              <a:cxn ang="0">
                <a:pos x="14" y="0"/>
              </a:cxn>
              <a:cxn ang="0">
                <a:pos x="8" y="10"/>
              </a:cxn>
              <a:cxn ang="0">
                <a:pos x="4" y="19"/>
              </a:cxn>
              <a:cxn ang="0">
                <a:pos x="2" y="28"/>
              </a:cxn>
              <a:cxn ang="0">
                <a:pos x="0" y="37"/>
              </a:cxn>
              <a:cxn ang="0">
                <a:pos x="0" y="42"/>
              </a:cxn>
              <a:cxn ang="0">
                <a:pos x="2" y="47"/>
              </a:cxn>
              <a:cxn ang="0">
                <a:pos x="3" y="51"/>
              </a:cxn>
              <a:cxn ang="0">
                <a:pos x="5" y="55"/>
              </a:cxn>
              <a:cxn ang="0">
                <a:pos x="7" y="58"/>
              </a:cxn>
              <a:cxn ang="0">
                <a:pos x="9" y="60"/>
              </a:cxn>
              <a:cxn ang="0">
                <a:pos x="13" y="62"/>
              </a:cxn>
              <a:cxn ang="0">
                <a:pos x="16" y="64"/>
              </a:cxn>
              <a:cxn ang="0">
                <a:pos x="22" y="67"/>
              </a:cxn>
              <a:cxn ang="0">
                <a:pos x="31" y="68"/>
              </a:cxn>
              <a:cxn ang="0">
                <a:pos x="39" y="68"/>
              </a:cxn>
              <a:cxn ang="0">
                <a:pos x="47" y="68"/>
              </a:cxn>
              <a:cxn ang="0">
                <a:pos x="41" y="58"/>
              </a:cxn>
              <a:cxn ang="0">
                <a:pos x="38" y="48"/>
              </a:cxn>
              <a:cxn ang="0">
                <a:pos x="36" y="43"/>
              </a:cxn>
              <a:cxn ang="0">
                <a:pos x="35" y="38"/>
              </a:cxn>
              <a:cxn ang="0">
                <a:pos x="33" y="31"/>
              </a:cxn>
              <a:cxn ang="0">
                <a:pos x="33" y="25"/>
              </a:cxn>
              <a:cxn ang="0">
                <a:pos x="24" y="13"/>
              </a:cxn>
              <a:cxn ang="0">
                <a:pos x="14" y="0"/>
              </a:cxn>
            </a:cxnLst>
            <a:rect l="0" t="0" r="r" b="b"/>
            <a:pathLst>
              <a:path w="47" h="68">
                <a:moveTo>
                  <a:pt x="14" y="0"/>
                </a:moveTo>
                <a:lnTo>
                  <a:pt x="8" y="10"/>
                </a:lnTo>
                <a:lnTo>
                  <a:pt x="4" y="19"/>
                </a:lnTo>
                <a:lnTo>
                  <a:pt x="2" y="28"/>
                </a:lnTo>
                <a:lnTo>
                  <a:pt x="0" y="37"/>
                </a:lnTo>
                <a:lnTo>
                  <a:pt x="0" y="42"/>
                </a:lnTo>
                <a:lnTo>
                  <a:pt x="2" y="47"/>
                </a:lnTo>
                <a:lnTo>
                  <a:pt x="3" y="51"/>
                </a:lnTo>
                <a:lnTo>
                  <a:pt x="5" y="55"/>
                </a:lnTo>
                <a:lnTo>
                  <a:pt x="7" y="58"/>
                </a:lnTo>
                <a:lnTo>
                  <a:pt x="9" y="60"/>
                </a:lnTo>
                <a:lnTo>
                  <a:pt x="13" y="62"/>
                </a:lnTo>
                <a:lnTo>
                  <a:pt x="16" y="64"/>
                </a:lnTo>
                <a:lnTo>
                  <a:pt x="22" y="67"/>
                </a:lnTo>
                <a:lnTo>
                  <a:pt x="31" y="68"/>
                </a:lnTo>
                <a:lnTo>
                  <a:pt x="39" y="68"/>
                </a:lnTo>
                <a:lnTo>
                  <a:pt x="47" y="68"/>
                </a:lnTo>
                <a:lnTo>
                  <a:pt x="41" y="58"/>
                </a:lnTo>
                <a:lnTo>
                  <a:pt x="38" y="48"/>
                </a:lnTo>
                <a:lnTo>
                  <a:pt x="36" y="43"/>
                </a:lnTo>
                <a:lnTo>
                  <a:pt x="35" y="38"/>
                </a:lnTo>
                <a:lnTo>
                  <a:pt x="33" y="31"/>
                </a:lnTo>
                <a:lnTo>
                  <a:pt x="33" y="25"/>
                </a:lnTo>
                <a:lnTo>
                  <a:pt x="24" y="13"/>
                </a:lnTo>
                <a:lnTo>
                  <a:pt x="1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grpSp>
        <p:nvGrpSpPr>
          <p:cNvPr id="7" name="Group 117"/>
          <p:cNvGrpSpPr>
            <a:grpSpLocks/>
          </p:cNvGrpSpPr>
          <p:nvPr>
            <p:custDataLst>
              <p:tags r:id="rId88"/>
            </p:custDataLst>
          </p:nvPr>
        </p:nvGrpSpPr>
        <p:grpSpPr bwMode="auto">
          <a:xfrm>
            <a:off x="5805495" y="2482455"/>
            <a:ext cx="46037" cy="280988"/>
            <a:chOff x="3950" y="2430"/>
            <a:chExt cx="36" cy="234"/>
          </a:xfrm>
        </p:grpSpPr>
        <p:sp>
          <p:nvSpPr>
            <p:cNvPr id="2166" name="Freeform 118"/>
            <p:cNvSpPr>
              <a:spLocks/>
            </p:cNvSpPr>
            <p:nvPr/>
          </p:nvSpPr>
          <p:spPr bwMode="auto">
            <a:xfrm>
              <a:off x="3975" y="2658"/>
              <a:ext cx="6" cy="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0"/>
                </a:cxn>
                <a:cxn ang="0">
                  <a:pos x="19" y="14"/>
                </a:cxn>
                <a:cxn ang="0">
                  <a:pos x="14" y="8"/>
                </a:cxn>
                <a:cxn ang="0">
                  <a:pos x="10" y="4"/>
                </a:cxn>
                <a:cxn ang="0">
                  <a:pos x="4" y="1"/>
                </a:cxn>
                <a:cxn ang="0">
                  <a:pos x="0" y="0"/>
                </a:cxn>
              </a:cxnLst>
              <a:rect l="0" t="0" r="r" b="b"/>
              <a:pathLst>
                <a:path w="19" h="20">
                  <a:moveTo>
                    <a:pt x="0" y="0"/>
                  </a:moveTo>
                  <a:lnTo>
                    <a:pt x="0" y="20"/>
                  </a:lnTo>
                  <a:lnTo>
                    <a:pt x="19" y="14"/>
                  </a:lnTo>
                  <a:lnTo>
                    <a:pt x="14" y="8"/>
                  </a:lnTo>
                  <a:lnTo>
                    <a:pt x="10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167" name="Freeform 119"/>
            <p:cNvSpPr>
              <a:spLocks/>
            </p:cNvSpPr>
            <p:nvPr/>
          </p:nvSpPr>
          <p:spPr bwMode="auto">
            <a:xfrm>
              <a:off x="3975" y="2644"/>
              <a:ext cx="6" cy="4"/>
            </a:xfrm>
            <a:custGeom>
              <a:avLst/>
              <a:gdLst/>
              <a:ahLst/>
              <a:cxnLst>
                <a:cxn ang="0">
                  <a:pos x="13" y="12"/>
                </a:cxn>
                <a:cxn ang="0">
                  <a:pos x="19" y="0"/>
                </a:cxn>
                <a:cxn ang="0">
                  <a:pos x="0" y="0"/>
                </a:cxn>
                <a:cxn ang="0">
                  <a:pos x="13" y="12"/>
                </a:cxn>
              </a:cxnLst>
              <a:rect l="0" t="0" r="r" b="b"/>
              <a:pathLst>
                <a:path w="19" h="12">
                  <a:moveTo>
                    <a:pt x="13" y="12"/>
                  </a:moveTo>
                  <a:lnTo>
                    <a:pt x="19" y="0"/>
                  </a:ln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168" name="Freeform 120"/>
            <p:cNvSpPr>
              <a:spLocks/>
            </p:cNvSpPr>
            <p:nvPr/>
          </p:nvSpPr>
          <p:spPr bwMode="auto">
            <a:xfrm>
              <a:off x="3975" y="2637"/>
              <a:ext cx="6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0" y="0"/>
                </a:cxn>
                <a:cxn ang="0">
                  <a:pos x="19" y="0"/>
                </a:cxn>
                <a:cxn ang="0">
                  <a:pos x="10" y="0"/>
                </a:cxn>
                <a:cxn ang="0">
                  <a:pos x="0" y="0"/>
                </a:cxn>
              </a:cxnLst>
              <a:rect l="0" t="0" r="r" b="b"/>
              <a:pathLst>
                <a:path w="19">
                  <a:moveTo>
                    <a:pt x="0" y="0"/>
                  </a:moveTo>
                  <a:lnTo>
                    <a:pt x="10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169" name="Rectangle 121"/>
            <p:cNvSpPr>
              <a:spLocks noChangeArrowheads="1"/>
            </p:cNvSpPr>
            <p:nvPr/>
          </p:nvSpPr>
          <p:spPr bwMode="auto">
            <a:xfrm>
              <a:off x="3975" y="2632"/>
              <a:ext cx="8" cy="2"/>
            </a:xfrm>
            <a:prstGeom prst="rect">
              <a:avLst/>
            </a:prstGeom>
            <a:solidFill>
              <a:srgbClr val="C0C0C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170" name="Line 122"/>
            <p:cNvSpPr>
              <a:spLocks noChangeShapeType="1"/>
            </p:cNvSpPr>
            <p:nvPr/>
          </p:nvSpPr>
          <p:spPr bwMode="auto">
            <a:xfrm flipV="1">
              <a:off x="3972" y="2595"/>
              <a:ext cx="5" cy="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171" name="Freeform 123"/>
            <p:cNvSpPr>
              <a:spLocks/>
            </p:cNvSpPr>
            <p:nvPr/>
          </p:nvSpPr>
          <p:spPr bwMode="auto">
            <a:xfrm>
              <a:off x="3975" y="2595"/>
              <a:ext cx="2" cy="1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5" y="1"/>
                </a:cxn>
                <a:cxn ang="0">
                  <a:pos x="3" y="2"/>
                </a:cxn>
                <a:cxn ang="0">
                  <a:pos x="1" y="3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0"/>
                </a:cxn>
              </a:cxnLst>
              <a:rect l="0" t="0" r="r" b="b"/>
              <a:pathLst>
                <a:path w="6" h="3">
                  <a:moveTo>
                    <a:pt x="6" y="0"/>
                  </a:moveTo>
                  <a:lnTo>
                    <a:pt x="5" y="1"/>
                  </a:lnTo>
                  <a:lnTo>
                    <a:pt x="3" y="2"/>
                  </a:lnTo>
                  <a:lnTo>
                    <a:pt x="1" y="3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172" name="Freeform 124"/>
            <p:cNvSpPr>
              <a:spLocks/>
            </p:cNvSpPr>
            <p:nvPr/>
          </p:nvSpPr>
          <p:spPr bwMode="auto">
            <a:xfrm>
              <a:off x="3981" y="2555"/>
              <a:ext cx="5" cy="8"/>
            </a:xfrm>
            <a:custGeom>
              <a:avLst/>
              <a:gdLst/>
              <a:ahLst/>
              <a:cxnLst>
                <a:cxn ang="0">
                  <a:pos x="14" y="0"/>
                </a:cxn>
                <a:cxn ang="0">
                  <a:pos x="13" y="5"/>
                </a:cxn>
                <a:cxn ang="0">
                  <a:pos x="9" y="12"/>
                </a:cxn>
                <a:cxn ang="0">
                  <a:pos x="5" y="19"/>
                </a:cxn>
                <a:cxn ang="0">
                  <a:pos x="0" y="24"/>
                </a:cxn>
                <a:cxn ang="0">
                  <a:pos x="0" y="16"/>
                </a:cxn>
                <a:cxn ang="0">
                  <a:pos x="0" y="12"/>
                </a:cxn>
              </a:cxnLst>
              <a:rect l="0" t="0" r="r" b="b"/>
              <a:pathLst>
                <a:path w="14" h="24">
                  <a:moveTo>
                    <a:pt x="14" y="0"/>
                  </a:moveTo>
                  <a:lnTo>
                    <a:pt x="13" y="5"/>
                  </a:lnTo>
                  <a:lnTo>
                    <a:pt x="9" y="12"/>
                  </a:lnTo>
                  <a:lnTo>
                    <a:pt x="5" y="19"/>
                  </a:lnTo>
                  <a:lnTo>
                    <a:pt x="0" y="24"/>
                  </a:lnTo>
                  <a:lnTo>
                    <a:pt x="0" y="1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173" name="Line 125"/>
            <p:cNvSpPr>
              <a:spLocks noChangeShapeType="1"/>
            </p:cNvSpPr>
            <p:nvPr/>
          </p:nvSpPr>
          <p:spPr bwMode="auto">
            <a:xfrm>
              <a:off x="3981" y="2559"/>
              <a:ext cx="2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174" name="Freeform 126"/>
            <p:cNvSpPr>
              <a:spLocks/>
            </p:cNvSpPr>
            <p:nvPr/>
          </p:nvSpPr>
          <p:spPr bwMode="auto">
            <a:xfrm>
              <a:off x="3977" y="2572"/>
              <a:ext cx="4" cy="3"/>
            </a:xfrm>
            <a:custGeom>
              <a:avLst/>
              <a:gdLst/>
              <a:ahLst/>
              <a:cxnLst>
                <a:cxn ang="0">
                  <a:pos x="13" y="12"/>
                </a:cxn>
                <a:cxn ang="0">
                  <a:pos x="0" y="0"/>
                </a:cxn>
                <a:cxn ang="0">
                  <a:pos x="13" y="12"/>
                </a:cxn>
              </a:cxnLst>
              <a:rect l="0" t="0" r="r" b="b"/>
              <a:pathLst>
                <a:path w="13" h="12">
                  <a:moveTo>
                    <a:pt x="13" y="12"/>
                  </a:move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175" name="Freeform 127"/>
            <p:cNvSpPr>
              <a:spLocks/>
            </p:cNvSpPr>
            <p:nvPr/>
          </p:nvSpPr>
          <p:spPr bwMode="auto">
            <a:xfrm>
              <a:off x="3981" y="2585"/>
              <a:ext cx="2" cy="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9"/>
                </a:cxn>
                <a:cxn ang="0">
                  <a:pos x="0" y="0"/>
                </a:cxn>
                <a:cxn ang="0">
                  <a:pos x="7" y="0"/>
                </a:cxn>
              </a:cxnLst>
              <a:rect l="0" t="0" r="r" b="b"/>
              <a:pathLst>
                <a:path w="7" h="19">
                  <a:moveTo>
                    <a:pt x="0" y="0"/>
                  </a:moveTo>
                  <a:lnTo>
                    <a:pt x="0" y="19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176" name="Line 128"/>
            <p:cNvSpPr>
              <a:spLocks noChangeShapeType="1"/>
            </p:cNvSpPr>
            <p:nvPr/>
          </p:nvSpPr>
          <p:spPr bwMode="auto">
            <a:xfrm flipV="1">
              <a:off x="3981" y="2599"/>
              <a:ext cx="1" cy="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177" name="Freeform 129"/>
            <p:cNvSpPr>
              <a:spLocks/>
            </p:cNvSpPr>
            <p:nvPr/>
          </p:nvSpPr>
          <p:spPr bwMode="auto">
            <a:xfrm>
              <a:off x="3970" y="2545"/>
              <a:ext cx="2" cy="6"/>
            </a:xfrm>
            <a:custGeom>
              <a:avLst/>
              <a:gdLst/>
              <a:ahLst/>
              <a:cxnLst>
                <a:cxn ang="0">
                  <a:pos x="0" y="18"/>
                </a:cxn>
                <a:cxn ang="0">
                  <a:pos x="8" y="6"/>
                </a:cxn>
                <a:cxn ang="0">
                  <a:pos x="0" y="0"/>
                </a:cxn>
                <a:cxn ang="0">
                  <a:pos x="0" y="18"/>
                </a:cxn>
              </a:cxnLst>
              <a:rect l="0" t="0" r="r" b="b"/>
              <a:pathLst>
                <a:path w="8" h="18">
                  <a:moveTo>
                    <a:pt x="0" y="18"/>
                  </a:moveTo>
                  <a:lnTo>
                    <a:pt x="8" y="6"/>
                  </a:lnTo>
                  <a:lnTo>
                    <a:pt x="0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178" name="Freeform 130"/>
            <p:cNvSpPr>
              <a:spLocks/>
            </p:cNvSpPr>
            <p:nvPr/>
          </p:nvSpPr>
          <p:spPr bwMode="auto">
            <a:xfrm>
              <a:off x="3968" y="2532"/>
              <a:ext cx="2" cy="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9"/>
                </a:cxn>
                <a:cxn ang="0">
                  <a:pos x="6" y="13"/>
                </a:cxn>
              </a:cxnLst>
              <a:rect l="0" t="0" r="r" b="b"/>
              <a:pathLst>
                <a:path w="6" h="19">
                  <a:moveTo>
                    <a:pt x="0" y="0"/>
                  </a:moveTo>
                  <a:lnTo>
                    <a:pt x="0" y="19"/>
                  </a:lnTo>
                  <a:lnTo>
                    <a:pt x="6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179" name="Freeform 131"/>
            <p:cNvSpPr>
              <a:spLocks/>
            </p:cNvSpPr>
            <p:nvPr/>
          </p:nvSpPr>
          <p:spPr bwMode="auto">
            <a:xfrm>
              <a:off x="3965" y="2513"/>
              <a:ext cx="10" cy="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9"/>
                </a:cxn>
                <a:cxn ang="0">
                  <a:pos x="28" y="19"/>
                </a:cxn>
              </a:cxnLst>
              <a:rect l="0" t="0" r="r" b="b"/>
              <a:pathLst>
                <a:path w="28" h="19">
                  <a:moveTo>
                    <a:pt x="0" y="0"/>
                  </a:moveTo>
                  <a:lnTo>
                    <a:pt x="0" y="19"/>
                  </a:lnTo>
                  <a:lnTo>
                    <a:pt x="28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180" name="Freeform 132"/>
            <p:cNvSpPr>
              <a:spLocks/>
            </p:cNvSpPr>
            <p:nvPr/>
          </p:nvSpPr>
          <p:spPr bwMode="auto">
            <a:xfrm>
              <a:off x="3970" y="2513"/>
              <a:ext cx="5" cy="5"/>
            </a:xfrm>
            <a:custGeom>
              <a:avLst/>
              <a:gdLst/>
              <a:ahLst/>
              <a:cxnLst>
                <a:cxn ang="0">
                  <a:pos x="15" y="19"/>
                </a:cxn>
                <a:cxn ang="0">
                  <a:pos x="8" y="9"/>
                </a:cxn>
                <a:cxn ang="0">
                  <a:pos x="0" y="0"/>
                </a:cxn>
              </a:cxnLst>
              <a:rect l="0" t="0" r="r" b="b"/>
              <a:pathLst>
                <a:path w="15" h="19">
                  <a:moveTo>
                    <a:pt x="15" y="19"/>
                  </a:moveTo>
                  <a:lnTo>
                    <a:pt x="8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181" name="Freeform 133"/>
            <p:cNvSpPr>
              <a:spLocks/>
            </p:cNvSpPr>
            <p:nvPr/>
          </p:nvSpPr>
          <p:spPr bwMode="auto">
            <a:xfrm>
              <a:off x="3975" y="2658"/>
              <a:ext cx="6" cy="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0"/>
                </a:cxn>
                <a:cxn ang="0">
                  <a:pos x="19" y="14"/>
                </a:cxn>
                <a:cxn ang="0">
                  <a:pos x="14" y="8"/>
                </a:cxn>
                <a:cxn ang="0">
                  <a:pos x="10" y="4"/>
                </a:cxn>
                <a:cxn ang="0">
                  <a:pos x="4" y="1"/>
                </a:cxn>
                <a:cxn ang="0">
                  <a:pos x="0" y="0"/>
                </a:cxn>
              </a:cxnLst>
              <a:rect l="0" t="0" r="r" b="b"/>
              <a:pathLst>
                <a:path w="19" h="20">
                  <a:moveTo>
                    <a:pt x="0" y="0"/>
                  </a:moveTo>
                  <a:lnTo>
                    <a:pt x="0" y="20"/>
                  </a:lnTo>
                  <a:lnTo>
                    <a:pt x="19" y="14"/>
                  </a:lnTo>
                  <a:lnTo>
                    <a:pt x="14" y="8"/>
                  </a:lnTo>
                  <a:lnTo>
                    <a:pt x="10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182" name="Freeform 134"/>
            <p:cNvSpPr>
              <a:spLocks/>
            </p:cNvSpPr>
            <p:nvPr/>
          </p:nvSpPr>
          <p:spPr bwMode="auto">
            <a:xfrm>
              <a:off x="3975" y="2644"/>
              <a:ext cx="6" cy="4"/>
            </a:xfrm>
            <a:custGeom>
              <a:avLst/>
              <a:gdLst/>
              <a:ahLst/>
              <a:cxnLst>
                <a:cxn ang="0">
                  <a:pos x="13" y="12"/>
                </a:cxn>
                <a:cxn ang="0">
                  <a:pos x="19" y="0"/>
                </a:cxn>
                <a:cxn ang="0">
                  <a:pos x="0" y="0"/>
                </a:cxn>
                <a:cxn ang="0">
                  <a:pos x="13" y="12"/>
                </a:cxn>
              </a:cxnLst>
              <a:rect l="0" t="0" r="r" b="b"/>
              <a:pathLst>
                <a:path w="19" h="12">
                  <a:moveTo>
                    <a:pt x="13" y="12"/>
                  </a:moveTo>
                  <a:lnTo>
                    <a:pt x="19" y="0"/>
                  </a:ln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183" name="Freeform 135"/>
            <p:cNvSpPr>
              <a:spLocks/>
            </p:cNvSpPr>
            <p:nvPr/>
          </p:nvSpPr>
          <p:spPr bwMode="auto">
            <a:xfrm>
              <a:off x="3975" y="2637"/>
              <a:ext cx="6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0" y="0"/>
                </a:cxn>
                <a:cxn ang="0">
                  <a:pos x="19" y="0"/>
                </a:cxn>
                <a:cxn ang="0">
                  <a:pos x="10" y="0"/>
                </a:cxn>
                <a:cxn ang="0">
                  <a:pos x="0" y="0"/>
                </a:cxn>
              </a:cxnLst>
              <a:rect l="0" t="0" r="r" b="b"/>
              <a:pathLst>
                <a:path w="19">
                  <a:moveTo>
                    <a:pt x="0" y="0"/>
                  </a:moveTo>
                  <a:lnTo>
                    <a:pt x="10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184" name="Rectangle 136"/>
            <p:cNvSpPr>
              <a:spLocks noChangeArrowheads="1"/>
            </p:cNvSpPr>
            <p:nvPr/>
          </p:nvSpPr>
          <p:spPr bwMode="auto">
            <a:xfrm>
              <a:off x="3975" y="2632"/>
              <a:ext cx="8" cy="2"/>
            </a:xfrm>
            <a:prstGeom prst="rect">
              <a:avLst/>
            </a:prstGeom>
            <a:solidFill>
              <a:srgbClr val="C0C0C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185" name="Line 137"/>
            <p:cNvSpPr>
              <a:spLocks noChangeShapeType="1"/>
            </p:cNvSpPr>
            <p:nvPr/>
          </p:nvSpPr>
          <p:spPr bwMode="auto">
            <a:xfrm flipV="1">
              <a:off x="3972" y="2595"/>
              <a:ext cx="5" cy="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186" name="Freeform 138"/>
            <p:cNvSpPr>
              <a:spLocks/>
            </p:cNvSpPr>
            <p:nvPr/>
          </p:nvSpPr>
          <p:spPr bwMode="auto">
            <a:xfrm>
              <a:off x="3975" y="2595"/>
              <a:ext cx="2" cy="1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5" y="1"/>
                </a:cxn>
                <a:cxn ang="0">
                  <a:pos x="3" y="2"/>
                </a:cxn>
                <a:cxn ang="0">
                  <a:pos x="1" y="3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0"/>
                </a:cxn>
              </a:cxnLst>
              <a:rect l="0" t="0" r="r" b="b"/>
              <a:pathLst>
                <a:path w="6" h="3">
                  <a:moveTo>
                    <a:pt x="6" y="0"/>
                  </a:moveTo>
                  <a:lnTo>
                    <a:pt x="5" y="1"/>
                  </a:lnTo>
                  <a:lnTo>
                    <a:pt x="3" y="2"/>
                  </a:lnTo>
                  <a:lnTo>
                    <a:pt x="1" y="3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187" name="Freeform 139"/>
            <p:cNvSpPr>
              <a:spLocks/>
            </p:cNvSpPr>
            <p:nvPr/>
          </p:nvSpPr>
          <p:spPr bwMode="auto">
            <a:xfrm>
              <a:off x="3981" y="2555"/>
              <a:ext cx="5" cy="8"/>
            </a:xfrm>
            <a:custGeom>
              <a:avLst/>
              <a:gdLst/>
              <a:ahLst/>
              <a:cxnLst>
                <a:cxn ang="0">
                  <a:pos x="14" y="0"/>
                </a:cxn>
                <a:cxn ang="0">
                  <a:pos x="13" y="5"/>
                </a:cxn>
                <a:cxn ang="0">
                  <a:pos x="9" y="12"/>
                </a:cxn>
                <a:cxn ang="0">
                  <a:pos x="5" y="19"/>
                </a:cxn>
                <a:cxn ang="0">
                  <a:pos x="0" y="24"/>
                </a:cxn>
                <a:cxn ang="0">
                  <a:pos x="0" y="16"/>
                </a:cxn>
                <a:cxn ang="0">
                  <a:pos x="0" y="12"/>
                </a:cxn>
              </a:cxnLst>
              <a:rect l="0" t="0" r="r" b="b"/>
              <a:pathLst>
                <a:path w="14" h="24">
                  <a:moveTo>
                    <a:pt x="14" y="0"/>
                  </a:moveTo>
                  <a:lnTo>
                    <a:pt x="13" y="5"/>
                  </a:lnTo>
                  <a:lnTo>
                    <a:pt x="9" y="12"/>
                  </a:lnTo>
                  <a:lnTo>
                    <a:pt x="5" y="19"/>
                  </a:lnTo>
                  <a:lnTo>
                    <a:pt x="0" y="24"/>
                  </a:lnTo>
                  <a:lnTo>
                    <a:pt x="0" y="1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188" name="Line 140"/>
            <p:cNvSpPr>
              <a:spLocks noChangeShapeType="1"/>
            </p:cNvSpPr>
            <p:nvPr/>
          </p:nvSpPr>
          <p:spPr bwMode="auto">
            <a:xfrm>
              <a:off x="3981" y="2559"/>
              <a:ext cx="2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189" name="Freeform 141"/>
            <p:cNvSpPr>
              <a:spLocks/>
            </p:cNvSpPr>
            <p:nvPr/>
          </p:nvSpPr>
          <p:spPr bwMode="auto">
            <a:xfrm>
              <a:off x="3977" y="2572"/>
              <a:ext cx="4" cy="3"/>
            </a:xfrm>
            <a:custGeom>
              <a:avLst/>
              <a:gdLst/>
              <a:ahLst/>
              <a:cxnLst>
                <a:cxn ang="0">
                  <a:pos x="13" y="12"/>
                </a:cxn>
                <a:cxn ang="0">
                  <a:pos x="0" y="0"/>
                </a:cxn>
                <a:cxn ang="0">
                  <a:pos x="13" y="12"/>
                </a:cxn>
              </a:cxnLst>
              <a:rect l="0" t="0" r="r" b="b"/>
              <a:pathLst>
                <a:path w="13" h="12">
                  <a:moveTo>
                    <a:pt x="13" y="12"/>
                  </a:move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190" name="Freeform 142"/>
            <p:cNvSpPr>
              <a:spLocks/>
            </p:cNvSpPr>
            <p:nvPr/>
          </p:nvSpPr>
          <p:spPr bwMode="auto">
            <a:xfrm>
              <a:off x="3981" y="2585"/>
              <a:ext cx="2" cy="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9"/>
                </a:cxn>
                <a:cxn ang="0">
                  <a:pos x="0" y="0"/>
                </a:cxn>
                <a:cxn ang="0">
                  <a:pos x="7" y="0"/>
                </a:cxn>
              </a:cxnLst>
              <a:rect l="0" t="0" r="r" b="b"/>
              <a:pathLst>
                <a:path w="7" h="19">
                  <a:moveTo>
                    <a:pt x="0" y="0"/>
                  </a:moveTo>
                  <a:lnTo>
                    <a:pt x="0" y="19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191" name="Line 143"/>
            <p:cNvSpPr>
              <a:spLocks noChangeShapeType="1"/>
            </p:cNvSpPr>
            <p:nvPr/>
          </p:nvSpPr>
          <p:spPr bwMode="auto">
            <a:xfrm flipV="1">
              <a:off x="3981" y="2599"/>
              <a:ext cx="1" cy="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192" name="Freeform 144"/>
            <p:cNvSpPr>
              <a:spLocks/>
            </p:cNvSpPr>
            <p:nvPr/>
          </p:nvSpPr>
          <p:spPr bwMode="auto">
            <a:xfrm>
              <a:off x="3970" y="2545"/>
              <a:ext cx="2" cy="6"/>
            </a:xfrm>
            <a:custGeom>
              <a:avLst/>
              <a:gdLst/>
              <a:ahLst/>
              <a:cxnLst>
                <a:cxn ang="0">
                  <a:pos x="0" y="18"/>
                </a:cxn>
                <a:cxn ang="0">
                  <a:pos x="8" y="6"/>
                </a:cxn>
                <a:cxn ang="0">
                  <a:pos x="0" y="0"/>
                </a:cxn>
                <a:cxn ang="0">
                  <a:pos x="0" y="18"/>
                </a:cxn>
              </a:cxnLst>
              <a:rect l="0" t="0" r="r" b="b"/>
              <a:pathLst>
                <a:path w="8" h="18">
                  <a:moveTo>
                    <a:pt x="0" y="18"/>
                  </a:moveTo>
                  <a:lnTo>
                    <a:pt x="8" y="6"/>
                  </a:lnTo>
                  <a:lnTo>
                    <a:pt x="0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193" name="Freeform 145"/>
            <p:cNvSpPr>
              <a:spLocks/>
            </p:cNvSpPr>
            <p:nvPr/>
          </p:nvSpPr>
          <p:spPr bwMode="auto">
            <a:xfrm>
              <a:off x="3968" y="2532"/>
              <a:ext cx="2" cy="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9"/>
                </a:cxn>
                <a:cxn ang="0">
                  <a:pos x="6" y="13"/>
                </a:cxn>
              </a:cxnLst>
              <a:rect l="0" t="0" r="r" b="b"/>
              <a:pathLst>
                <a:path w="6" h="19">
                  <a:moveTo>
                    <a:pt x="0" y="0"/>
                  </a:moveTo>
                  <a:lnTo>
                    <a:pt x="0" y="19"/>
                  </a:lnTo>
                  <a:lnTo>
                    <a:pt x="6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194" name="Freeform 146"/>
            <p:cNvSpPr>
              <a:spLocks/>
            </p:cNvSpPr>
            <p:nvPr/>
          </p:nvSpPr>
          <p:spPr bwMode="auto">
            <a:xfrm>
              <a:off x="3965" y="2513"/>
              <a:ext cx="10" cy="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9"/>
                </a:cxn>
                <a:cxn ang="0">
                  <a:pos x="28" y="19"/>
                </a:cxn>
              </a:cxnLst>
              <a:rect l="0" t="0" r="r" b="b"/>
              <a:pathLst>
                <a:path w="28" h="19">
                  <a:moveTo>
                    <a:pt x="0" y="0"/>
                  </a:moveTo>
                  <a:lnTo>
                    <a:pt x="0" y="19"/>
                  </a:lnTo>
                  <a:lnTo>
                    <a:pt x="28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195" name="Freeform 147"/>
            <p:cNvSpPr>
              <a:spLocks/>
            </p:cNvSpPr>
            <p:nvPr/>
          </p:nvSpPr>
          <p:spPr bwMode="auto">
            <a:xfrm>
              <a:off x="3970" y="2513"/>
              <a:ext cx="5" cy="5"/>
            </a:xfrm>
            <a:custGeom>
              <a:avLst/>
              <a:gdLst/>
              <a:ahLst/>
              <a:cxnLst>
                <a:cxn ang="0">
                  <a:pos x="15" y="19"/>
                </a:cxn>
                <a:cxn ang="0">
                  <a:pos x="8" y="9"/>
                </a:cxn>
                <a:cxn ang="0">
                  <a:pos x="0" y="0"/>
                </a:cxn>
              </a:cxnLst>
              <a:rect l="0" t="0" r="r" b="b"/>
              <a:pathLst>
                <a:path w="15" h="19">
                  <a:moveTo>
                    <a:pt x="15" y="19"/>
                  </a:moveTo>
                  <a:lnTo>
                    <a:pt x="8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196" name="Freeform 148"/>
            <p:cNvSpPr>
              <a:spLocks/>
            </p:cNvSpPr>
            <p:nvPr/>
          </p:nvSpPr>
          <p:spPr bwMode="auto">
            <a:xfrm>
              <a:off x="3950" y="2430"/>
              <a:ext cx="7" cy="6"/>
            </a:xfrm>
            <a:custGeom>
              <a:avLst/>
              <a:gdLst/>
              <a:ahLst/>
              <a:cxnLst>
                <a:cxn ang="0">
                  <a:pos x="13" y="18"/>
                </a:cxn>
                <a:cxn ang="0">
                  <a:pos x="20" y="0"/>
                </a:cxn>
                <a:cxn ang="0">
                  <a:pos x="0" y="0"/>
                </a:cxn>
                <a:cxn ang="0">
                  <a:pos x="13" y="18"/>
                </a:cxn>
              </a:cxnLst>
              <a:rect l="0" t="0" r="r" b="b"/>
              <a:pathLst>
                <a:path w="20" h="18">
                  <a:moveTo>
                    <a:pt x="13" y="18"/>
                  </a:moveTo>
                  <a:lnTo>
                    <a:pt x="20" y="0"/>
                  </a:lnTo>
                  <a:lnTo>
                    <a:pt x="0" y="0"/>
                  </a:lnTo>
                  <a:lnTo>
                    <a:pt x="13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8" name="Group 149"/>
          <p:cNvGrpSpPr>
            <a:grpSpLocks/>
          </p:cNvGrpSpPr>
          <p:nvPr>
            <p:custDataLst>
              <p:tags r:id="rId89"/>
            </p:custDataLst>
          </p:nvPr>
        </p:nvGrpSpPr>
        <p:grpSpPr bwMode="auto">
          <a:xfrm>
            <a:off x="7870825" y="2857505"/>
            <a:ext cx="185738" cy="160735"/>
            <a:chOff x="5486" y="2743"/>
            <a:chExt cx="137" cy="132"/>
          </a:xfrm>
        </p:grpSpPr>
        <p:sp>
          <p:nvSpPr>
            <p:cNvPr id="2198" name="Freeform 150"/>
            <p:cNvSpPr>
              <a:spLocks/>
            </p:cNvSpPr>
            <p:nvPr/>
          </p:nvSpPr>
          <p:spPr bwMode="auto">
            <a:xfrm>
              <a:off x="5595" y="2806"/>
              <a:ext cx="13" cy="28"/>
            </a:xfrm>
            <a:custGeom>
              <a:avLst/>
              <a:gdLst/>
              <a:ahLst/>
              <a:cxnLst>
                <a:cxn ang="0">
                  <a:pos x="0" y="31"/>
                </a:cxn>
                <a:cxn ang="0">
                  <a:pos x="0" y="42"/>
                </a:cxn>
                <a:cxn ang="0">
                  <a:pos x="2" y="51"/>
                </a:cxn>
                <a:cxn ang="0">
                  <a:pos x="5" y="59"/>
                </a:cxn>
                <a:cxn ang="0">
                  <a:pos x="10" y="66"/>
                </a:cxn>
                <a:cxn ang="0">
                  <a:pos x="15" y="72"/>
                </a:cxn>
                <a:cxn ang="0">
                  <a:pos x="22" y="77"/>
                </a:cxn>
                <a:cxn ang="0">
                  <a:pos x="31" y="82"/>
                </a:cxn>
                <a:cxn ang="0">
                  <a:pos x="40" y="87"/>
                </a:cxn>
                <a:cxn ang="0">
                  <a:pos x="35" y="82"/>
                </a:cxn>
                <a:cxn ang="0">
                  <a:pos x="32" y="77"/>
                </a:cxn>
                <a:cxn ang="0">
                  <a:pos x="29" y="71"/>
                </a:cxn>
                <a:cxn ang="0">
                  <a:pos x="26" y="65"/>
                </a:cxn>
                <a:cxn ang="0">
                  <a:pos x="22" y="52"/>
                </a:cxn>
                <a:cxn ang="0">
                  <a:pos x="20" y="39"/>
                </a:cxn>
                <a:cxn ang="0">
                  <a:pos x="18" y="27"/>
                </a:cxn>
                <a:cxn ang="0">
                  <a:pos x="13" y="16"/>
                </a:cxn>
                <a:cxn ang="0">
                  <a:pos x="11" y="11"/>
                </a:cxn>
                <a:cxn ang="0">
                  <a:pos x="8" y="6"/>
                </a:cxn>
                <a:cxn ang="0">
                  <a:pos x="4" y="3"/>
                </a:cxn>
                <a:cxn ang="0">
                  <a:pos x="0" y="0"/>
                </a:cxn>
                <a:cxn ang="0">
                  <a:pos x="0" y="9"/>
                </a:cxn>
                <a:cxn ang="0">
                  <a:pos x="0" y="16"/>
                </a:cxn>
                <a:cxn ang="0">
                  <a:pos x="0" y="23"/>
                </a:cxn>
                <a:cxn ang="0">
                  <a:pos x="0" y="31"/>
                </a:cxn>
              </a:cxnLst>
              <a:rect l="0" t="0" r="r" b="b"/>
              <a:pathLst>
                <a:path w="40" h="87">
                  <a:moveTo>
                    <a:pt x="0" y="31"/>
                  </a:moveTo>
                  <a:lnTo>
                    <a:pt x="0" y="42"/>
                  </a:lnTo>
                  <a:lnTo>
                    <a:pt x="2" y="51"/>
                  </a:lnTo>
                  <a:lnTo>
                    <a:pt x="5" y="59"/>
                  </a:lnTo>
                  <a:lnTo>
                    <a:pt x="10" y="66"/>
                  </a:lnTo>
                  <a:lnTo>
                    <a:pt x="15" y="72"/>
                  </a:lnTo>
                  <a:lnTo>
                    <a:pt x="22" y="77"/>
                  </a:lnTo>
                  <a:lnTo>
                    <a:pt x="31" y="82"/>
                  </a:lnTo>
                  <a:lnTo>
                    <a:pt x="40" y="87"/>
                  </a:lnTo>
                  <a:lnTo>
                    <a:pt x="35" y="82"/>
                  </a:lnTo>
                  <a:lnTo>
                    <a:pt x="32" y="77"/>
                  </a:lnTo>
                  <a:lnTo>
                    <a:pt x="29" y="71"/>
                  </a:lnTo>
                  <a:lnTo>
                    <a:pt x="26" y="65"/>
                  </a:lnTo>
                  <a:lnTo>
                    <a:pt x="22" y="52"/>
                  </a:lnTo>
                  <a:lnTo>
                    <a:pt x="20" y="39"/>
                  </a:lnTo>
                  <a:lnTo>
                    <a:pt x="18" y="27"/>
                  </a:lnTo>
                  <a:lnTo>
                    <a:pt x="13" y="16"/>
                  </a:lnTo>
                  <a:lnTo>
                    <a:pt x="11" y="11"/>
                  </a:lnTo>
                  <a:lnTo>
                    <a:pt x="8" y="6"/>
                  </a:lnTo>
                  <a:lnTo>
                    <a:pt x="4" y="3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6"/>
                  </a:lnTo>
                  <a:lnTo>
                    <a:pt x="0" y="23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199" name="Freeform 151"/>
            <p:cNvSpPr>
              <a:spLocks/>
            </p:cNvSpPr>
            <p:nvPr/>
          </p:nvSpPr>
          <p:spPr bwMode="auto">
            <a:xfrm>
              <a:off x="5603" y="2842"/>
              <a:ext cx="20" cy="12"/>
            </a:xfrm>
            <a:custGeom>
              <a:avLst/>
              <a:gdLst/>
              <a:ahLst/>
              <a:cxnLst>
                <a:cxn ang="0">
                  <a:pos x="0" y="31"/>
                </a:cxn>
                <a:cxn ang="0">
                  <a:pos x="19" y="32"/>
                </a:cxn>
                <a:cxn ang="0">
                  <a:pos x="35" y="34"/>
                </a:cxn>
                <a:cxn ang="0">
                  <a:pos x="49" y="36"/>
                </a:cxn>
                <a:cxn ang="0">
                  <a:pos x="61" y="37"/>
                </a:cxn>
                <a:cxn ang="0">
                  <a:pos x="55" y="29"/>
                </a:cxn>
                <a:cxn ang="0">
                  <a:pos x="49" y="22"/>
                </a:cxn>
                <a:cxn ang="0">
                  <a:pos x="42" y="17"/>
                </a:cxn>
                <a:cxn ang="0">
                  <a:pos x="35" y="12"/>
                </a:cxn>
                <a:cxn ang="0">
                  <a:pos x="28" y="9"/>
                </a:cxn>
                <a:cxn ang="0">
                  <a:pos x="19" y="5"/>
                </a:cxn>
                <a:cxn ang="0">
                  <a:pos x="10" y="2"/>
                </a:cxn>
                <a:cxn ang="0">
                  <a:pos x="0" y="0"/>
                </a:cxn>
                <a:cxn ang="0">
                  <a:pos x="0" y="31"/>
                </a:cxn>
              </a:cxnLst>
              <a:rect l="0" t="0" r="r" b="b"/>
              <a:pathLst>
                <a:path w="61" h="37">
                  <a:moveTo>
                    <a:pt x="0" y="31"/>
                  </a:moveTo>
                  <a:lnTo>
                    <a:pt x="19" y="32"/>
                  </a:lnTo>
                  <a:lnTo>
                    <a:pt x="35" y="34"/>
                  </a:lnTo>
                  <a:lnTo>
                    <a:pt x="49" y="36"/>
                  </a:lnTo>
                  <a:lnTo>
                    <a:pt x="61" y="37"/>
                  </a:lnTo>
                  <a:lnTo>
                    <a:pt x="55" y="29"/>
                  </a:lnTo>
                  <a:lnTo>
                    <a:pt x="49" y="22"/>
                  </a:lnTo>
                  <a:lnTo>
                    <a:pt x="42" y="17"/>
                  </a:lnTo>
                  <a:lnTo>
                    <a:pt x="35" y="12"/>
                  </a:lnTo>
                  <a:lnTo>
                    <a:pt x="28" y="9"/>
                  </a:lnTo>
                  <a:lnTo>
                    <a:pt x="19" y="5"/>
                  </a:lnTo>
                  <a:lnTo>
                    <a:pt x="10" y="2"/>
                  </a:lnTo>
                  <a:lnTo>
                    <a:pt x="0" y="0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200" name="Freeform 152"/>
            <p:cNvSpPr>
              <a:spLocks/>
            </p:cNvSpPr>
            <p:nvPr/>
          </p:nvSpPr>
          <p:spPr bwMode="auto">
            <a:xfrm>
              <a:off x="5568" y="2865"/>
              <a:ext cx="13" cy="10"/>
            </a:xfrm>
            <a:custGeom>
              <a:avLst/>
              <a:gdLst/>
              <a:ahLst/>
              <a:cxnLst>
                <a:cxn ang="0">
                  <a:pos x="40" y="30"/>
                </a:cxn>
                <a:cxn ang="0">
                  <a:pos x="33" y="28"/>
                </a:cxn>
                <a:cxn ang="0">
                  <a:pos x="26" y="25"/>
                </a:cxn>
                <a:cxn ang="0">
                  <a:pos x="21" y="22"/>
                </a:cxn>
                <a:cxn ang="0">
                  <a:pos x="15" y="19"/>
                </a:cxn>
                <a:cxn ang="0">
                  <a:pos x="11" y="16"/>
                </a:cxn>
                <a:cxn ang="0">
                  <a:pos x="6" y="11"/>
                </a:cxn>
                <a:cxn ang="0">
                  <a:pos x="3" y="6"/>
                </a:cxn>
                <a:cxn ang="0">
                  <a:pos x="0" y="0"/>
                </a:cxn>
                <a:cxn ang="0">
                  <a:pos x="8" y="2"/>
                </a:cxn>
                <a:cxn ang="0">
                  <a:pos x="15" y="6"/>
                </a:cxn>
                <a:cxn ang="0">
                  <a:pos x="22" y="10"/>
                </a:cxn>
                <a:cxn ang="0">
                  <a:pos x="27" y="15"/>
                </a:cxn>
                <a:cxn ang="0">
                  <a:pos x="33" y="19"/>
                </a:cxn>
                <a:cxn ang="0">
                  <a:pos x="36" y="23"/>
                </a:cxn>
                <a:cxn ang="0">
                  <a:pos x="39" y="27"/>
                </a:cxn>
                <a:cxn ang="0">
                  <a:pos x="40" y="30"/>
                </a:cxn>
              </a:cxnLst>
              <a:rect l="0" t="0" r="r" b="b"/>
              <a:pathLst>
                <a:path w="40" h="30">
                  <a:moveTo>
                    <a:pt x="40" y="30"/>
                  </a:moveTo>
                  <a:lnTo>
                    <a:pt x="33" y="28"/>
                  </a:lnTo>
                  <a:lnTo>
                    <a:pt x="26" y="25"/>
                  </a:lnTo>
                  <a:lnTo>
                    <a:pt x="21" y="22"/>
                  </a:lnTo>
                  <a:lnTo>
                    <a:pt x="15" y="19"/>
                  </a:lnTo>
                  <a:lnTo>
                    <a:pt x="11" y="16"/>
                  </a:lnTo>
                  <a:lnTo>
                    <a:pt x="6" y="11"/>
                  </a:lnTo>
                  <a:lnTo>
                    <a:pt x="3" y="6"/>
                  </a:lnTo>
                  <a:lnTo>
                    <a:pt x="0" y="0"/>
                  </a:lnTo>
                  <a:lnTo>
                    <a:pt x="8" y="2"/>
                  </a:lnTo>
                  <a:lnTo>
                    <a:pt x="15" y="6"/>
                  </a:lnTo>
                  <a:lnTo>
                    <a:pt x="22" y="10"/>
                  </a:lnTo>
                  <a:lnTo>
                    <a:pt x="27" y="15"/>
                  </a:lnTo>
                  <a:lnTo>
                    <a:pt x="33" y="19"/>
                  </a:lnTo>
                  <a:lnTo>
                    <a:pt x="36" y="23"/>
                  </a:lnTo>
                  <a:lnTo>
                    <a:pt x="39" y="27"/>
                  </a:lnTo>
                  <a:lnTo>
                    <a:pt x="40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201" name="Freeform 153"/>
            <p:cNvSpPr>
              <a:spLocks/>
            </p:cNvSpPr>
            <p:nvPr/>
          </p:nvSpPr>
          <p:spPr bwMode="auto">
            <a:xfrm>
              <a:off x="5515" y="2789"/>
              <a:ext cx="24" cy="26"/>
            </a:xfrm>
            <a:custGeom>
              <a:avLst/>
              <a:gdLst/>
              <a:ahLst/>
              <a:cxnLst>
                <a:cxn ang="0">
                  <a:pos x="74" y="80"/>
                </a:cxn>
                <a:cxn ang="0">
                  <a:pos x="72" y="73"/>
                </a:cxn>
                <a:cxn ang="0">
                  <a:pos x="71" y="66"/>
                </a:cxn>
                <a:cxn ang="0">
                  <a:pos x="69" y="60"/>
                </a:cxn>
                <a:cxn ang="0">
                  <a:pos x="66" y="53"/>
                </a:cxn>
                <a:cxn ang="0">
                  <a:pos x="58" y="42"/>
                </a:cxn>
                <a:cxn ang="0">
                  <a:pos x="48" y="33"/>
                </a:cxn>
                <a:cxn ang="0">
                  <a:pos x="38" y="25"/>
                </a:cxn>
                <a:cxn ang="0">
                  <a:pos x="29" y="17"/>
                </a:cxn>
                <a:cxn ang="0">
                  <a:pos x="20" y="9"/>
                </a:cxn>
                <a:cxn ang="0">
                  <a:pos x="13" y="0"/>
                </a:cxn>
                <a:cxn ang="0">
                  <a:pos x="9" y="5"/>
                </a:cxn>
                <a:cxn ang="0">
                  <a:pos x="4" y="10"/>
                </a:cxn>
                <a:cxn ang="0">
                  <a:pos x="1" y="14"/>
                </a:cxn>
                <a:cxn ang="0">
                  <a:pos x="0" y="19"/>
                </a:cxn>
                <a:cxn ang="0">
                  <a:pos x="0" y="25"/>
                </a:cxn>
                <a:cxn ang="0">
                  <a:pos x="2" y="30"/>
                </a:cxn>
                <a:cxn ang="0">
                  <a:pos x="4" y="36"/>
                </a:cxn>
                <a:cxn ang="0">
                  <a:pos x="7" y="41"/>
                </a:cxn>
                <a:cxn ang="0">
                  <a:pos x="10" y="46"/>
                </a:cxn>
                <a:cxn ang="0">
                  <a:pos x="14" y="51"/>
                </a:cxn>
                <a:cxn ang="0">
                  <a:pos x="19" y="56"/>
                </a:cxn>
                <a:cxn ang="0">
                  <a:pos x="24" y="61"/>
                </a:cxn>
                <a:cxn ang="0">
                  <a:pos x="30" y="66"/>
                </a:cxn>
                <a:cxn ang="0">
                  <a:pos x="35" y="69"/>
                </a:cxn>
                <a:cxn ang="0">
                  <a:pos x="42" y="72"/>
                </a:cxn>
                <a:cxn ang="0">
                  <a:pos x="47" y="75"/>
                </a:cxn>
                <a:cxn ang="0">
                  <a:pos x="54" y="77"/>
                </a:cxn>
                <a:cxn ang="0">
                  <a:pos x="60" y="79"/>
                </a:cxn>
                <a:cxn ang="0">
                  <a:pos x="67" y="80"/>
                </a:cxn>
                <a:cxn ang="0">
                  <a:pos x="74" y="80"/>
                </a:cxn>
              </a:cxnLst>
              <a:rect l="0" t="0" r="r" b="b"/>
              <a:pathLst>
                <a:path w="74" h="80">
                  <a:moveTo>
                    <a:pt x="74" y="80"/>
                  </a:moveTo>
                  <a:lnTo>
                    <a:pt x="72" y="73"/>
                  </a:lnTo>
                  <a:lnTo>
                    <a:pt x="71" y="66"/>
                  </a:lnTo>
                  <a:lnTo>
                    <a:pt x="69" y="60"/>
                  </a:lnTo>
                  <a:lnTo>
                    <a:pt x="66" y="53"/>
                  </a:lnTo>
                  <a:lnTo>
                    <a:pt x="58" y="42"/>
                  </a:lnTo>
                  <a:lnTo>
                    <a:pt x="48" y="33"/>
                  </a:lnTo>
                  <a:lnTo>
                    <a:pt x="38" y="25"/>
                  </a:lnTo>
                  <a:lnTo>
                    <a:pt x="29" y="17"/>
                  </a:lnTo>
                  <a:lnTo>
                    <a:pt x="20" y="9"/>
                  </a:lnTo>
                  <a:lnTo>
                    <a:pt x="13" y="0"/>
                  </a:lnTo>
                  <a:lnTo>
                    <a:pt x="9" y="5"/>
                  </a:lnTo>
                  <a:lnTo>
                    <a:pt x="4" y="10"/>
                  </a:lnTo>
                  <a:lnTo>
                    <a:pt x="1" y="14"/>
                  </a:lnTo>
                  <a:lnTo>
                    <a:pt x="0" y="19"/>
                  </a:lnTo>
                  <a:lnTo>
                    <a:pt x="0" y="25"/>
                  </a:lnTo>
                  <a:lnTo>
                    <a:pt x="2" y="30"/>
                  </a:lnTo>
                  <a:lnTo>
                    <a:pt x="4" y="36"/>
                  </a:lnTo>
                  <a:lnTo>
                    <a:pt x="7" y="41"/>
                  </a:lnTo>
                  <a:lnTo>
                    <a:pt x="10" y="46"/>
                  </a:lnTo>
                  <a:lnTo>
                    <a:pt x="14" y="51"/>
                  </a:lnTo>
                  <a:lnTo>
                    <a:pt x="19" y="56"/>
                  </a:lnTo>
                  <a:lnTo>
                    <a:pt x="24" y="61"/>
                  </a:lnTo>
                  <a:lnTo>
                    <a:pt x="30" y="66"/>
                  </a:lnTo>
                  <a:lnTo>
                    <a:pt x="35" y="69"/>
                  </a:lnTo>
                  <a:lnTo>
                    <a:pt x="42" y="72"/>
                  </a:lnTo>
                  <a:lnTo>
                    <a:pt x="47" y="75"/>
                  </a:lnTo>
                  <a:lnTo>
                    <a:pt x="54" y="77"/>
                  </a:lnTo>
                  <a:lnTo>
                    <a:pt x="60" y="79"/>
                  </a:lnTo>
                  <a:lnTo>
                    <a:pt x="67" y="80"/>
                  </a:lnTo>
                  <a:lnTo>
                    <a:pt x="74" y="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202" name="Freeform 154"/>
            <p:cNvSpPr>
              <a:spLocks/>
            </p:cNvSpPr>
            <p:nvPr/>
          </p:nvSpPr>
          <p:spPr bwMode="auto">
            <a:xfrm>
              <a:off x="5555" y="2785"/>
              <a:ext cx="26" cy="27"/>
            </a:xfrm>
            <a:custGeom>
              <a:avLst/>
              <a:gdLst/>
              <a:ahLst/>
              <a:cxnLst>
                <a:cxn ang="0">
                  <a:pos x="52" y="80"/>
                </a:cxn>
                <a:cxn ang="0">
                  <a:pos x="86" y="80"/>
                </a:cxn>
                <a:cxn ang="0">
                  <a:pos x="86" y="61"/>
                </a:cxn>
                <a:cxn ang="0">
                  <a:pos x="79" y="59"/>
                </a:cxn>
                <a:cxn ang="0">
                  <a:pos x="72" y="56"/>
                </a:cxn>
                <a:cxn ang="0">
                  <a:pos x="67" y="53"/>
                </a:cxn>
                <a:cxn ang="0">
                  <a:pos x="61" y="49"/>
                </a:cxn>
                <a:cxn ang="0">
                  <a:pos x="51" y="41"/>
                </a:cxn>
                <a:cxn ang="0">
                  <a:pos x="43" y="33"/>
                </a:cxn>
                <a:cxn ang="0">
                  <a:pos x="34" y="25"/>
                </a:cxn>
                <a:cxn ang="0">
                  <a:pos x="24" y="16"/>
                </a:cxn>
                <a:cxn ang="0">
                  <a:pos x="13" y="7"/>
                </a:cxn>
                <a:cxn ang="0">
                  <a:pos x="0" y="0"/>
                </a:cxn>
                <a:cxn ang="0">
                  <a:pos x="1" y="8"/>
                </a:cxn>
                <a:cxn ang="0">
                  <a:pos x="5" y="20"/>
                </a:cxn>
                <a:cxn ang="0">
                  <a:pos x="11" y="32"/>
                </a:cxn>
                <a:cxn ang="0">
                  <a:pos x="18" y="44"/>
                </a:cxn>
                <a:cxn ang="0">
                  <a:pos x="27" y="57"/>
                </a:cxn>
                <a:cxn ang="0">
                  <a:pos x="36" y="67"/>
                </a:cxn>
                <a:cxn ang="0">
                  <a:pos x="40" y="72"/>
                </a:cxn>
                <a:cxn ang="0">
                  <a:pos x="45" y="76"/>
                </a:cxn>
                <a:cxn ang="0">
                  <a:pos x="49" y="79"/>
                </a:cxn>
                <a:cxn ang="0">
                  <a:pos x="52" y="80"/>
                </a:cxn>
              </a:cxnLst>
              <a:rect l="0" t="0" r="r" b="b"/>
              <a:pathLst>
                <a:path w="86" h="80">
                  <a:moveTo>
                    <a:pt x="52" y="80"/>
                  </a:moveTo>
                  <a:lnTo>
                    <a:pt x="86" y="80"/>
                  </a:lnTo>
                  <a:lnTo>
                    <a:pt x="86" y="61"/>
                  </a:lnTo>
                  <a:lnTo>
                    <a:pt x="79" y="59"/>
                  </a:lnTo>
                  <a:lnTo>
                    <a:pt x="72" y="56"/>
                  </a:lnTo>
                  <a:lnTo>
                    <a:pt x="67" y="53"/>
                  </a:lnTo>
                  <a:lnTo>
                    <a:pt x="61" y="49"/>
                  </a:lnTo>
                  <a:lnTo>
                    <a:pt x="51" y="41"/>
                  </a:lnTo>
                  <a:lnTo>
                    <a:pt x="43" y="33"/>
                  </a:lnTo>
                  <a:lnTo>
                    <a:pt x="34" y="25"/>
                  </a:lnTo>
                  <a:lnTo>
                    <a:pt x="24" y="16"/>
                  </a:lnTo>
                  <a:lnTo>
                    <a:pt x="13" y="7"/>
                  </a:lnTo>
                  <a:lnTo>
                    <a:pt x="0" y="0"/>
                  </a:lnTo>
                  <a:lnTo>
                    <a:pt x="1" y="8"/>
                  </a:lnTo>
                  <a:lnTo>
                    <a:pt x="5" y="20"/>
                  </a:lnTo>
                  <a:lnTo>
                    <a:pt x="11" y="32"/>
                  </a:lnTo>
                  <a:lnTo>
                    <a:pt x="18" y="44"/>
                  </a:lnTo>
                  <a:lnTo>
                    <a:pt x="27" y="57"/>
                  </a:lnTo>
                  <a:lnTo>
                    <a:pt x="36" y="67"/>
                  </a:lnTo>
                  <a:lnTo>
                    <a:pt x="40" y="72"/>
                  </a:lnTo>
                  <a:lnTo>
                    <a:pt x="45" y="76"/>
                  </a:lnTo>
                  <a:lnTo>
                    <a:pt x="49" y="79"/>
                  </a:lnTo>
                  <a:lnTo>
                    <a:pt x="52" y="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203" name="Freeform 155"/>
            <p:cNvSpPr>
              <a:spLocks/>
            </p:cNvSpPr>
            <p:nvPr/>
          </p:nvSpPr>
          <p:spPr bwMode="auto">
            <a:xfrm>
              <a:off x="5570" y="2825"/>
              <a:ext cx="25" cy="11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3" y="11"/>
                </a:cxn>
                <a:cxn ang="0">
                  <a:pos x="5" y="15"/>
                </a:cxn>
                <a:cxn ang="0">
                  <a:pos x="9" y="18"/>
                </a:cxn>
                <a:cxn ang="0">
                  <a:pos x="14" y="21"/>
                </a:cxn>
                <a:cxn ang="0">
                  <a:pos x="18" y="24"/>
                </a:cxn>
                <a:cxn ang="0">
                  <a:pos x="23" y="26"/>
                </a:cxn>
                <a:cxn ang="0">
                  <a:pos x="29" y="28"/>
                </a:cxn>
                <a:cxn ang="0">
                  <a:pos x="34" y="29"/>
                </a:cxn>
                <a:cxn ang="0">
                  <a:pos x="47" y="31"/>
                </a:cxn>
                <a:cxn ang="0">
                  <a:pos x="58" y="31"/>
                </a:cxn>
                <a:cxn ang="0">
                  <a:pos x="63" y="30"/>
                </a:cxn>
                <a:cxn ang="0">
                  <a:pos x="67" y="29"/>
                </a:cxn>
                <a:cxn ang="0">
                  <a:pos x="71" y="27"/>
                </a:cxn>
                <a:cxn ang="0">
                  <a:pos x="74" y="25"/>
                </a:cxn>
                <a:cxn ang="0">
                  <a:pos x="64" y="18"/>
                </a:cxn>
                <a:cxn ang="0">
                  <a:pos x="55" y="13"/>
                </a:cxn>
                <a:cxn ang="0">
                  <a:pos x="51" y="10"/>
                </a:cxn>
                <a:cxn ang="0">
                  <a:pos x="47" y="8"/>
                </a:cxn>
                <a:cxn ang="0">
                  <a:pos x="43" y="5"/>
                </a:cxn>
                <a:cxn ang="0">
                  <a:pos x="41" y="0"/>
                </a:cxn>
                <a:cxn ang="0">
                  <a:pos x="33" y="1"/>
                </a:cxn>
                <a:cxn ang="0">
                  <a:pos x="28" y="1"/>
                </a:cxn>
                <a:cxn ang="0">
                  <a:pos x="22" y="1"/>
                </a:cxn>
                <a:cxn ang="0">
                  <a:pos x="18" y="0"/>
                </a:cxn>
                <a:cxn ang="0">
                  <a:pos x="14" y="0"/>
                </a:cxn>
                <a:cxn ang="0">
                  <a:pos x="10" y="0"/>
                </a:cxn>
                <a:cxn ang="0">
                  <a:pos x="6" y="3"/>
                </a:cxn>
                <a:cxn ang="0">
                  <a:pos x="0" y="7"/>
                </a:cxn>
              </a:cxnLst>
              <a:rect l="0" t="0" r="r" b="b"/>
              <a:pathLst>
                <a:path w="74" h="31">
                  <a:moveTo>
                    <a:pt x="0" y="7"/>
                  </a:moveTo>
                  <a:lnTo>
                    <a:pt x="3" y="11"/>
                  </a:lnTo>
                  <a:lnTo>
                    <a:pt x="5" y="15"/>
                  </a:lnTo>
                  <a:lnTo>
                    <a:pt x="9" y="18"/>
                  </a:lnTo>
                  <a:lnTo>
                    <a:pt x="14" y="21"/>
                  </a:lnTo>
                  <a:lnTo>
                    <a:pt x="18" y="24"/>
                  </a:lnTo>
                  <a:lnTo>
                    <a:pt x="23" y="26"/>
                  </a:lnTo>
                  <a:lnTo>
                    <a:pt x="29" y="28"/>
                  </a:lnTo>
                  <a:lnTo>
                    <a:pt x="34" y="29"/>
                  </a:lnTo>
                  <a:lnTo>
                    <a:pt x="47" y="31"/>
                  </a:lnTo>
                  <a:lnTo>
                    <a:pt x="58" y="31"/>
                  </a:lnTo>
                  <a:lnTo>
                    <a:pt x="63" y="30"/>
                  </a:lnTo>
                  <a:lnTo>
                    <a:pt x="67" y="29"/>
                  </a:lnTo>
                  <a:lnTo>
                    <a:pt x="71" y="27"/>
                  </a:lnTo>
                  <a:lnTo>
                    <a:pt x="74" y="25"/>
                  </a:lnTo>
                  <a:lnTo>
                    <a:pt x="64" y="18"/>
                  </a:lnTo>
                  <a:lnTo>
                    <a:pt x="55" y="13"/>
                  </a:lnTo>
                  <a:lnTo>
                    <a:pt x="51" y="10"/>
                  </a:lnTo>
                  <a:lnTo>
                    <a:pt x="47" y="8"/>
                  </a:lnTo>
                  <a:lnTo>
                    <a:pt x="43" y="5"/>
                  </a:lnTo>
                  <a:lnTo>
                    <a:pt x="41" y="0"/>
                  </a:lnTo>
                  <a:lnTo>
                    <a:pt x="33" y="1"/>
                  </a:lnTo>
                  <a:lnTo>
                    <a:pt x="28" y="1"/>
                  </a:lnTo>
                  <a:lnTo>
                    <a:pt x="22" y="1"/>
                  </a:lnTo>
                  <a:lnTo>
                    <a:pt x="18" y="0"/>
                  </a:lnTo>
                  <a:lnTo>
                    <a:pt x="14" y="0"/>
                  </a:lnTo>
                  <a:lnTo>
                    <a:pt x="10" y="0"/>
                  </a:lnTo>
                  <a:lnTo>
                    <a:pt x="6" y="3"/>
                  </a:lnTo>
                  <a:lnTo>
                    <a:pt x="0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204" name="Freeform 156"/>
            <p:cNvSpPr>
              <a:spLocks/>
            </p:cNvSpPr>
            <p:nvPr/>
          </p:nvSpPr>
          <p:spPr bwMode="auto">
            <a:xfrm>
              <a:off x="5562" y="2819"/>
              <a:ext cx="6" cy="1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0" y="0"/>
                </a:cxn>
                <a:cxn ang="0">
                  <a:pos x="10" y="0"/>
                </a:cxn>
                <a:cxn ang="0">
                  <a:pos x="20" y="0"/>
                </a:cxn>
              </a:cxnLst>
              <a:rect l="0" t="0" r="r" b="b"/>
              <a:pathLst>
                <a:path w="20">
                  <a:moveTo>
                    <a:pt x="20" y="0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205" name="Freeform 157"/>
            <p:cNvSpPr>
              <a:spLocks/>
            </p:cNvSpPr>
            <p:nvPr/>
          </p:nvSpPr>
          <p:spPr bwMode="auto">
            <a:xfrm>
              <a:off x="5509" y="2769"/>
              <a:ext cx="32" cy="21"/>
            </a:xfrm>
            <a:custGeom>
              <a:avLst/>
              <a:gdLst/>
              <a:ahLst/>
              <a:cxnLst>
                <a:cxn ang="0">
                  <a:pos x="7" y="25"/>
                </a:cxn>
                <a:cxn ang="0">
                  <a:pos x="35" y="40"/>
                </a:cxn>
                <a:cxn ang="0">
                  <a:pos x="61" y="55"/>
                </a:cxn>
                <a:cxn ang="0">
                  <a:pos x="72" y="60"/>
                </a:cxn>
                <a:cxn ang="0">
                  <a:pos x="83" y="65"/>
                </a:cxn>
                <a:cxn ang="0">
                  <a:pos x="87" y="65"/>
                </a:cxn>
                <a:cxn ang="0">
                  <a:pos x="91" y="65"/>
                </a:cxn>
                <a:cxn ang="0">
                  <a:pos x="96" y="65"/>
                </a:cxn>
                <a:cxn ang="0">
                  <a:pos x="100" y="62"/>
                </a:cxn>
                <a:cxn ang="0">
                  <a:pos x="94" y="60"/>
                </a:cxn>
                <a:cxn ang="0">
                  <a:pos x="88" y="56"/>
                </a:cxn>
                <a:cxn ang="0">
                  <a:pos x="83" y="52"/>
                </a:cxn>
                <a:cxn ang="0">
                  <a:pos x="78" y="46"/>
                </a:cxn>
                <a:cxn ang="0">
                  <a:pos x="67" y="34"/>
                </a:cxn>
                <a:cxn ang="0">
                  <a:pos x="57" y="21"/>
                </a:cxn>
                <a:cxn ang="0">
                  <a:pos x="52" y="15"/>
                </a:cxn>
                <a:cxn ang="0">
                  <a:pos x="46" y="10"/>
                </a:cxn>
                <a:cxn ang="0">
                  <a:pos x="40" y="4"/>
                </a:cxn>
                <a:cxn ang="0">
                  <a:pos x="33" y="1"/>
                </a:cxn>
                <a:cxn ang="0">
                  <a:pos x="27" y="0"/>
                </a:cxn>
                <a:cxn ang="0">
                  <a:pos x="18" y="0"/>
                </a:cxn>
                <a:cxn ang="0">
                  <a:pos x="10" y="2"/>
                </a:cxn>
                <a:cxn ang="0">
                  <a:pos x="0" y="6"/>
                </a:cxn>
                <a:cxn ang="0">
                  <a:pos x="7" y="25"/>
                </a:cxn>
              </a:cxnLst>
              <a:rect l="0" t="0" r="r" b="b"/>
              <a:pathLst>
                <a:path w="100" h="65">
                  <a:moveTo>
                    <a:pt x="7" y="25"/>
                  </a:moveTo>
                  <a:lnTo>
                    <a:pt x="35" y="40"/>
                  </a:lnTo>
                  <a:lnTo>
                    <a:pt x="61" y="55"/>
                  </a:lnTo>
                  <a:lnTo>
                    <a:pt x="72" y="60"/>
                  </a:lnTo>
                  <a:lnTo>
                    <a:pt x="83" y="65"/>
                  </a:lnTo>
                  <a:lnTo>
                    <a:pt x="87" y="65"/>
                  </a:lnTo>
                  <a:lnTo>
                    <a:pt x="91" y="65"/>
                  </a:lnTo>
                  <a:lnTo>
                    <a:pt x="96" y="65"/>
                  </a:lnTo>
                  <a:lnTo>
                    <a:pt x="100" y="62"/>
                  </a:lnTo>
                  <a:lnTo>
                    <a:pt x="94" y="60"/>
                  </a:lnTo>
                  <a:lnTo>
                    <a:pt x="88" y="56"/>
                  </a:lnTo>
                  <a:lnTo>
                    <a:pt x="83" y="52"/>
                  </a:lnTo>
                  <a:lnTo>
                    <a:pt x="78" y="46"/>
                  </a:lnTo>
                  <a:lnTo>
                    <a:pt x="67" y="34"/>
                  </a:lnTo>
                  <a:lnTo>
                    <a:pt x="57" y="21"/>
                  </a:lnTo>
                  <a:lnTo>
                    <a:pt x="52" y="15"/>
                  </a:lnTo>
                  <a:lnTo>
                    <a:pt x="46" y="10"/>
                  </a:lnTo>
                  <a:lnTo>
                    <a:pt x="40" y="4"/>
                  </a:lnTo>
                  <a:lnTo>
                    <a:pt x="33" y="1"/>
                  </a:lnTo>
                  <a:lnTo>
                    <a:pt x="27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0" y="6"/>
                  </a:lnTo>
                  <a:lnTo>
                    <a:pt x="7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206" name="Freeform 158"/>
            <p:cNvSpPr>
              <a:spLocks/>
            </p:cNvSpPr>
            <p:nvPr/>
          </p:nvSpPr>
          <p:spPr bwMode="auto">
            <a:xfrm>
              <a:off x="5486" y="2743"/>
              <a:ext cx="24" cy="34"/>
            </a:xfrm>
            <a:custGeom>
              <a:avLst/>
              <a:gdLst/>
              <a:ahLst/>
              <a:cxnLst>
                <a:cxn ang="0">
                  <a:pos x="72" y="85"/>
                </a:cxn>
                <a:cxn ang="0">
                  <a:pos x="56" y="61"/>
                </a:cxn>
                <a:cxn ang="0">
                  <a:pos x="43" y="41"/>
                </a:cxn>
                <a:cxn ang="0">
                  <a:pos x="29" y="20"/>
                </a:cxn>
                <a:cxn ang="0">
                  <a:pos x="12" y="0"/>
                </a:cxn>
                <a:cxn ang="0">
                  <a:pos x="6" y="16"/>
                </a:cxn>
                <a:cxn ang="0">
                  <a:pos x="2" y="33"/>
                </a:cxn>
                <a:cxn ang="0">
                  <a:pos x="0" y="40"/>
                </a:cxn>
                <a:cxn ang="0">
                  <a:pos x="0" y="48"/>
                </a:cxn>
                <a:cxn ang="0">
                  <a:pos x="0" y="55"/>
                </a:cxn>
                <a:cxn ang="0">
                  <a:pos x="0" y="62"/>
                </a:cxn>
                <a:cxn ang="0">
                  <a:pos x="1" y="68"/>
                </a:cxn>
                <a:cxn ang="0">
                  <a:pos x="3" y="74"/>
                </a:cxn>
                <a:cxn ang="0">
                  <a:pos x="6" y="79"/>
                </a:cxn>
                <a:cxn ang="0">
                  <a:pos x="10" y="83"/>
                </a:cxn>
                <a:cxn ang="0">
                  <a:pos x="14" y="88"/>
                </a:cxn>
                <a:cxn ang="0">
                  <a:pos x="20" y="90"/>
                </a:cxn>
                <a:cxn ang="0">
                  <a:pos x="25" y="92"/>
                </a:cxn>
                <a:cxn ang="0">
                  <a:pos x="33" y="92"/>
                </a:cxn>
                <a:cxn ang="0">
                  <a:pos x="43" y="93"/>
                </a:cxn>
                <a:cxn ang="0">
                  <a:pos x="54" y="96"/>
                </a:cxn>
                <a:cxn ang="0">
                  <a:pos x="65" y="100"/>
                </a:cxn>
                <a:cxn ang="0">
                  <a:pos x="79" y="104"/>
                </a:cxn>
                <a:cxn ang="0">
                  <a:pos x="72" y="85"/>
                </a:cxn>
              </a:cxnLst>
              <a:rect l="0" t="0" r="r" b="b"/>
              <a:pathLst>
                <a:path w="79" h="104">
                  <a:moveTo>
                    <a:pt x="72" y="85"/>
                  </a:moveTo>
                  <a:lnTo>
                    <a:pt x="56" y="61"/>
                  </a:lnTo>
                  <a:lnTo>
                    <a:pt x="43" y="41"/>
                  </a:lnTo>
                  <a:lnTo>
                    <a:pt x="29" y="20"/>
                  </a:lnTo>
                  <a:lnTo>
                    <a:pt x="12" y="0"/>
                  </a:lnTo>
                  <a:lnTo>
                    <a:pt x="6" y="16"/>
                  </a:lnTo>
                  <a:lnTo>
                    <a:pt x="2" y="33"/>
                  </a:lnTo>
                  <a:lnTo>
                    <a:pt x="0" y="40"/>
                  </a:lnTo>
                  <a:lnTo>
                    <a:pt x="0" y="48"/>
                  </a:lnTo>
                  <a:lnTo>
                    <a:pt x="0" y="55"/>
                  </a:lnTo>
                  <a:lnTo>
                    <a:pt x="0" y="62"/>
                  </a:lnTo>
                  <a:lnTo>
                    <a:pt x="1" y="68"/>
                  </a:lnTo>
                  <a:lnTo>
                    <a:pt x="3" y="74"/>
                  </a:lnTo>
                  <a:lnTo>
                    <a:pt x="6" y="79"/>
                  </a:lnTo>
                  <a:lnTo>
                    <a:pt x="10" y="83"/>
                  </a:lnTo>
                  <a:lnTo>
                    <a:pt x="14" y="88"/>
                  </a:lnTo>
                  <a:lnTo>
                    <a:pt x="20" y="90"/>
                  </a:lnTo>
                  <a:lnTo>
                    <a:pt x="25" y="92"/>
                  </a:lnTo>
                  <a:lnTo>
                    <a:pt x="33" y="92"/>
                  </a:lnTo>
                  <a:lnTo>
                    <a:pt x="43" y="93"/>
                  </a:lnTo>
                  <a:lnTo>
                    <a:pt x="54" y="96"/>
                  </a:lnTo>
                  <a:lnTo>
                    <a:pt x="65" y="100"/>
                  </a:lnTo>
                  <a:lnTo>
                    <a:pt x="79" y="104"/>
                  </a:lnTo>
                  <a:lnTo>
                    <a:pt x="72" y="8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2207" name="Freeform 159"/>
          <p:cNvSpPr>
            <a:spLocks/>
          </p:cNvSpPr>
          <p:nvPr>
            <p:custDataLst>
              <p:tags r:id="rId90"/>
            </p:custDataLst>
          </p:nvPr>
        </p:nvSpPr>
        <p:spPr bwMode="auto">
          <a:xfrm>
            <a:off x="4216407" y="2661049"/>
            <a:ext cx="11113" cy="41672"/>
          </a:xfrm>
          <a:custGeom>
            <a:avLst/>
            <a:gdLst/>
            <a:ahLst/>
            <a:cxnLst>
              <a:cxn ang="0">
                <a:pos x="27" y="0"/>
              </a:cxn>
              <a:cxn ang="0">
                <a:pos x="27" y="12"/>
              </a:cxn>
              <a:cxn ang="0">
                <a:pos x="27" y="19"/>
              </a:cxn>
              <a:cxn ang="0">
                <a:pos x="9" y="19"/>
              </a:cxn>
              <a:cxn ang="0">
                <a:pos x="0" y="19"/>
              </a:cxn>
              <a:cxn ang="0">
                <a:pos x="9" y="12"/>
              </a:cxn>
              <a:cxn ang="0">
                <a:pos x="27" y="0"/>
              </a:cxn>
            </a:cxnLst>
            <a:rect l="0" t="0" r="r" b="b"/>
            <a:pathLst>
              <a:path w="27" h="19">
                <a:moveTo>
                  <a:pt x="27" y="0"/>
                </a:moveTo>
                <a:lnTo>
                  <a:pt x="27" y="12"/>
                </a:lnTo>
                <a:lnTo>
                  <a:pt x="27" y="19"/>
                </a:lnTo>
                <a:lnTo>
                  <a:pt x="9" y="19"/>
                </a:lnTo>
                <a:lnTo>
                  <a:pt x="0" y="19"/>
                </a:lnTo>
                <a:lnTo>
                  <a:pt x="9" y="12"/>
                </a:lnTo>
                <a:lnTo>
                  <a:pt x="2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208" name="Freeform 160"/>
          <p:cNvSpPr>
            <a:spLocks/>
          </p:cNvSpPr>
          <p:nvPr>
            <p:custDataLst>
              <p:tags r:id="rId91"/>
            </p:custDataLst>
          </p:nvPr>
        </p:nvSpPr>
        <p:spPr bwMode="auto">
          <a:xfrm>
            <a:off x="4140206" y="2765827"/>
            <a:ext cx="14288" cy="4286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39" y="0"/>
              </a:cxn>
              <a:cxn ang="0">
                <a:pos x="36" y="9"/>
              </a:cxn>
              <a:cxn ang="0">
                <a:pos x="33" y="19"/>
              </a:cxn>
              <a:cxn ang="0">
                <a:pos x="27" y="28"/>
              </a:cxn>
              <a:cxn ang="0">
                <a:pos x="22" y="34"/>
              </a:cxn>
              <a:cxn ang="0">
                <a:pos x="19" y="35"/>
              </a:cxn>
              <a:cxn ang="0">
                <a:pos x="16" y="35"/>
              </a:cxn>
              <a:cxn ang="0">
                <a:pos x="13" y="34"/>
              </a:cxn>
              <a:cxn ang="0">
                <a:pos x="11" y="31"/>
              </a:cxn>
              <a:cxn ang="0">
                <a:pos x="7" y="26"/>
              </a:cxn>
              <a:cxn ang="0">
                <a:pos x="5" y="20"/>
              </a:cxn>
              <a:cxn ang="0">
                <a:pos x="2" y="11"/>
              </a:cxn>
              <a:cxn ang="0">
                <a:pos x="0" y="0"/>
              </a:cxn>
            </a:cxnLst>
            <a:rect l="0" t="0" r="r" b="b"/>
            <a:pathLst>
              <a:path w="39" h="35">
                <a:moveTo>
                  <a:pt x="0" y="0"/>
                </a:moveTo>
                <a:lnTo>
                  <a:pt x="39" y="0"/>
                </a:lnTo>
                <a:lnTo>
                  <a:pt x="36" y="9"/>
                </a:lnTo>
                <a:lnTo>
                  <a:pt x="33" y="19"/>
                </a:lnTo>
                <a:lnTo>
                  <a:pt x="27" y="28"/>
                </a:lnTo>
                <a:lnTo>
                  <a:pt x="22" y="34"/>
                </a:lnTo>
                <a:lnTo>
                  <a:pt x="19" y="35"/>
                </a:lnTo>
                <a:lnTo>
                  <a:pt x="16" y="35"/>
                </a:lnTo>
                <a:lnTo>
                  <a:pt x="13" y="34"/>
                </a:lnTo>
                <a:lnTo>
                  <a:pt x="11" y="31"/>
                </a:lnTo>
                <a:lnTo>
                  <a:pt x="7" y="26"/>
                </a:lnTo>
                <a:lnTo>
                  <a:pt x="5" y="20"/>
                </a:lnTo>
                <a:lnTo>
                  <a:pt x="2" y="11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209" name="Freeform 161"/>
          <p:cNvSpPr>
            <a:spLocks/>
          </p:cNvSpPr>
          <p:nvPr>
            <p:custDataLst>
              <p:tags r:id="rId92"/>
            </p:custDataLst>
          </p:nvPr>
        </p:nvSpPr>
        <p:spPr bwMode="auto">
          <a:xfrm>
            <a:off x="5938838" y="1510911"/>
            <a:ext cx="728662" cy="248840"/>
          </a:xfrm>
          <a:custGeom>
            <a:avLst/>
            <a:gdLst/>
            <a:ahLst/>
            <a:cxnLst>
              <a:cxn ang="0">
                <a:pos x="32" y="216"/>
              </a:cxn>
              <a:cxn ang="0">
                <a:pos x="86" y="249"/>
              </a:cxn>
              <a:cxn ang="0">
                <a:pos x="155" y="264"/>
              </a:cxn>
              <a:cxn ang="0">
                <a:pos x="191" y="281"/>
              </a:cxn>
              <a:cxn ang="0">
                <a:pos x="238" y="331"/>
              </a:cxn>
              <a:cxn ang="0">
                <a:pos x="253" y="349"/>
              </a:cxn>
              <a:cxn ang="0">
                <a:pos x="254" y="386"/>
              </a:cxn>
              <a:cxn ang="0">
                <a:pos x="273" y="408"/>
              </a:cxn>
              <a:cxn ang="0">
                <a:pos x="341" y="416"/>
              </a:cxn>
              <a:cxn ang="0">
                <a:pos x="463" y="452"/>
              </a:cxn>
              <a:cxn ang="0">
                <a:pos x="546" y="469"/>
              </a:cxn>
              <a:cxn ang="0">
                <a:pos x="575" y="510"/>
              </a:cxn>
              <a:cxn ang="0">
                <a:pos x="622" y="542"/>
              </a:cxn>
              <a:cxn ang="0">
                <a:pos x="670" y="555"/>
              </a:cxn>
              <a:cxn ang="0">
                <a:pos x="917" y="576"/>
              </a:cxn>
              <a:cxn ang="0">
                <a:pos x="1037" y="614"/>
              </a:cxn>
              <a:cxn ang="0">
                <a:pos x="1117" y="630"/>
              </a:cxn>
              <a:cxn ang="0">
                <a:pos x="1157" y="613"/>
              </a:cxn>
              <a:cxn ang="0">
                <a:pos x="1344" y="564"/>
              </a:cxn>
              <a:cxn ang="0">
                <a:pos x="1395" y="510"/>
              </a:cxn>
              <a:cxn ang="0">
                <a:pos x="1403" y="483"/>
              </a:cxn>
              <a:cxn ang="0">
                <a:pos x="1386" y="455"/>
              </a:cxn>
              <a:cxn ang="0">
                <a:pos x="1370" y="415"/>
              </a:cxn>
              <a:cxn ang="0">
                <a:pos x="1499" y="394"/>
              </a:cxn>
              <a:cxn ang="0">
                <a:pos x="1594" y="343"/>
              </a:cxn>
              <a:cxn ang="0">
                <a:pos x="1651" y="325"/>
              </a:cxn>
              <a:cxn ang="0">
                <a:pos x="1688" y="297"/>
              </a:cxn>
              <a:cxn ang="0">
                <a:pos x="1656" y="279"/>
              </a:cxn>
              <a:cxn ang="0">
                <a:pos x="1619" y="252"/>
              </a:cxn>
              <a:cxn ang="0">
                <a:pos x="1583" y="248"/>
              </a:cxn>
              <a:cxn ang="0">
                <a:pos x="1553" y="258"/>
              </a:cxn>
              <a:cxn ang="0">
                <a:pos x="1497" y="256"/>
              </a:cxn>
              <a:cxn ang="0">
                <a:pos x="1457" y="235"/>
              </a:cxn>
              <a:cxn ang="0">
                <a:pos x="1434" y="187"/>
              </a:cxn>
              <a:cxn ang="0">
                <a:pos x="1367" y="124"/>
              </a:cxn>
              <a:cxn ang="0">
                <a:pos x="1286" y="120"/>
              </a:cxn>
              <a:cxn ang="0">
                <a:pos x="1260" y="147"/>
              </a:cxn>
              <a:cxn ang="0">
                <a:pos x="1236" y="165"/>
              </a:cxn>
              <a:cxn ang="0">
                <a:pos x="1168" y="167"/>
              </a:cxn>
              <a:cxn ang="0">
                <a:pos x="1044" y="167"/>
              </a:cxn>
              <a:cxn ang="0">
                <a:pos x="986" y="140"/>
              </a:cxn>
              <a:cxn ang="0">
                <a:pos x="922" y="108"/>
              </a:cxn>
              <a:cxn ang="0">
                <a:pos x="852" y="100"/>
              </a:cxn>
              <a:cxn ang="0">
                <a:pos x="801" y="114"/>
              </a:cxn>
              <a:cxn ang="0">
                <a:pos x="740" y="116"/>
              </a:cxn>
              <a:cxn ang="0">
                <a:pos x="692" y="101"/>
              </a:cxn>
              <a:cxn ang="0">
                <a:pos x="662" y="68"/>
              </a:cxn>
              <a:cxn ang="0">
                <a:pos x="446" y="7"/>
              </a:cxn>
              <a:cxn ang="0">
                <a:pos x="446" y="44"/>
              </a:cxn>
              <a:cxn ang="0">
                <a:pos x="471" y="79"/>
              </a:cxn>
              <a:cxn ang="0">
                <a:pos x="490" y="106"/>
              </a:cxn>
              <a:cxn ang="0">
                <a:pos x="307" y="122"/>
              </a:cxn>
              <a:cxn ang="0">
                <a:pos x="294" y="87"/>
              </a:cxn>
              <a:cxn ang="0">
                <a:pos x="225" y="97"/>
              </a:cxn>
              <a:cxn ang="0">
                <a:pos x="185" y="88"/>
              </a:cxn>
              <a:cxn ang="0">
                <a:pos x="138" y="97"/>
              </a:cxn>
              <a:cxn ang="0">
                <a:pos x="68" y="143"/>
              </a:cxn>
              <a:cxn ang="0">
                <a:pos x="31" y="151"/>
              </a:cxn>
              <a:cxn ang="0">
                <a:pos x="4" y="169"/>
              </a:cxn>
            </a:cxnLst>
            <a:rect l="0" t="0" r="r" b="b"/>
            <a:pathLst>
              <a:path w="1688" h="630">
                <a:moveTo>
                  <a:pt x="0" y="180"/>
                </a:moveTo>
                <a:lnTo>
                  <a:pt x="7" y="190"/>
                </a:lnTo>
                <a:lnTo>
                  <a:pt x="15" y="199"/>
                </a:lnTo>
                <a:lnTo>
                  <a:pt x="22" y="208"/>
                </a:lnTo>
                <a:lnTo>
                  <a:pt x="32" y="216"/>
                </a:lnTo>
                <a:lnTo>
                  <a:pt x="41" y="224"/>
                </a:lnTo>
                <a:lnTo>
                  <a:pt x="51" y="232"/>
                </a:lnTo>
                <a:lnTo>
                  <a:pt x="62" y="238"/>
                </a:lnTo>
                <a:lnTo>
                  <a:pt x="74" y="244"/>
                </a:lnTo>
                <a:lnTo>
                  <a:pt x="86" y="249"/>
                </a:lnTo>
                <a:lnTo>
                  <a:pt x="99" y="253"/>
                </a:lnTo>
                <a:lnTo>
                  <a:pt x="112" y="257"/>
                </a:lnTo>
                <a:lnTo>
                  <a:pt x="126" y="260"/>
                </a:lnTo>
                <a:lnTo>
                  <a:pt x="140" y="262"/>
                </a:lnTo>
                <a:lnTo>
                  <a:pt x="155" y="264"/>
                </a:lnTo>
                <a:lnTo>
                  <a:pt x="171" y="265"/>
                </a:lnTo>
                <a:lnTo>
                  <a:pt x="187" y="266"/>
                </a:lnTo>
                <a:lnTo>
                  <a:pt x="187" y="270"/>
                </a:lnTo>
                <a:lnTo>
                  <a:pt x="189" y="276"/>
                </a:lnTo>
                <a:lnTo>
                  <a:pt x="191" y="281"/>
                </a:lnTo>
                <a:lnTo>
                  <a:pt x="196" y="288"/>
                </a:lnTo>
                <a:lnTo>
                  <a:pt x="205" y="300"/>
                </a:lnTo>
                <a:lnTo>
                  <a:pt x="215" y="312"/>
                </a:lnTo>
                <a:lnTo>
                  <a:pt x="227" y="323"/>
                </a:lnTo>
                <a:lnTo>
                  <a:pt x="238" y="331"/>
                </a:lnTo>
                <a:lnTo>
                  <a:pt x="242" y="335"/>
                </a:lnTo>
                <a:lnTo>
                  <a:pt x="246" y="337"/>
                </a:lnTo>
                <a:lnTo>
                  <a:pt x="251" y="340"/>
                </a:lnTo>
                <a:lnTo>
                  <a:pt x="253" y="340"/>
                </a:lnTo>
                <a:lnTo>
                  <a:pt x="253" y="349"/>
                </a:lnTo>
                <a:lnTo>
                  <a:pt x="253" y="358"/>
                </a:lnTo>
                <a:lnTo>
                  <a:pt x="253" y="365"/>
                </a:lnTo>
                <a:lnTo>
                  <a:pt x="253" y="370"/>
                </a:lnTo>
                <a:lnTo>
                  <a:pt x="253" y="379"/>
                </a:lnTo>
                <a:lnTo>
                  <a:pt x="254" y="386"/>
                </a:lnTo>
                <a:lnTo>
                  <a:pt x="256" y="394"/>
                </a:lnTo>
                <a:lnTo>
                  <a:pt x="260" y="402"/>
                </a:lnTo>
                <a:lnTo>
                  <a:pt x="262" y="404"/>
                </a:lnTo>
                <a:lnTo>
                  <a:pt x="266" y="406"/>
                </a:lnTo>
                <a:lnTo>
                  <a:pt x="273" y="408"/>
                </a:lnTo>
                <a:lnTo>
                  <a:pt x="280" y="410"/>
                </a:lnTo>
                <a:lnTo>
                  <a:pt x="296" y="413"/>
                </a:lnTo>
                <a:lnTo>
                  <a:pt x="307" y="414"/>
                </a:lnTo>
                <a:lnTo>
                  <a:pt x="323" y="414"/>
                </a:lnTo>
                <a:lnTo>
                  <a:pt x="341" y="416"/>
                </a:lnTo>
                <a:lnTo>
                  <a:pt x="356" y="419"/>
                </a:lnTo>
                <a:lnTo>
                  <a:pt x="373" y="422"/>
                </a:lnTo>
                <a:lnTo>
                  <a:pt x="403" y="431"/>
                </a:lnTo>
                <a:lnTo>
                  <a:pt x="433" y="441"/>
                </a:lnTo>
                <a:lnTo>
                  <a:pt x="463" y="452"/>
                </a:lnTo>
                <a:lnTo>
                  <a:pt x="490" y="461"/>
                </a:lnTo>
                <a:lnTo>
                  <a:pt x="504" y="464"/>
                </a:lnTo>
                <a:lnTo>
                  <a:pt x="518" y="467"/>
                </a:lnTo>
                <a:lnTo>
                  <a:pt x="532" y="469"/>
                </a:lnTo>
                <a:lnTo>
                  <a:pt x="546" y="469"/>
                </a:lnTo>
                <a:lnTo>
                  <a:pt x="548" y="477"/>
                </a:lnTo>
                <a:lnTo>
                  <a:pt x="554" y="485"/>
                </a:lnTo>
                <a:lnTo>
                  <a:pt x="559" y="493"/>
                </a:lnTo>
                <a:lnTo>
                  <a:pt x="566" y="501"/>
                </a:lnTo>
                <a:lnTo>
                  <a:pt x="575" y="510"/>
                </a:lnTo>
                <a:lnTo>
                  <a:pt x="583" y="517"/>
                </a:lnTo>
                <a:lnTo>
                  <a:pt x="592" y="524"/>
                </a:lnTo>
                <a:lnTo>
                  <a:pt x="602" y="531"/>
                </a:lnTo>
                <a:lnTo>
                  <a:pt x="612" y="537"/>
                </a:lnTo>
                <a:lnTo>
                  <a:pt x="622" y="542"/>
                </a:lnTo>
                <a:lnTo>
                  <a:pt x="633" y="547"/>
                </a:lnTo>
                <a:lnTo>
                  <a:pt x="643" y="550"/>
                </a:lnTo>
                <a:lnTo>
                  <a:pt x="653" y="553"/>
                </a:lnTo>
                <a:lnTo>
                  <a:pt x="661" y="555"/>
                </a:lnTo>
                <a:lnTo>
                  <a:pt x="670" y="555"/>
                </a:lnTo>
                <a:lnTo>
                  <a:pt x="679" y="555"/>
                </a:lnTo>
                <a:lnTo>
                  <a:pt x="738" y="568"/>
                </a:lnTo>
                <a:lnTo>
                  <a:pt x="904" y="568"/>
                </a:lnTo>
                <a:lnTo>
                  <a:pt x="910" y="572"/>
                </a:lnTo>
                <a:lnTo>
                  <a:pt x="917" y="576"/>
                </a:lnTo>
                <a:lnTo>
                  <a:pt x="928" y="580"/>
                </a:lnTo>
                <a:lnTo>
                  <a:pt x="940" y="585"/>
                </a:lnTo>
                <a:lnTo>
                  <a:pt x="970" y="595"/>
                </a:lnTo>
                <a:lnTo>
                  <a:pt x="1003" y="605"/>
                </a:lnTo>
                <a:lnTo>
                  <a:pt x="1037" y="614"/>
                </a:lnTo>
                <a:lnTo>
                  <a:pt x="1070" y="623"/>
                </a:lnTo>
                <a:lnTo>
                  <a:pt x="1084" y="626"/>
                </a:lnTo>
                <a:lnTo>
                  <a:pt x="1097" y="628"/>
                </a:lnTo>
                <a:lnTo>
                  <a:pt x="1108" y="629"/>
                </a:lnTo>
                <a:lnTo>
                  <a:pt x="1117" y="630"/>
                </a:lnTo>
                <a:lnTo>
                  <a:pt x="1121" y="629"/>
                </a:lnTo>
                <a:lnTo>
                  <a:pt x="1127" y="627"/>
                </a:lnTo>
                <a:lnTo>
                  <a:pt x="1134" y="625"/>
                </a:lnTo>
                <a:lnTo>
                  <a:pt x="1140" y="622"/>
                </a:lnTo>
                <a:lnTo>
                  <a:pt x="1157" y="613"/>
                </a:lnTo>
                <a:lnTo>
                  <a:pt x="1174" y="603"/>
                </a:lnTo>
                <a:lnTo>
                  <a:pt x="1209" y="583"/>
                </a:lnTo>
                <a:lnTo>
                  <a:pt x="1237" y="568"/>
                </a:lnTo>
                <a:lnTo>
                  <a:pt x="1337" y="568"/>
                </a:lnTo>
                <a:lnTo>
                  <a:pt x="1344" y="564"/>
                </a:lnTo>
                <a:lnTo>
                  <a:pt x="1355" y="556"/>
                </a:lnTo>
                <a:lnTo>
                  <a:pt x="1366" y="546"/>
                </a:lnTo>
                <a:lnTo>
                  <a:pt x="1377" y="534"/>
                </a:lnTo>
                <a:lnTo>
                  <a:pt x="1387" y="522"/>
                </a:lnTo>
                <a:lnTo>
                  <a:pt x="1395" y="510"/>
                </a:lnTo>
                <a:lnTo>
                  <a:pt x="1398" y="503"/>
                </a:lnTo>
                <a:lnTo>
                  <a:pt x="1400" y="497"/>
                </a:lnTo>
                <a:lnTo>
                  <a:pt x="1403" y="492"/>
                </a:lnTo>
                <a:lnTo>
                  <a:pt x="1403" y="487"/>
                </a:lnTo>
                <a:lnTo>
                  <a:pt x="1403" y="483"/>
                </a:lnTo>
                <a:lnTo>
                  <a:pt x="1401" y="479"/>
                </a:lnTo>
                <a:lnTo>
                  <a:pt x="1399" y="475"/>
                </a:lnTo>
                <a:lnTo>
                  <a:pt x="1397" y="471"/>
                </a:lnTo>
                <a:lnTo>
                  <a:pt x="1392" y="463"/>
                </a:lnTo>
                <a:lnTo>
                  <a:pt x="1386" y="455"/>
                </a:lnTo>
                <a:lnTo>
                  <a:pt x="1379" y="445"/>
                </a:lnTo>
                <a:lnTo>
                  <a:pt x="1374" y="434"/>
                </a:lnTo>
                <a:lnTo>
                  <a:pt x="1373" y="429"/>
                </a:lnTo>
                <a:lnTo>
                  <a:pt x="1371" y="422"/>
                </a:lnTo>
                <a:lnTo>
                  <a:pt x="1370" y="415"/>
                </a:lnTo>
                <a:lnTo>
                  <a:pt x="1370" y="408"/>
                </a:lnTo>
                <a:lnTo>
                  <a:pt x="1483" y="408"/>
                </a:lnTo>
                <a:lnTo>
                  <a:pt x="1486" y="404"/>
                </a:lnTo>
                <a:lnTo>
                  <a:pt x="1491" y="399"/>
                </a:lnTo>
                <a:lnTo>
                  <a:pt x="1499" y="394"/>
                </a:lnTo>
                <a:lnTo>
                  <a:pt x="1508" y="388"/>
                </a:lnTo>
                <a:lnTo>
                  <a:pt x="1529" y="376"/>
                </a:lnTo>
                <a:lnTo>
                  <a:pt x="1551" y="364"/>
                </a:lnTo>
                <a:lnTo>
                  <a:pt x="1574" y="352"/>
                </a:lnTo>
                <a:lnTo>
                  <a:pt x="1594" y="343"/>
                </a:lnTo>
                <a:lnTo>
                  <a:pt x="1608" y="335"/>
                </a:lnTo>
                <a:lnTo>
                  <a:pt x="1616" y="333"/>
                </a:lnTo>
                <a:lnTo>
                  <a:pt x="1628" y="332"/>
                </a:lnTo>
                <a:lnTo>
                  <a:pt x="1640" y="329"/>
                </a:lnTo>
                <a:lnTo>
                  <a:pt x="1651" y="325"/>
                </a:lnTo>
                <a:lnTo>
                  <a:pt x="1662" y="319"/>
                </a:lnTo>
                <a:lnTo>
                  <a:pt x="1670" y="314"/>
                </a:lnTo>
                <a:lnTo>
                  <a:pt x="1679" y="308"/>
                </a:lnTo>
                <a:lnTo>
                  <a:pt x="1685" y="302"/>
                </a:lnTo>
                <a:lnTo>
                  <a:pt x="1688" y="297"/>
                </a:lnTo>
                <a:lnTo>
                  <a:pt x="1680" y="294"/>
                </a:lnTo>
                <a:lnTo>
                  <a:pt x="1674" y="291"/>
                </a:lnTo>
                <a:lnTo>
                  <a:pt x="1667" y="288"/>
                </a:lnTo>
                <a:lnTo>
                  <a:pt x="1661" y="284"/>
                </a:lnTo>
                <a:lnTo>
                  <a:pt x="1656" y="279"/>
                </a:lnTo>
                <a:lnTo>
                  <a:pt x="1652" y="275"/>
                </a:lnTo>
                <a:lnTo>
                  <a:pt x="1650" y="270"/>
                </a:lnTo>
                <a:lnTo>
                  <a:pt x="1648" y="266"/>
                </a:lnTo>
                <a:lnTo>
                  <a:pt x="1632" y="258"/>
                </a:lnTo>
                <a:lnTo>
                  <a:pt x="1619" y="252"/>
                </a:lnTo>
                <a:lnTo>
                  <a:pt x="1613" y="250"/>
                </a:lnTo>
                <a:lnTo>
                  <a:pt x="1608" y="249"/>
                </a:lnTo>
                <a:lnTo>
                  <a:pt x="1602" y="248"/>
                </a:lnTo>
                <a:lnTo>
                  <a:pt x="1596" y="247"/>
                </a:lnTo>
                <a:lnTo>
                  <a:pt x="1583" y="248"/>
                </a:lnTo>
                <a:lnTo>
                  <a:pt x="1574" y="249"/>
                </a:lnTo>
                <a:lnTo>
                  <a:pt x="1567" y="251"/>
                </a:lnTo>
                <a:lnTo>
                  <a:pt x="1563" y="253"/>
                </a:lnTo>
                <a:lnTo>
                  <a:pt x="1558" y="256"/>
                </a:lnTo>
                <a:lnTo>
                  <a:pt x="1553" y="258"/>
                </a:lnTo>
                <a:lnTo>
                  <a:pt x="1546" y="259"/>
                </a:lnTo>
                <a:lnTo>
                  <a:pt x="1535" y="259"/>
                </a:lnTo>
                <a:lnTo>
                  <a:pt x="1521" y="259"/>
                </a:lnTo>
                <a:lnTo>
                  <a:pt x="1509" y="258"/>
                </a:lnTo>
                <a:lnTo>
                  <a:pt x="1497" y="256"/>
                </a:lnTo>
                <a:lnTo>
                  <a:pt x="1487" y="253"/>
                </a:lnTo>
                <a:lnTo>
                  <a:pt x="1478" y="249"/>
                </a:lnTo>
                <a:lnTo>
                  <a:pt x="1471" y="245"/>
                </a:lnTo>
                <a:lnTo>
                  <a:pt x="1463" y="240"/>
                </a:lnTo>
                <a:lnTo>
                  <a:pt x="1457" y="235"/>
                </a:lnTo>
                <a:lnTo>
                  <a:pt x="1452" y="228"/>
                </a:lnTo>
                <a:lnTo>
                  <a:pt x="1448" y="220"/>
                </a:lnTo>
                <a:lnTo>
                  <a:pt x="1443" y="213"/>
                </a:lnTo>
                <a:lnTo>
                  <a:pt x="1440" y="205"/>
                </a:lnTo>
                <a:lnTo>
                  <a:pt x="1434" y="187"/>
                </a:lnTo>
                <a:lnTo>
                  <a:pt x="1429" y="167"/>
                </a:lnTo>
                <a:lnTo>
                  <a:pt x="1422" y="136"/>
                </a:lnTo>
                <a:lnTo>
                  <a:pt x="1412" y="134"/>
                </a:lnTo>
                <a:lnTo>
                  <a:pt x="1385" y="127"/>
                </a:lnTo>
                <a:lnTo>
                  <a:pt x="1367" y="124"/>
                </a:lnTo>
                <a:lnTo>
                  <a:pt x="1347" y="121"/>
                </a:lnTo>
                <a:lnTo>
                  <a:pt x="1326" y="119"/>
                </a:lnTo>
                <a:lnTo>
                  <a:pt x="1303" y="118"/>
                </a:lnTo>
                <a:lnTo>
                  <a:pt x="1294" y="119"/>
                </a:lnTo>
                <a:lnTo>
                  <a:pt x="1286" y="120"/>
                </a:lnTo>
                <a:lnTo>
                  <a:pt x="1281" y="123"/>
                </a:lnTo>
                <a:lnTo>
                  <a:pt x="1275" y="126"/>
                </a:lnTo>
                <a:lnTo>
                  <a:pt x="1267" y="134"/>
                </a:lnTo>
                <a:lnTo>
                  <a:pt x="1262" y="142"/>
                </a:lnTo>
                <a:lnTo>
                  <a:pt x="1260" y="147"/>
                </a:lnTo>
                <a:lnTo>
                  <a:pt x="1257" y="151"/>
                </a:lnTo>
                <a:lnTo>
                  <a:pt x="1252" y="156"/>
                </a:lnTo>
                <a:lnTo>
                  <a:pt x="1248" y="159"/>
                </a:lnTo>
                <a:lnTo>
                  <a:pt x="1242" y="162"/>
                </a:lnTo>
                <a:lnTo>
                  <a:pt x="1236" y="165"/>
                </a:lnTo>
                <a:lnTo>
                  <a:pt x="1227" y="166"/>
                </a:lnTo>
                <a:lnTo>
                  <a:pt x="1217" y="167"/>
                </a:lnTo>
                <a:lnTo>
                  <a:pt x="1199" y="167"/>
                </a:lnTo>
                <a:lnTo>
                  <a:pt x="1184" y="167"/>
                </a:lnTo>
                <a:lnTo>
                  <a:pt x="1168" y="167"/>
                </a:lnTo>
                <a:lnTo>
                  <a:pt x="1150" y="167"/>
                </a:lnTo>
                <a:lnTo>
                  <a:pt x="1130" y="167"/>
                </a:lnTo>
                <a:lnTo>
                  <a:pt x="1106" y="167"/>
                </a:lnTo>
                <a:lnTo>
                  <a:pt x="1078" y="167"/>
                </a:lnTo>
                <a:lnTo>
                  <a:pt x="1044" y="167"/>
                </a:lnTo>
                <a:lnTo>
                  <a:pt x="1034" y="164"/>
                </a:lnTo>
                <a:lnTo>
                  <a:pt x="1025" y="160"/>
                </a:lnTo>
                <a:lnTo>
                  <a:pt x="1015" y="156"/>
                </a:lnTo>
                <a:lnTo>
                  <a:pt x="1005" y="151"/>
                </a:lnTo>
                <a:lnTo>
                  <a:pt x="986" y="140"/>
                </a:lnTo>
                <a:lnTo>
                  <a:pt x="967" y="129"/>
                </a:lnTo>
                <a:lnTo>
                  <a:pt x="956" y="123"/>
                </a:lnTo>
                <a:lnTo>
                  <a:pt x="945" y="118"/>
                </a:lnTo>
                <a:lnTo>
                  <a:pt x="934" y="112"/>
                </a:lnTo>
                <a:lnTo>
                  <a:pt x="922" y="108"/>
                </a:lnTo>
                <a:lnTo>
                  <a:pt x="908" y="104"/>
                </a:lnTo>
                <a:lnTo>
                  <a:pt x="895" y="102"/>
                </a:lnTo>
                <a:lnTo>
                  <a:pt x="880" y="100"/>
                </a:lnTo>
                <a:lnTo>
                  <a:pt x="865" y="99"/>
                </a:lnTo>
                <a:lnTo>
                  <a:pt x="852" y="100"/>
                </a:lnTo>
                <a:lnTo>
                  <a:pt x="841" y="102"/>
                </a:lnTo>
                <a:lnTo>
                  <a:pt x="832" y="105"/>
                </a:lnTo>
                <a:lnTo>
                  <a:pt x="822" y="108"/>
                </a:lnTo>
                <a:lnTo>
                  <a:pt x="811" y="112"/>
                </a:lnTo>
                <a:lnTo>
                  <a:pt x="801" y="114"/>
                </a:lnTo>
                <a:lnTo>
                  <a:pt x="790" y="118"/>
                </a:lnTo>
                <a:lnTo>
                  <a:pt x="778" y="118"/>
                </a:lnTo>
                <a:lnTo>
                  <a:pt x="765" y="118"/>
                </a:lnTo>
                <a:lnTo>
                  <a:pt x="753" y="117"/>
                </a:lnTo>
                <a:lnTo>
                  <a:pt x="740" y="116"/>
                </a:lnTo>
                <a:lnTo>
                  <a:pt x="729" y="114"/>
                </a:lnTo>
                <a:lnTo>
                  <a:pt x="720" y="111"/>
                </a:lnTo>
                <a:lnTo>
                  <a:pt x="710" y="108"/>
                </a:lnTo>
                <a:lnTo>
                  <a:pt x="701" y="105"/>
                </a:lnTo>
                <a:lnTo>
                  <a:pt x="692" y="101"/>
                </a:lnTo>
                <a:lnTo>
                  <a:pt x="686" y="96"/>
                </a:lnTo>
                <a:lnTo>
                  <a:pt x="678" y="90"/>
                </a:lnTo>
                <a:lnTo>
                  <a:pt x="672" y="84"/>
                </a:lnTo>
                <a:lnTo>
                  <a:pt x="667" y="76"/>
                </a:lnTo>
                <a:lnTo>
                  <a:pt x="662" y="68"/>
                </a:lnTo>
                <a:lnTo>
                  <a:pt x="658" y="58"/>
                </a:lnTo>
                <a:lnTo>
                  <a:pt x="655" y="49"/>
                </a:lnTo>
                <a:lnTo>
                  <a:pt x="652" y="38"/>
                </a:lnTo>
                <a:lnTo>
                  <a:pt x="459" y="0"/>
                </a:lnTo>
                <a:lnTo>
                  <a:pt x="446" y="7"/>
                </a:lnTo>
                <a:lnTo>
                  <a:pt x="446" y="16"/>
                </a:lnTo>
                <a:lnTo>
                  <a:pt x="446" y="23"/>
                </a:lnTo>
                <a:lnTo>
                  <a:pt x="446" y="30"/>
                </a:lnTo>
                <a:lnTo>
                  <a:pt x="446" y="38"/>
                </a:lnTo>
                <a:lnTo>
                  <a:pt x="446" y="44"/>
                </a:lnTo>
                <a:lnTo>
                  <a:pt x="448" y="50"/>
                </a:lnTo>
                <a:lnTo>
                  <a:pt x="451" y="55"/>
                </a:lnTo>
                <a:lnTo>
                  <a:pt x="454" y="61"/>
                </a:lnTo>
                <a:lnTo>
                  <a:pt x="463" y="71"/>
                </a:lnTo>
                <a:lnTo>
                  <a:pt x="471" y="79"/>
                </a:lnTo>
                <a:lnTo>
                  <a:pt x="476" y="84"/>
                </a:lnTo>
                <a:lnTo>
                  <a:pt x="480" y="89"/>
                </a:lnTo>
                <a:lnTo>
                  <a:pt x="485" y="94"/>
                </a:lnTo>
                <a:lnTo>
                  <a:pt x="488" y="100"/>
                </a:lnTo>
                <a:lnTo>
                  <a:pt x="490" y="106"/>
                </a:lnTo>
                <a:lnTo>
                  <a:pt x="492" y="113"/>
                </a:lnTo>
                <a:lnTo>
                  <a:pt x="493" y="122"/>
                </a:lnTo>
                <a:lnTo>
                  <a:pt x="492" y="130"/>
                </a:lnTo>
                <a:lnTo>
                  <a:pt x="313" y="130"/>
                </a:lnTo>
                <a:lnTo>
                  <a:pt x="307" y="122"/>
                </a:lnTo>
                <a:lnTo>
                  <a:pt x="300" y="113"/>
                </a:lnTo>
                <a:lnTo>
                  <a:pt x="298" y="108"/>
                </a:lnTo>
                <a:lnTo>
                  <a:pt x="296" y="102"/>
                </a:lnTo>
                <a:lnTo>
                  <a:pt x="294" y="95"/>
                </a:lnTo>
                <a:lnTo>
                  <a:pt x="294" y="87"/>
                </a:lnTo>
                <a:lnTo>
                  <a:pt x="279" y="87"/>
                </a:lnTo>
                <a:lnTo>
                  <a:pt x="266" y="87"/>
                </a:lnTo>
                <a:lnTo>
                  <a:pt x="240" y="99"/>
                </a:lnTo>
                <a:lnTo>
                  <a:pt x="233" y="99"/>
                </a:lnTo>
                <a:lnTo>
                  <a:pt x="225" y="97"/>
                </a:lnTo>
                <a:lnTo>
                  <a:pt x="219" y="95"/>
                </a:lnTo>
                <a:lnTo>
                  <a:pt x="211" y="93"/>
                </a:lnTo>
                <a:lnTo>
                  <a:pt x="204" y="91"/>
                </a:lnTo>
                <a:lnTo>
                  <a:pt x="195" y="89"/>
                </a:lnTo>
                <a:lnTo>
                  <a:pt x="185" y="88"/>
                </a:lnTo>
                <a:lnTo>
                  <a:pt x="174" y="87"/>
                </a:lnTo>
                <a:lnTo>
                  <a:pt x="164" y="88"/>
                </a:lnTo>
                <a:lnTo>
                  <a:pt x="155" y="90"/>
                </a:lnTo>
                <a:lnTo>
                  <a:pt x="146" y="93"/>
                </a:lnTo>
                <a:lnTo>
                  <a:pt x="138" y="97"/>
                </a:lnTo>
                <a:lnTo>
                  <a:pt x="122" y="106"/>
                </a:lnTo>
                <a:lnTo>
                  <a:pt x="107" y="118"/>
                </a:lnTo>
                <a:lnTo>
                  <a:pt x="92" y="129"/>
                </a:lnTo>
                <a:lnTo>
                  <a:pt x="76" y="139"/>
                </a:lnTo>
                <a:lnTo>
                  <a:pt x="68" y="143"/>
                </a:lnTo>
                <a:lnTo>
                  <a:pt x="60" y="146"/>
                </a:lnTo>
                <a:lnTo>
                  <a:pt x="50" y="148"/>
                </a:lnTo>
                <a:lnTo>
                  <a:pt x="41" y="149"/>
                </a:lnTo>
                <a:lnTo>
                  <a:pt x="37" y="149"/>
                </a:lnTo>
                <a:lnTo>
                  <a:pt x="31" y="151"/>
                </a:lnTo>
                <a:lnTo>
                  <a:pt x="25" y="153"/>
                </a:lnTo>
                <a:lnTo>
                  <a:pt x="18" y="157"/>
                </a:lnTo>
                <a:lnTo>
                  <a:pt x="11" y="161"/>
                </a:lnTo>
                <a:lnTo>
                  <a:pt x="6" y="166"/>
                </a:lnTo>
                <a:lnTo>
                  <a:pt x="4" y="169"/>
                </a:lnTo>
                <a:lnTo>
                  <a:pt x="3" y="173"/>
                </a:lnTo>
                <a:lnTo>
                  <a:pt x="1" y="177"/>
                </a:lnTo>
                <a:lnTo>
                  <a:pt x="0" y="18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210" name="Freeform 162"/>
          <p:cNvSpPr>
            <a:spLocks/>
          </p:cNvSpPr>
          <p:nvPr>
            <p:custDataLst>
              <p:tags r:id="rId93"/>
            </p:custDataLst>
          </p:nvPr>
        </p:nvSpPr>
        <p:spPr bwMode="auto">
          <a:xfrm>
            <a:off x="2265363" y="2986089"/>
            <a:ext cx="328612" cy="311944"/>
          </a:xfrm>
          <a:custGeom>
            <a:avLst/>
            <a:gdLst/>
            <a:ahLst/>
            <a:cxnLst>
              <a:cxn ang="0">
                <a:pos x="26" y="80"/>
              </a:cxn>
              <a:cxn ang="0">
                <a:pos x="49" y="88"/>
              </a:cxn>
              <a:cxn ang="0">
                <a:pos x="72" y="108"/>
              </a:cxn>
              <a:cxn ang="0">
                <a:pos x="88" y="134"/>
              </a:cxn>
              <a:cxn ang="0">
                <a:pos x="93" y="169"/>
              </a:cxn>
              <a:cxn ang="0">
                <a:pos x="84" y="186"/>
              </a:cxn>
              <a:cxn ang="0">
                <a:pos x="81" y="205"/>
              </a:cxn>
              <a:cxn ang="0">
                <a:pos x="88" y="240"/>
              </a:cxn>
              <a:cxn ang="0">
                <a:pos x="95" y="278"/>
              </a:cxn>
              <a:cxn ang="0">
                <a:pos x="83" y="308"/>
              </a:cxn>
              <a:cxn ang="0">
                <a:pos x="81" y="352"/>
              </a:cxn>
              <a:cxn ang="0">
                <a:pos x="93" y="390"/>
              </a:cxn>
              <a:cxn ang="0">
                <a:pos x="99" y="415"/>
              </a:cxn>
              <a:cxn ang="0">
                <a:pos x="78" y="457"/>
              </a:cxn>
              <a:cxn ang="0">
                <a:pos x="113" y="529"/>
              </a:cxn>
              <a:cxn ang="0">
                <a:pos x="138" y="577"/>
              </a:cxn>
              <a:cxn ang="0">
                <a:pos x="146" y="622"/>
              </a:cxn>
              <a:cxn ang="0">
                <a:pos x="152" y="659"/>
              </a:cxn>
              <a:cxn ang="0">
                <a:pos x="187" y="738"/>
              </a:cxn>
              <a:cxn ang="0">
                <a:pos x="214" y="782"/>
              </a:cxn>
              <a:cxn ang="0">
                <a:pos x="230" y="794"/>
              </a:cxn>
              <a:cxn ang="0">
                <a:pos x="251" y="790"/>
              </a:cxn>
              <a:cxn ang="0">
                <a:pos x="289" y="761"/>
              </a:cxn>
              <a:cxn ang="0">
                <a:pos x="324" y="746"/>
              </a:cxn>
              <a:cxn ang="0">
                <a:pos x="355" y="748"/>
              </a:cxn>
              <a:cxn ang="0">
                <a:pos x="388" y="770"/>
              </a:cxn>
              <a:cxn ang="0">
                <a:pos x="418" y="780"/>
              </a:cxn>
              <a:cxn ang="0">
                <a:pos x="437" y="758"/>
              </a:cxn>
              <a:cxn ang="0">
                <a:pos x="478" y="745"/>
              </a:cxn>
              <a:cxn ang="0">
                <a:pos x="525" y="622"/>
              </a:cxn>
              <a:cxn ang="0">
                <a:pos x="539" y="600"/>
              </a:cxn>
              <a:cxn ang="0">
                <a:pos x="575" y="584"/>
              </a:cxn>
              <a:cxn ang="0">
                <a:pos x="665" y="573"/>
              </a:cxn>
              <a:cxn ang="0">
                <a:pos x="687" y="579"/>
              </a:cxn>
              <a:cxn ang="0">
                <a:pos x="704" y="585"/>
              </a:cxn>
              <a:cxn ang="0">
                <a:pos x="744" y="573"/>
              </a:cxn>
              <a:cxn ang="0">
                <a:pos x="757" y="541"/>
              </a:cxn>
              <a:cxn ang="0">
                <a:pos x="752" y="499"/>
              </a:cxn>
              <a:cxn ang="0">
                <a:pos x="726" y="462"/>
              </a:cxn>
              <a:cxn ang="0">
                <a:pos x="710" y="435"/>
              </a:cxn>
              <a:cxn ang="0">
                <a:pos x="671" y="401"/>
              </a:cxn>
              <a:cxn ang="0">
                <a:pos x="633" y="399"/>
              </a:cxn>
              <a:cxn ang="0">
                <a:pos x="605" y="378"/>
              </a:cxn>
              <a:cxn ang="0">
                <a:pos x="590" y="349"/>
              </a:cxn>
              <a:cxn ang="0">
                <a:pos x="585" y="311"/>
              </a:cxn>
              <a:cxn ang="0">
                <a:pos x="583" y="269"/>
              </a:cxn>
              <a:cxn ang="0">
                <a:pos x="560" y="242"/>
              </a:cxn>
              <a:cxn ang="0">
                <a:pos x="503" y="205"/>
              </a:cxn>
              <a:cxn ang="0">
                <a:pos x="440" y="178"/>
              </a:cxn>
              <a:cxn ang="0">
                <a:pos x="392" y="167"/>
              </a:cxn>
              <a:cxn ang="0">
                <a:pos x="359" y="161"/>
              </a:cxn>
              <a:cxn ang="0">
                <a:pos x="330" y="145"/>
              </a:cxn>
              <a:cxn ang="0">
                <a:pos x="307" y="122"/>
              </a:cxn>
              <a:cxn ang="0">
                <a:pos x="292" y="92"/>
              </a:cxn>
              <a:cxn ang="0">
                <a:pos x="279" y="19"/>
              </a:cxn>
              <a:cxn ang="0">
                <a:pos x="261" y="3"/>
              </a:cxn>
              <a:cxn ang="0">
                <a:pos x="227" y="3"/>
              </a:cxn>
              <a:cxn ang="0">
                <a:pos x="173" y="30"/>
              </a:cxn>
              <a:cxn ang="0">
                <a:pos x="119" y="66"/>
              </a:cxn>
              <a:cxn ang="0">
                <a:pos x="0" y="80"/>
              </a:cxn>
            </a:cxnLst>
            <a:rect l="0" t="0" r="r" b="b"/>
            <a:pathLst>
              <a:path w="758" h="795">
                <a:moveTo>
                  <a:pt x="0" y="80"/>
                </a:moveTo>
                <a:lnTo>
                  <a:pt x="10" y="80"/>
                </a:lnTo>
                <a:lnTo>
                  <a:pt x="20" y="80"/>
                </a:lnTo>
                <a:lnTo>
                  <a:pt x="26" y="80"/>
                </a:lnTo>
                <a:lnTo>
                  <a:pt x="31" y="81"/>
                </a:lnTo>
                <a:lnTo>
                  <a:pt x="37" y="83"/>
                </a:lnTo>
                <a:lnTo>
                  <a:pt x="43" y="85"/>
                </a:lnTo>
                <a:lnTo>
                  <a:pt x="49" y="88"/>
                </a:lnTo>
                <a:lnTo>
                  <a:pt x="55" y="92"/>
                </a:lnTo>
                <a:lnTo>
                  <a:pt x="61" y="97"/>
                </a:lnTo>
                <a:lnTo>
                  <a:pt x="66" y="102"/>
                </a:lnTo>
                <a:lnTo>
                  <a:pt x="72" y="108"/>
                </a:lnTo>
                <a:lnTo>
                  <a:pt x="77" y="113"/>
                </a:lnTo>
                <a:lnTo>
                  <a:pt x="82" y="120"/>
                </a:lnTo>
                <a:lnTo>
                  <a:pt x="86" y="127"/>
                </a:lnTo>
                <a:lnTo>
                  <a:pt x="88" y="134"/>
                </a:lnTo>
                <a:lnTo>
                  <a:pt x="92" y="142"/>
                </a:lnTo>
                <a:lnTo>
                  <a:pt x="93" y="152"/>
                </a:lnTo>
                <a:lnTo>
                  <a:pt x="94" y="161"/>
                </a:lnTo>
                <a:lnTo>
                  <a:pt x="93" y="169"/>
                </a:lnTo>
                <a:lnTo>
                  <a:pt x="92" y="175"/>
                </a:lnTo>
                <a:lnTo>
                  <a:pt x="89" y="180"/>
                </a:lnTo>
                <a:lnTo>
                  <a:pt x="87" y="183"/>
                </a:lnTo>
                <a:lnTo>
                  <a:pt x="84" y="186"/>
                </a:lnTo>
                <a:lnTo>
                  <a:pt x="82" y="190"/>
                </a:lnTo>
                <a:lnTo>
                  <a:pt x="81" y="193"/>
                </a:lnTo>
                <a:lnTo>
                  <a:pt x="81" y="197"/>
                </a:lnTo>
                <a:lnTo>
                  <a:pt x="81" y="205"/>
                </a:lnTo>
                <a:lnTo>
                  <a:pt x="82" y="214"/>
                </a:lnTo>
                <a:lnTo>
                  <a:pt x="83" y="221"/>
                </a:lnTo>
                <a:lnTo>
                  <a:pt x="84" y="227"/>
                </a:lnTo>
                <a:lnTo>
                  <a:pt x="88" y="240"/>
                </a:lnTo>
                <a:lnTo>
                  <a:pt x="94" y="252"/>
                </a:lnTo>
                <a:lnTo>
                  <a:pt x="97" y="262"/>
                </a:lnTo>
                <a:lnTo>
                  <a:pt x="100" y="271"/>
                </a:lnTo>
                <a:lnTo>
                  <a:pt x="95" y="278"/>
                </a:lnTo>
                <a:lnTo>
                  <a:pt x="92" y="285"/>
                </a:lnTo>
                <a:lnTo>
                  <a:pt x="88" y="293"/>
                </a:lnTo>
                <a:lnTo>
                  <a:pt x="85" y="300"/>
                </a:lnTo>
                <a:lnTo>
                  <a:pt x="83" y="308"/>
                </a:lnTo>
                <a:lnTo>
                  <a:pt x="82" y="318"/>
                </a:lnTo>
                <a:lnTo>
                  <a:pt x="81" y="328"/>
                </a:lnTo>
                <a:lnTo>
                  <a:pt x="81" y="339"/>
                </a:lnTo>
                <a:lnTo>
                  <a:pt x="81" y="352"/>
                </a:lnTo>
                <a:lnTo>
                  <a:pt x="83" y="363"/>
                </a:lnTo>
                <a:lnTo>
                  <a:pt x="85" y="374"/>
                </a:lnTo>
                <a:lnTo>
                  <a:pt x="88" y="382"/>
                </a:lnTo>
                <a:lnTo>
                  <a:pt x="93" y="390"/>
                </a:lnTo>
                <a:lnTo>
                  <a:pt x="97" y="396"/>
                </a:lnTo>
                <a:lnTo>
                  <a:pt x="101" y="402"/>
                </a:lnTo>
                <a:lnTo>
                  <a:pt x="107" y="407"/>
                </a:lnTo>
                <a:lnTo>
                  <a:pt x="99" y="415"/>
                </a:lnTo>
                <a:lnTo>
                  <a:pt x="94" y="424"/>
                </a:lnTo>
                <a:lnTo>
                  <a:pt x="89" y="433"/>
                </a:lnTo>
                <a:lnTo>
                  <a:pt x="85" y="441"/>
                </a:lnTo>
                <a:lnTo>
                  <a:pt x="78" y="457"/>
                </a:lnTo>
                <a:lnTo>
                  <a:pt x="73" y="474"/>
                </a:lnTo>
                <a:lnTo>
                  <a:pt x="88" y="493"/>
                </a:lnTo>
                <a:lnTo>
                  <a:pt x="101" y="511"/>
                </a:lnTo>
                <a:lnTo>
                  <a:pt x="113" y="529"/>
                </a:lnTo>
                <a:lnTo>
                  <a:pt x="124" y="548"/>
                </a:lnTo>
                <a:lnTo>
                  <a:pt x="130" y="558"/>
                </a:lnTo>
                <a:lnTo>
                  <a:pt x="134" y="567"/>
                </a:lnTo>
                <a:lnTo>
                  <a:pt x="138" y="577"/>
                </a:lnTo>
                <a:lnTo>
                  <a:pt x="141" y="588"/>
                </a:lnTo>
                <a:lnTo>
                  <a:pt x="143" y="599"/>
                </a:lnTo>
                <a:lnTo>
                  <a:pt x="145" y="611"/>
                </a:lnTo>
                <a:lnTo>
                  <a:pt x="146" y="622"/>
                </a:lnTo>
                <a:lnTo>
                  <a:pt x="146" y="634"/>
                </a:lnTo>
                <a:lnTo>
                  <a:pt x="148" y="640"/>
                </a:lnTo>
                <a:lnTo>
                  <a:pt x="149" y="648"/>
                </a:lnTo>
                <a:lnTo>
                  <a:pt x="152" y="659"/>
                </a:lnTo>
                <a:lnTo>
                  <a:pt x="156" y="670"/>
                </a:lnTo>
                <a:lnTo>
                  <a:pt x="166" y="696"/>
                </a:lnTo>
                <a:lnTo>
                  <a:pt x="179" y="724"/>
                </a:lnTo>
                <a:lnTo>
                  <a:pt x="187" y="738"/>
                </a:lnTo>
                <a:lnTo>
                  <a:pt x="194" y="750"/>
                </a:lnTo>
                <a:lnTo>
                  <a:pt x="201" y="763"/>
                </a:lnTo>
                <a:lnTo>
                  <a:pt x="208" y="774"/>
                </a:lnTo>
                <a:lnTo>
                  <a:pt x="214" y="782"/>
                </a:lnTo>
                <a:lnTo>
                  <a:pt x="221" y="789"/>
                </a:lnTo>
                <a:lnTo>
                  <a:pt x="224" y="792"/>
                </a:lnTo>
                <a:lnTo>
                  <a:pt x="228" y="793"/>
                </a:lnTo>
                <a:lnTo>
                  <a:pt x="230" y="794"/>
                </a:lnTo>
                <a:lnTo>
                  <a:pt x="233" y="795"/>
                </a:lnTo>
                <a:lnTo>
                  <a:pt x="239" y="794"/>
                </a:lnTo>
                <a:lnTo>
                  <a:pt x="244" y="793"/>
                </a:lnTo>
                <a:lnTo>
                  <a:pt x="251" y="790"/>
                </a:lnTo>
                <a:lnTo>
                  <a:pt x="256" y="787"/>
                </a:lnTo>
                <a:lnTo>
                  <a:pt x="266" y="780"/>
                </a:lnTo>
                <a:lnTo>
                  <a:pt x="278" y="771"/>
                </a:lnTo>
                <a:lnTo>
                  <a:pt x="289" y="761"/>
                </a:lnTo>
                <a:lnTo>
                  <a:pt x="302" y="753"/>
                </a:lnTo>
                <a:lnTo>
                  <a:pt x="309" y="750"/>
                </a:lnTo>
                <a:lnTo>
                  <a:pt x="317" y="747"/>
                </a:lnTo>
                <a:lnTo>
                  <a:pt x="324" y="746"/>
                </a:lnTo>
                <a:lnTo>
                  <a:pt x="332" y="745"/>
                </a:lnTo>
                <a:lnTo>
                  <a:pt x="341" y="746"/>
                </a:lnTo>
                <a:lnTo>
                  <a:pt x="348" y="747"/>
                </a:lnTo>
                <a:lnTo>
                  <a:pt x="355" y="748"/>
                </a:lnTo>
                <a:lnTo>
                  <a:pt x="361" y="750"/>
                </a:lnTo>
                <a:lnTo>
                  <a:pt x="371" y="756"/>
                </a:lnTo>
                <a:lnTo>
                  <a:pt x="380" y="763"/>
                </a:lnTo>
                <a:lnTo>
                  <a:pt x="388" y="770"/>
                </a:lnTo>
                <a:lnTo>
                  <a:pt x="395" y="777"/>
                </a:lnTo>
                <a:lnTo>
                  <a:pt x="403" y="783"/>
                </a:lnTo>
                <a:lnTo>
                  <a:pt x="412" y="789"/>
                </a:lnTo>
                <a:lnTo>
                  <a:pt x="418" y="780"/>
                </a:lnTo>
                <a:lnTo>
                  <a:pt x="422" y="773"/>
                </a:lnTo>
                <a:lnTo>
                  <a:pt x="427" y="767"/>
                </a:lnTo>
                <a:lnTo>
                  <a:pt x="432" y="761"/>
                </a:lnTo>
                <a:lnTo>
                  <a:pt x="437" y="758"/>
                </a:lnTo>
                <a:lnTo>
                  <a:pt x="443" y="754"/>
                </a:lnTo>
                <a:lnTo>
                  <a:pt x="448" y="752"/>
                </a:lnTo>
                <a:lnTo>
                  <a:pt x="454" y="750"/>
                </a:lnTo>
                <a:lnTo>
                  <a:pt x="478" y="745"/>
                </a:lnTo>
                <a:lnTo>
                  <a:pt x="505" y="739"/>
                </a:lnTo>
                <a:lnTo>
                  <a:pt x="525" y="647"/>
                </a:lnTo>
                <a:lnTo>
                  <a:pt x="525" y="637"/>
                </a:lnTo>
                <a:lnTo>
                  <a:pt x="525" y="622"/>
                </a:lnTo>
                <a:lnTo>
                  <a:pt x="526" y="616"/>
                </a:lnTo>
                <a:lnTo>
                  <a:pt x="529" y="610"/>
                </a:lnTo>
                <a:lnTo>
                  <a:pt x="533" y="604"/>
                </a:lnTo>
                <a:lnTo>
                  <a:pt x="539" y="600"/>
                </a:lnTo>
                <a:lnTo>
                  <a:pt x="547" y="594"/>
                </a:lnTo>
                <a:lnTo>
                  <a:pt x="555" y="590"/>
                </a:lnTo>
                <a:lnTo>
                  <a:pt x="565" y="587"/>
                </a:lnTo>
                <a:lnTo>
                  <a:pt x="575" y="584"/>
                </a:lnTo>
                <a:lnTo>
                  <a:pt x="597" y="579"/>
                </a:lnTo>
                <a:lnTo>
                  <a:pt x="621" y="575"/>
                </a:lnTo>
                <a:lnTo>
                  <a:pt x="644" y="574"/>
                </a:lnTo>
                <a:lnTo>
                  <a:pt x="665" y="573"/>
                </a:lnTo>
                <a:lnTo>
                  <a:pt x="671" y="573"/>
                </a:lnTo>
                <a:lnTo>
                  <a:pt x="678" y="575"/>
                </a:lnTo>
                <a:lnTo>
                  <a:pt x="682" y="577"/>
                </a:lnTo>
                <a:lnTo>
                  <a:pt x="687" y="579"/>
                </a:lnTo>
                <a:lnTo>
                  <a:pt x="691" y="581"/>
                </a:lnTo>
                <a:lnTo>
                  <a:pt x="695" y="583"/>
                </a:lnTo>
                <a:lnTo>
                  <a:pt x="700" y="585"/>
                </a:lnTo>
                <a:lnTo>
                  <a:pt x="704" y="585"/>
                </a:lnTo>
                <a:lnTo>
                  <a:pt x="738" y="598"/>
                </a:lnTo>
                <a:lnTo>
                  <a:pt x="738" y="589"/>
                </a:lnTo>
                <a:lnTo>
                  <a:pt x="740" y="581"/>
                </a:lnTo>
                <a:lnTo>
                  <a:pt x="744" y="573"/>
                </a:lnTo>
                <a:lnTo>
                  <a:pt x="748" y="566"/>
                </a:lnTo>
                <a:lnTo>
                  <a:pt x="751" y="559"/>
                </a:lnTo>
                <a:lnTo>
                  <a:pt x="755" y="550"/>
                </a:lnTo>
                <a:lnTo>
                  <a:pt x="757" y="541"/>
                </a:lnTo>
                <a:lnTo>
                  <a:pt x="758" y="530"/>
                </a:lnTo>
                <a:lnTo>
                  <a:pt x="757" y="518"/>
                </a:lnTo>
                <a:lnTo>
                  <a:pt x="756" y="508"/>
                </a:lnTo>
                <a:lnTo>
                  <a:pt x="752" y="499"/>
                </a:lnTo>
                <a:lnTo>
                  <a:pt x="749" y="492"/>
                </a:lnTo>
                <a:lnTo>
                  <a:pt x="740" y="478"/>
                </a:lnTo>
                <a:lnTo>
                  <a:pt x="731" y="467"/>
                </a:lnTo>
                <a:lnTo>
                  <a:pt x="726" y="462"/>
                </a:lnTo>
                <a:lnTo>
                  <a:pt x="722" y="456"/>
                </a:lnTo>
                <a:lnTo>
                  <a:pt x="716" y="450"/>
                </a:lnTo>
                <a:lnTo>
                  <a:pt x="713" y="443"/>
                </a:lnTo>
                <a:lnTo>
                  <a:pt x="710" y="435"/>
                </a:lnTo>
                <a:lnTo>
                  <a:pt x="706" y="424"/>
                </a:lnTo>
                <a:lnTo>
                  <a:pt x="705" y="413"/>
                </a:lnTo>
                <a:lnTo>
                  <a:pt x="704" y="401"/>
                </a:lnTo>
                <a:lnTo>
                  <a:pt x="671" y="401"/>
                </a:lnTo>
                <a:lnTo>
                  <a:pt x="660" y="403"/>
                </a:lnTo>
                <a:lnTo>
                  <a:pt x="650" y="403"/>
                </a:lnTo>
                <a:lnTo>
                  <a:pt x="641" y="402"/>
                </a:lnTo>
                <a:lnTo>
                  <a:pt x="633" y="399"/>
                </a:lnTo>
                <a:lnTo>
                  <a:pt x="625" y="395"/>
                </a:lnTo>
                <a:lnTo>
                  <a:pt x="617" y="390"/>
                </a:lnTo>
                <a:lnTo>
                  <a:pt x="611" y="384"/>
                </a:lnTo>
                <a:lnTo>
                  <a:pt x="605" y="378"/>
                </a:lnTo>
                <a:lnTo>
                  <a:pt x="601" y="370"/>
                </a:lnTo>
                <a:lnTo>
                  <a:pt x="597" y="363"/>
                </a:lnTo>
                <a:lnTo>
                  <a:pt x="593" y="356"/>
                </a:lnTo>
                <a:lnTo>
                  <a:pt x="590" y="349"/>
                </a:lnTo>
                <a:lnTo>
                  <a:pt x="586" y="336"/>
                </a:lnTo>
                <a:lnTo>
                  <a:pt x="585" y="327"/>
                </a:lnTo>
                <a:lnTo>
                  <a:pt x="585" y="321"/>
                </a:lnTo>
                <a:lnTo>
                  <a:pt x="585" y="311"/>
                </a:lnTo>
                <a:lnTo>
                  <a:pt x="585" y="297"/>
                </a:lnTo>
                <a:lnTo>
                  <a:pt x="585" y="278"/>
                </a:lnTo>
                <a:lnTo>
                  <a:pt x="585" y="274"/>
                </a:lnTo>
                <a:lnTo>
                  <a:pt x="583" y="269"/>
                </a:lnTo>
                <a:lnTo>
                  <a:pt x="581" y="265"/>
                </a:lnTo>
                <a:lnTo>
                  <a:pt x="578" y="260"/>
                </a:lnTo>
                <a:lnTo>
                  <a:pt x="570" y="251"/>
                </a:lnTo>
                <a:lnTo>
                  <a:pt x="560" y="242"/>
                </a:lnTo>
                <a:lnTo>
                  <a:pt x="548" y="233"/>
                </a:lnTo>
                <a:lnTo>
                  <a:pt x="534" y="223"/>
                </a:lnTo>
                <a:lnTo>
                  <a:pt x="520" y="215"/>
                </a:lnTo>
                <a:lnTo>
                  <a:pt x="503" y="205"/>
                </a:lnTo>
                <a:lnTo>
                  <a:pt x="487" y="197"/>
                </a:lnTo>
                <a:lnTo>
                  <a:pt x="470" y="190"/>
                </a:lnTo>
                <a:lnTo>
                  <a:pt x="455" y="183"/>
                </a:lnTo>
                <a:lnTo>
                  <a:pt x="440" y="178"/>
                </a:lnTo>
                <a:lnTo>
                  <a:pt x="425" y="173"/>
                </a:lnTo>
                <a:lnTo>
                  <a:pt x="412" y="170"/>
                </a:lnTo>
                <a:lnTo>
                  <a:pt x="401" y="167"/>
                </a:lnTo>
                <a:lnTo>
                  <a:pt x="392" y="167"/>
                </a:lnTo>
                <a:lnTo>
                  <a:pt x="384" y="166"/>
                </a:lnTo>
                <a:lnTo>
                  <a:pt x="375" y="165"/>
                </a:lnTo>
                <a:lnTo>
                  <a:pt x="367" y="164"/>
                </a:lnTo>
                <a:lnTo>
                  <a:pt x="359" y="161"/>
                </a:lnTo>
                <a:lnTo>
                  <a:pt x="351" y="158"/>
                </a:lnTo>
                <a:lnTo>
                  <a:pt x="344" y="155"/>
                </a:lnTo>
                <a:lnTo>
                  <a:pt x="336" y="151"/>
                </a:lnTo>
                <a:lnTo>
                  <a:pt x="330" y="145"/>
                </a:lnTo>
                <a:lnTo>
                  <a:pt x="323" y="140"/>
                </a:lnTo>
                <a:lnTo>
                  <a:pt x="318" y="135"/>
                </a:lnTo>
                <a:lnTo>
                  <a:pt x="312" y="129"/>
                </a:lnTo>
                <a:lnTo>
                  <a:pt x="307" y="122"/>
                </a:lnTo>
                <a:lnTo>
                  <a:pt x="302" y="115"/>
                </a:lnTo>
                <a:lnTo>
                  <a:pt x="299" y="108"/>
                </a:lnTo>
                <a:lnTo>
                  <a:pt x="296" y="101"/>
                </a:lnTo>
                <a:lnTo>
                  <a:pt x="292" y="92"/>
                </a:lnTo>
                <a:lnTo>
                  <a:pt x="289" y="63"/>
                </a:lnTo>
                <a:lnTo>
                  <a:pt x="285" y="32"/>
                </a:lnTo>
                <a:lnTo>
                  <a:pt x="283" y="25"/>
                </a:lnTo>
                <a:lnTo>
                  <a:pt x="279" y="19"/>
                </a:lnTo>
                <a:lnTo>
                  <a:pt x="276" y="14"/>
                </a:lnTo>
                <a:lnTo>
                  <a:pt x="272" y="9"/>
                </a:lnTo>
                <a:lnTo>
                  <a:pt x="267" y="6"/>
                </a:lnTo>
                <a:lnTo>
                  <a:pt x="261" y="3"/>
                </a:lnTo>
                <a:lnTo>
                  <a:pt x="254" y="1"/>
                </a:lnTo>
                <a:lnTo>
                  <a:pt x="246" y="0"/>
                </a:lnTo>
                <a:lnTo>
                  <a:pt x="236" y="1"/>
                </a:lnTo>
                <a:lnTo>
                  <a:pt x="227" y="3"/>
                </a:lnTo>
                <a:lnTo>
                  <a:pt x="218" y="5"/>
                </a:lnTo>
                <a:lnTo>
                  <a:pt x="208" y="9"/>
                </a:lnTo>
                <a:lnTo>
                  <a:pt x="190" y="18"/>
                </a:lnTo>
                <a:lnTo>
                  <a:pt x="173" y="30"/>
                </a:lnTo>
                <a:lnTo>
                  <a:pt x="155" y="43"/>
                </a:lnTo>
                <a:lnTo>
                  <a:pt x="138" y="55"/>
                </a:lnTo>
                <a:lnTo>
                  <a:pt x="129" y="60"/>
                </a:lnTo>
                <a:lnTo>
                  <a:pt x="119" y="66"/>
                </a:lnTo>
                <a:lnTo>
                  <a:pt x="110" y="70"/>
                </a:lnTo>
                <a:lnTo>
                  <a:pt x="100" y="74"/>
                </a:lnTo>
                <a:lnTo>
                  <a:pt x="20" y="80"/>
                </a:lnTo>
                <a:lnTo>
                  <a:pt x="0" y="8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211" name="Freeform 163"/>
          <p:cNvSpPr>
            <a:spLocks/>
          </p:cNvSpPr>
          <p:nvPr>
            <p:custDataLst>
              <p:tags r:id="rId94"/>
            </p:custDataLst>
          </p:nvPr>
        </p:nvSpPr>
        <p:spPr bwMode="auto">
          <a:xfrm>
            <a:off x="2479682" y="2558653"/>
            <a:ext cx="119063" cy="161925"/>
          </a:xfrm>
          <a:custGeom>
            <a:avLst/>
            <a:gdLst/>
            <a:ahLst/>
            <a:cxnLst>
              <a:cxn ang="0">
                <a:pos x="225" y="140"/>
              </a:cxn>
              <a:cxn ang="0">
                <a:pos x="213" y="133"/>
              </a:cxn>
              <a:cxn ang="0">
                <a:pos x="201" y="121"/>
              </a:cxn>
              <a:cxn ang="0">
                <a:pos x="190" y="105"/>
              </a:cxn>
              <a:cxn ang="0">
                <a:pos x="183" y="96"/>
              </a:cxn>
              <a:cxn ang="0">
                <a:pos x="176" y="93"/>
              </a:cxn>
              <a:cxn ang="0">
                <a:pos x="167" y="94"/>
              </a:cxn>
              <a:cxn ang="0">
                <a:pos x="161" y="101"/>
              </a:cxn>
              <a:cxn ang="0">
                <a:pos x="153" y="86"/>
              </a:cxn>
              <a:cxn ang="0">
                <a:pos x="142" y="54"/>
              </a:cxn>
              <a:cxn ang="0">
                <a:pos x="132" y="36"/>
              </a:cxn>
              <a:cxn ang="0">
                <a:pos x="123" y="25"/>
              </a:cxn>
              <a:cxn ang="0">
                <a:pos x="111" y="14"/>
              </a:cxn>
              <a:cxn ang="0">
                <a:pos x="96" y="5"/>
              </a:cxn>
              <a:cxn ang="0">
                <a:pos x="80" y="7"/>
              </a:cxn>
              <a:cxn ang="0">
                <a:pos x="69" y="19"/>
              </a:cxn>
              <a:cxn ang="0">
                <a:pos x="63" y="25"/>
              </a:cxn>
              <a:cxn ang="0">
                <a:pos x="57" y="32"/>
              </a:cxn>
              <a:cxn ang="0">
                <a:pos x="56" y="42"/>
              </a:cxn>
              <a:cxn ang="0">
                <a:pos x="58" y="59"/>
              </a:cxn>
              <a:cxn ang="0">
                <a:pos x="52" y="78"/>
              </a:cxn>
              <a:cxn ang="0">
                <a:pos x="33" y="90"/>
              </a:cxn>
              <a:cxn ang="0">
                <a:pos x="17" y="104"/>
              </a:cxn>
              <a:cxn ang="0">
                <a:pos x="4" y="118"/>
              </a:cxn>
              <a:cxn ang="0">
                <a:pos x="40" y="198"/>
              </a:cxn>
              <a:cxn ang="0">
                <a:pos x="73" y="205"/>
              </a:cxn>
              <a:cxn ang="0">
                <a:pos x="84" y="210"/>
              </a:cxn>
              <a:cxn ang="0">
                <a:pos x="93" y="218"/>
              </a:cxn>
              <a:cxn ang="0">
                <a:pos x="99" y="226"/>
              </a:cxn>
              <a:cxn ang="0">
                <a:pos x="103" y="237"/>
              </a:cxn>
              <a:cxn ang="0">
                <a:pos x="106" y="265"/>
              </a:cxn>
              <a:cxn ang="0">
                <a:pos x="103" y="279"/>
              </a:cxn>
              <a:cxn ang="0">
                <a:pos x="96" y="293"/>
              </a:cxn>
              <a:cxn ang="0">
                <a:pos x="89" y="307"/>
              </a:cxn>
              <a:cxn ang="0">
                <a:pos x="86" y="321"/>
              </a:cxn>
              <a:cxn ang="0">
                <a:pos x="91" y="343"/>
              </a:cxn>
              <a:cxn ang="0">
                <a:pos x="107" y="374"/>
              </a:cxn>
              <a:cxn ang="0">
                <a:pos x="117" y="389"/>
              </a:cxn>
              <a:cxn ang="0">
                <a:pos x="129" y="401"/>
              </a:cxn>
              <a:cxn ang="0">
                <a:pos x="141" y="411"/>
              </a:cxn>
              <a:cxn ang="0">
                <a:pos x="153" y="414"/>
              </a:cxn>
              <a:cxn ang="0">
                <a:pos x="215" y="398"/>
              </a:cxn>
              <a:cxn ang="0">
                <a:pos x="255" y="385"/>
              </a:cxn>
              <a:cxn ang="0">
                <a:pos x="267" y="377"/>
              </a:cxn>
              <a:cxn ang="0">
                <a:pos x="273" y="370"/>
              </a:cxn>
              <a:cxn ang="0">
                <a:pos x="269" y="352"/>
              </a:cxn>
              <a:cxn ang="0">
                <a:pos x="263" y="335"/>
              </a:cxn>
              <a:cxn ang="0">
                <a:pos x="242" y="309"/>
              </a:cxn>
              <a:cxn ang="0">
                <a:pos x="222" y="282"/>
              </a:cxn>
              <a:cxn ang="0">
                <a:pos x="215" y="266"/>
              </a:cxn>
              <a:cxn ang="0">
                <a:pos x="212" y="247"/>
              </a:cxn>
              <a:cxn ang="0">
                <a:pos x="215" y="215"/>
              </a:cxn>
              <a:cxn ang="0">
                <a:pos x="222" y="190"/>
              </a:cxn>
              <a:cxn ang="0">
                <a:pos x="230" y="167"/>
              </a:cxn>
              <a:cxn ang="0">
                <a:pos x="232" y="142"/>
              </a:cxn>
            </a:cxnLst>
            <a:rect l="0" t="0" r="r" b="b"/>
            <a:pathLst>
              <a:path w="273" h="414">
                <a:moveTo>
                  <a:pt x="232" y="142"/>
                </a:moveTo>
                <a:lnTo>
                  <a:pt x="225" y="140"/>
                </a:lnTo>
                <a:lnTo>
                  <a:pt x="219" y="137"/>
                </a:lnTo>
                <a:lnTo>
                  <a:pt x="213" y="133"/>
                </a:lnTo>
                <a:lnTo>
                  <a:pt x="209" y="130"/>
                </a:lnTo>
                <a:lnTo>
                  <a:pt x="201" y="121"/>
                </a:lnTo>
                <a:lnTo>
                  <a:pt x="195" y="113"/>
                </a:lnTo>
                <a:lnTo>
                  <a:pt x="190" y="105"/>
                </a:lnTo>
                <a:lnTo>
                  <a:pt x="185" y="99"/>
                </a:lnTo>
                <a:lnTo>
                  <a:pt x="183" y="96"/>
                </a:lnTo>
                <a:lnTo>
                  <a:pt x="179" y="95"/>
                </a:lnTo>
                <a:lnTo>
                  <a:pt x="176" y="93"/>
                </a:lnTo>
                <a:lnTo>
                  <a:pt x="173" y="93"/>
                </a:lnTo>
                <a:lnTo>
                  <a:pt x="167" y="94"/>
                </a:lnTo>
                <a:lnTo>
                  <a:pt x="164" y="97"/>
                </a:lnTo>
                <a:lnTo>
                  <a:pt x="161" y="101"/>
                </a:lnTo>
                <a:lnTo>
                  <a:pt x="159" y="105"/>
                </a:lnTo>
                <a:lnTo>
                  <a:pt x="153" y="86"/>
                </a:lnTo>
                <a:lnTo>
                  <a:pt x="147" y="68"/>
                </a:lnTo>
                <a:lnTo>
                  <a:pt x="142" y="54"/>
                </a:lnTo>
                <a:lnTo>
                  <a:pt x="135" y="41"/>
                </a:lnTo>
                <a:lnTo>
                  <a:pt x="132" y="36"/>
                </a:lnTo>
                <a:lnTo>
                  <a:pt x="128" y="30"/>
                </a:lnTo>
                <a:lnTo>
                  <a:pt x="123" y="25"/>
                </a:lnTo>
                <a:lnTo>
                  <a:pt x="118" y="20"/>
                </a:lnTo>
                <a:lnTo>
                  <a:pt x="111" y="14"/>
                </a:lnTo>
                <a:lnTo>
                  <a:pt x="103" y="9"/>
                </a:lnTo>
                <a:lnTo>
                  <a:pt x="96" y="5"/>
                </a:lnTo>
                <a:lnTo>
                  <a:pt x="86" y="0"/>
                </a:lnTo>
                <a:lnTo>
                  <a:pt x="80" y="7"/>
                </a:lnTo>
                <a:lnTo>
                  <a:pt x="73" y="15"/>
                </a:lnTo>
                <a:lnTo>
                  <a:pt x="69" y="19"/>
                </a:lnTo>
                <a:lnTo>
                  <a:pt x="66" y="23"/>
                </a:lnTo>
                <a:lnTo>
                  <a:pt x="63" y="25"/>
                </a:lnTo>
                <a:lnTo>
                  <a:pt x="60" y="25"/>
                </a:lnTo>
                <a:lnTo>
                  <a:pt x="57" y="32"/>
                </a:lnTo>
                <a:lnTo>
                  <a:pt x="57" y="37"/>
                </a:lnTo>
                <a:lnTo>
                  <a:pt x="56" y="42"/>
                </a:lnTo>
                <a:lnTo>
                  <a:pt x="57" y="47"/>
                </a:lnTo>
                <a:lnTo>
                  <a:pt x="58" y="59"/>
                </a:lnTo>
                <a:lnTo>
                  <a:pt x="60" y="75"/>
                </a:lnTo>
                <a:lnTo>
                  <a:pt x="52" y="78"/>
                </a:lnTo>
                <a:lnTo>
                  <a:pt x="43" y="83"/>
                </a:lnTo>
                <a:lnTo>
                  <a:pt x="33" y="90"/>
                </a:lnTo>
                <a:lnTo>
                  <a:pt x="24" y="97"/>
                </a:lnTo>
                <a:lnTo>
                  <a:pt x="17" y="104"/>
                </a:lnTo>
                <a:lnTo>
                  <a:pt x="9" y="111"/>
                </a:lnTo>
                <a:lnTo>
                  <a:pt x="4" y="118"/>
                </a:lnTo>
                <a:lnTo>
                  <a:pt x="0" y="123"/>
                </a:lnTo>
                <a:lnTo>
                  <a:pt x="40" y="198"/>
                </a:lnTo>
                <a:lnTo>
                  <a:pt x="57" y="201"/>
                </a:lnTo>
                <a:lnTo>
                  <a:pt x="73" y="205"/>
                </a:lnTo>
                <a:lnTo>
                  <a:pt x="78" y="207"/>
                </a:lnTo>
                <a:lnTo>
                  <a:pt x="84" y="210"/>
                </a:lnTo>
                <a:lnTo>
                  <a:pt x="89" y="214"/>
                </a:lnTo>
                <a:lnTo>
                  <a:pt x="93" y="218"/>
                </a:lnTo>
                <a:lnTo>
                  <a:pt x="96" y="222"/>
                </a:lnTo>
                <a:lnTo>
                  <a:pt x="99" y="226"/>
                </a:lnTo>
                <a:lnTo>
                  <a:pt x="101" y="231"/>
                </a:lnTo>
                <a:lnTo>
                  <a:pt x="103" y="237"/>
                </a:lnTo>
                <a:lnTo>
                  <a:pt x="106" y="251"/>
                </a:lnTo>
                <a:lnTo>
                  <a:pt x="106" y="265"/>
                </a:lnTo>
                <a:lnTo>
                  <a:pt x="106" y="272"/>
                </a:lnTo>
                <a:lnTo>
                  <a:pt x="103" y="279"/>
                </a:lnTo>
                <a:lnTo>
                  <a:pt x="100" y="286"/>
                </a:lnTo>
                <a:lnTo>
                  <a:pt x="96" y="293"/>
                </a:lnTo>
                <a:lnTo>
                  <a:pt x="93" y="301"/>
                </a:lnTo>
                <a:lnTo>
                  <a:pt x="89" y="307"/>
                </a:lnTo>
                <a:lnTo>
                  <a:pt x="87" y="314"/>
                </a:lnTo>
                <a:lnTo>
                  <a:pt x="86" y="321"/>
                </a:lnTo>
                <a:lnTo>
                  <a:pt x="88" y="330"/>
                </a:lnTo>
                <a:lnTo>
                  <a:pt x="91" y="343"/>
                </a:lnTo>
                <a:lnTo>
                  <a:pt x="98" y="359"/>
                </a:lnTo>
                <a:lnTo>
                  <a:pt x="107" y="374"/>
                </a:lnTo>
                <a:lnTo>
                  <a:pt x="112" y="382"/>
                </a:lnTo>
                <a:lnTo>
                  <a:pt x="117" y="389"/>
                </a:lnTo>
                <a:lnTo>
                  <a:pt x="122" y="395"/>
                </a:lnTo>
                <a:lnTo>
                  <a:pt x="129" y="401"/>
                </a:lnTo>
                <a:lnTo>
                  <a:pt x="134" y="406"/>
                </a:lnTo>
                <a:lnTo>
                  <a:pt x="141" y="411"/>
                </a:lnTo>
                <a:lnTo>
                  <a:pt x="146" y="413"/>
                </a:lnTo>
                <a:lnTo>
                  <a:pt x="153" y="414"/>
                </a:lnTo>
                <a:lnTo>
                  <a:pt x="174" y="410"/>
                </a:lnTo>
                <a:lnTo>
                  <a:pt x="215" y="398"/>
                </a:lnTo>
                <a:lnTo>
                  <a:pt x="236" y="392"/>
                </a:lnTo>
                <a:lnTo>
                  <a:pt x="255" y="385"/>
                </a:lnTo>
                <a:lnTo>
                  <a:pt x="262" y="381"/>
                </a:lnTo>
                <a:lnTo>
                  <a:pt x="267" y="377"/>
                </a:lnTo>
                <a:lnTo>
                  <a:pt x="271" y="374"/>
                </a:lnTo>
                <a:lnTo>
                  <a:pt x="273" y="370"/>
                </a:lnTo>
                <a:lnTo>
                  <a:pt x="271" y="361"/>
                </a:lnTo>
                <a:lnTo>
                  <a:pt x="269" y="352"/>
                </a:lnTo>
                <a:lnTo>
                  <a:pt x="267" y="343"/>
                </a:lnTo>
                <a:lnTo>
                  <a:pt x="263" y="335"/>
                </a:lnTo>
                <a:lnTo>
                  <a:pt x="253" y="321"/>
                </a:lnTo>
                <a:lnTo>
                  <a:pt x="242" y="309"/>
                </a:lnTo>
                <a:lnTo>
                  <a:pt x="231" y="295"/>
                </a:lnTo>
                <a:lnTo>
                  <a:pt x="222" y="282"/>
                </a:lnTo>
                <a:lnTo>
                  <a:pt x="218" y="274"/>
                </a:lnTo>
                <a:lnTo>
                  <a:pt x="215" y="266"/>
                </a:lnTo>
                <a:lnTo>
                  <a:pt x="213" y="257"/>
                </a:lnTo>
                <a:lnTo>
                  <a:pt x="212" y="247"/>
                </a:lnTo>
                <a:lnTo>
                  <a:pt x="213" y="229"/>
                </a:lnTo>
                <a:lnTo>
                  <a:pt x="215" y="215"/>
                </a:lnTo>
                <a:lnTo>
                  <a:pt x="219" y="202"/>
                </a:lnTo>
                <a:lnTo>
                  <a:pt x="222" y="190"/>
                </a:lnTo>
                <a:lnTo>
                  <a:pt x="226" y="178"/>
                </a:lnTo>
                <a:lnTo>
                  <a:pt x="230" y="167"/>
                </a:lnTo>
                <a:lnTo>
                  <a:pt x="232" y="155"/>
                </a:lnTo>
                <a:lnTo>
                  <a:pt x="232" y="14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grpSp>
        <p:nvGrpSpPr>
          <p:cNvPr id="9" name="Group 164"/>
          <p:cNvGrpSpPr>
            <a:grpSpLocks/>
          </p:cNvGrpSpPr>
          <p:nvPr>
            <p:custDataLst>
              <p:tags r:id="rId95"/>
            </p:custDataLst>
          </p:nvPr>
        </p:nvGrpSpPr>
        <p:grpSpPr bwMode="auto">
          <a:xfrm>
            <a:off x="2193925" y="2434832"/>
            <a:ext cx="323850" cy="301228"/>
            <a:chOff x="1486" y="2412"/>
            <a:chExt cx="244" cy="256"/>
          </a:xfrm>
        </p:grpSpPr>
        <p:sp>
          <p:nvSpPr>
            <p:cNvPr id="2213" name="Freeform 165"/>
            <p:cNvSpPr>
              <a:spLocks/>
            </p:cNvSpPr>
            <p:nvPr/>
          </p:nvSpPr>
          <p:spPr bwMode="auto">
            <a:xfrm>
              <a:off x="1639" y="2457"/>
              <a:ext cx="18" cy="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8"/>
                </a:cxn>
                <a:cxn ang="0">
                  <a:pos x="6" y="20"/>
                </a:cxn>
                <a:cxn ang="0">
                  <a:pos x="10" y="21"/>
                </a:cxn>
                <a:cxn ang="0">
                  <a:pos x="14" y="22"/>
                </a:cxn>
                <a:cxn ang="0">
                  <a:pos x="20" y="22"/>
                </a:cxn>
                <a:cxn ang="0">
                  <a:pos x="23" y="22"/>
                </a:cxn>
                <a:cxn ang="0">
                  <a:pos x="27" y="21"/>
                </a:cxn>
                <a:cxn ang="0">
                  <a:pos x="31" y="20"/>
                </a:cxn>
                <a:cxn ang="0">
                  <a:pos x="33" y="18"/>
                </a:cxn>
                <a:cxn ang="0">
                  <a:pos x="35" y="16"/>
                </a:cxn>
                <a:cxn ang="0">
                  <a:pos x="41" y="12"/>
                </a:cxn>
                <a:cxn ang="0">
                  <a:pos x="47" y="8"/>
                </a:cxn>
                <a:cxn ang="0">
                  <a:pos x="54" y="6"/>
                </a:cxn>
                <a:cxn ang="0">
                  <a:pos x="36" y="5"/>
                </a:cxn>
                <a:cxn ang="0">
                  <a:pos x="20" y="3"/>
                </a:cxn>
                <a:cxn ang="0">
                  <a:pos x="6" y="1"/>
                </a:cxn>
                <a:cxn ang="0">
                  <a:pos x="0" y="0"/>
                </a:cxn>
              </a:cxnLst>
              <a:rect l="0" t="0" r="r" b="b"/>
              <a:pathLst>
                <a:path w="54" h="22">
                  <a:moveTo>
                    <a:pt x="0" y="0"/>
                  </a:moveTo>
                  <a:lnTo>
                    <a:pt x="0" y="18"/>
                  </a:lnTo>
                  <a:lnTo>
                    <a:pt x="6" y="20"/>
                  </a:lnTo>
                  <a:lnTo>
                    <a:pt x="10" y="21"/>
                  </a:lnTo>
                  <a:lnTo>
                    <a:pt x="14" y="22"/>
                  </a:lnTo>
                  <a:lnTo>
                    <a:pt x="20" y="22"/>
                  </a:lnTo>
                  <a:lnTo>
                    <a:pt x="23" y="22"/>
                  </a:lnTo>
                  <a:lnTo>
                    <a:pt x="27" y="21"/>
                  </a:lnTo>
                  <a:lnTo>
                    <a:pt x="31" y="20"/>
                  </a:lnTo>
                  <a:lnTo>
                    <a:pt x="33" y="18"/>
                  </a:lnTo>
                  <a:lnTo>
                    <a:pt x="35" y="16"/>
                  </a:lnTo>
                  <a:lnTo>
                    <a:pt x="41" y="12"/>
                  </a:lnTo>
                  <a:lnTo>
                    <a:pt x="47" y="8"/>
                  </a:lnTo>
                  <a:lnTo>
                    <a:pt x="54" y="6"/>
                  </a:lnTo>
                  <a:lnTo>
                    <a:pt x="36" y="5"/>
                  </a:lnTo>
                  <a:lnTo>
                    <a:pt x="20" y="3"/>
                  </a:lnTo>
                  <a:lnTo>
                    <a:pt x="6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214" name="Freeform 166"/>
            <p:cNvSpPr>
              <a:spLocks/>
            </p:cNvSpPr>
            <p:nvPr/>
          </p:nvSpPr>
          <p:spPr bwMode="auto">
            <a:xfrm>
              <a:off x="1526" y="2412"/>
              <a:ext cx="2" cy="8"/>
            </a:xfrm>
            <a:custGeom>
              <a:avLst/>
              <a:gdLst/>
              <a:ahLst/>
              <a:cxnLst>
                <a:cxn ang="0">
                  <a:pos x="6" y="24"/>
                </a:cxn>
                <a:cxn ang="0">
                  <a:pos x="6" y="0"/>
                </a:cxn>
                <a:cxn ang="0">
                  <a:pos x="4" y="1"/>
                </a:cxn>
                <a:cxn ang="0">
                  <a:pos x="1" y="3"/>
                </a:cxn>
                <a:cxn ang="0">
                  <a:pos x="0" y="7"/>
                </a:cxn>
                <a:cxn ang="0">
                  <a:pos x="0" y="12"/>
                </a:cxn>
                <a:cxn ang="0">
                  <a:pos x="0" y="16"/>
                </a:cxn>
                <a:cxn ang="0">
                  <a:pos x="1" y="20"/>
                </a:cxn>
                <a:cxn ang="0">
                  <a:pos x="4" y="23"/>
                </a:cxn>
                <a:cxn ang="0">
                  <a:pos x="6" y="24"/>
                </a:cxn>
              </a:cxnLst>
              <a:rect l="0" t="0" r="r" b="b"/>
              <a:pathLst>
                <a:path w="6" h="24">
                  <a:moveTo>
                    <a:pt x="6" y="24"/>
                  </a:moveTo>
                  <a:lnTo>
                    <a:pt x="6" y="0"/>
                  </a:lnTo>
                  <a:lnTo>
                    <a:pt x="4" y="1"/>
                  </a:lnTo>
                  <a:lnTo>
                    <a:pt x="1" y="3"/>
                  </a:lnTo>
                  <a:lnTo>
                    <a:pt x="0" y="7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1" y="20"/>
                  </a:lnTo>
                  <a:lnTo>
                    <a:pt x="4" y="23"/>
                  </a:lnTo>
                  <a:lnTo>
                    <a:pt x="6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215" name="Freeform 167"/>
            <p:cNvSpPr>
              <a:spLocks/>
            </p:cNvSpPr>
            <p:nvPr/>
          </p:nvSpPr>
          <p:spPr bwMode="auto">
            <a:xfrm>
              <a:off x="1557" y="2438"/>
              <a:ext cx="8" cy="4"/>
            </a:xfrm>
            <a:custGeom>
              <a:avLst/>
              <a:gdLst/>
              <a:ahLst/>
              <a:cxnLst>
                <a:cxn ang="0">
                  <a:pos x="0" y="12"/>
                </a:cxn>
                <a:cxn ang="0">
                  <a:pos x="27" y="12"/>
                </a:cxn>
                <a:cxn ang="0">
                  <a:pos x="14" y="0"/>
                </a:cxn>
                <a:cxn ang="0">
                  <a:pos x="0" y="12"/>
                </a:cxn>
              </a:cxnLst>
              <a:rect l="0" t="0" r="r" b="b"/>
              <a:pathLst>
                <a:path w="27" h="12">
                  <a:moveTo>
                    <a:pt x="0" y="12"/>
                  </a:moveTo>
                  <a:lnTo>
                    <a:pt x="27" y="12"/>
                  </a:lnTo>
                  <a:lnTo>
                    <a:pt x="14" y="0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216" name="Freeform 168"/>
            <p:cNvSpPr>
              <a:spLocks/>
            </p:cNvSpPr>
            <p:nvPr/>
          </p:nvSpPr>
          <p:spPr bwMode="auto">
            <a:xfrm>
              <a:off x="1486" y="2444"/>
              <a:ext cx="244" cy="224"/>
            </a:xfrm>
            <a:custGeom>
              <a:avLst/>
              <a:gdLst/>
              <a:ahLst/>
              <a:cxnLst>
                <a:cxn ang="0">
                  <a:pos x="9" y="208"/>
                </a:cxn>
                <a:cxn ang="0">
                  <a:pos x="50" y="266"/>
                </a:cxn>
                <a:cxn ang="0">
                  <a:pos x="121" y="294"/>
                </a:cxn>
                <a:cxn ang="0">
                  <a:pos x="166" y="316"/>
                </a:cxn>
                <a:cxn ang="0">
                  <a:pos x="198" y="346"/>
                </a:cxn>
                <a:cxn ang="0">
                  <a:pos x="296" y="379"/>
                </a:cxn>
                <a:cxn ang="0">
                  <a:pos x="286" y="420"/>
                </a:cxn>
                <a:cxn ang="0">
                  <a:pos x="311" y="513"/>
                </a:cxn>
                <a:cxn ang="0">
                  <a:pos x="303" y="535"/>
                </a:cxn>
                <a:cxn ang="0">
                  <a:pos x="302" y="566"/>
                </a:cxn>
                <a:cxn ang="0">
                  <a:pos x="328" y="617"/>
                </a:cxn>
                <a:cxn ang="0">
                  <a:pos x="371" y="659"/>
                </a:cxn>
                <a:cxn ang="0">
                  <a:pos x="415" y="671"/>
                </a:cxn>
                <a:cxn ang="0">
                  <a:pos x="465" y="653"/>
                </a:cxn>
                <a:cxn ang="0">
                  <a:pos x="507" y="619"/>
                </a:cxn>
                <a:cxn ang="0">
                  <a:pos x="524" y="586"/>
                </a:cxn>
                <a:cxn ang="0">
                  <a:pos x="477" y="469"/>
                </a:cxn>
                <a:cxn ang="0">
                  <a:pos x="577" y="500"/>
                </a:cxn>
                <a:cxn ang="0">
                  <a:pos x="600" y="477"/>
                </a:cxn>
                <a:cxn ang="0">
                  <a:pos x="652" y="445"/>
                </a:cxn>
                <a:cxn ang="0">
                  <a:pos x="669" y="441"/>
                </a:cxn>
                <a:cxn ang="0">
                  <a:pos x="685" y="435"/>
                </a:cxn>
                <a:cxn ang="0">
                  <a:pos x="666" y="327"/>
                </a:cxn>
                <a:cxn ang="0">
                  <a:pos x="709" y="294"/>
                </a:cxn>
                <a:cxn ang="0">
                  <a:pos x="714" y="253"/>
                </a:cxn>
                <a:cxn ang="0">
                  <a:pos x="726" y="235"/>
                </a:cxn>
                <a:cxn ang="0">
                  <a:pos x="728" y="213"/>
                </a:cxn>
                <a:cxn ang="0">
                  <a:pos x="700" y="196"/>
                </a:cxn>
                <a:cxn ang="0">
                  <a:pos x="686" y="168"/>
                </a:cxn>
                <a:cxn ang="0">
                  <a:pos x="670" y="145"/>
                </a:cxn>
                <a:cxn ang="0">
                  <a:pos x="639" y="152"/>
                </a:cxn>
                <a:cxn ang="0">
                  <a:pos x="630" y="134"/>
                </a:cxn>
                <a:cxn ang="0">
                  <a:pos x="602" y="115"/>
                </a:cxn>
                <a:cxn ang="0">
                  <a:pos x="584" y="97"/>
                </a:cxn>
                <a:cxn ang="0">
                  <a:pos x="536" y="75"/>
                </a:cxn>
                <a:cxn ang="0">
                  <a:pos x="490" y="87"/>
                </a:cxn>
                <a:cxn ang="0">
                  <a:pos x="472" y="101"/>
                </a:cxn>
                <a:cxn ang="0">
                  <a:pos x="434" y="116"/>
                </a:cxn>
                <a:cxn ang="0">
                  <a:pos x="418" y="104"/>
                </a:cxn>
                <a:cxn ang="0">
                  <a:pos x="393" y="102"/>
                </a:cxn>
                <a:cxn ang="0">
                  <a:pos x="359" y="83"/>
                </a:cxn>
                <a:cxn ang="0">
                  <a:pos x="317" y="85"/>
                </a:cxn>
                <a:cxn ang="0">
                  <a:pos x="291" y="92"/>
                </a:cxn>
                <a:cxn ang="0">
                  <a:pos x="252" y="93"/>
                </a:cxn>
                <a:cxn ang="0">
                  <a:pos x="233" y="52"/>
                </a:cxn>
                <a:cxn ang="0">
                  <a:pos x="179" y="22"/>
                </a:cxn>
                <a:cxn ang="0">
                  <a:pos x="148" y="10"/>
                </a:cxn>
                <a:cxn ang="0">
                  <a:pos x="136" y="46"/>
                </a:cxn>
                <a:cxn ang="0">
                  <a:pos x="119" y="69"/>
                </a:cxn>
                <a:cxn ang="0">
                  <a:pos x="119" y="137"/>
                </a:cxn>
                <a:cxn ang="0">
                  <a:pos x="104" y="194"/>
                </a:cxn>
                <a:cxn ang="0">
                  <a:pos x="87" y="190"/>
                </a:cxn>
                <a:cxn ang="0">
                  <a:pos x="70" y="184"/>
                </a:cxn>
                <a:cxn ang="0">
                  <a:pos x="57" y="169"/>
                </a:cxn>
                <a:cxn ang="0">
                  <a:pos x="52" y="119"/>
                </a:cxn>
                <a:cxn ang="0">
                  <a:pos x="73" y="61"/>
                </a:cxn>
                <a:cxn ang="0">
                  <a:pos x="97" y="15"/>
                </a:cxn>
                <a:cxn ang="0">
                  <a:pos x="52" y="30"/>
                </a:cxn>
                <a:cxn ang="0">
                  <a:pos x="16" y="70"/>
                </a:cxn>
                <a:cxn ang="0">
                  <a:pos x="1" y="120"/>
                </a:cxn>
              </a:cxnLst>
              <a:rect l="0" t="0" r="r" b="b"/>
              <a:pathLst>
                <a:path w="743" h="672">
                  <a:moveTo>
                    <a:pt x="0" y="143"/>
                  </a:moveTo>
                  <a:lnTo>
                    <a:pt x="0" y="160"/>
                  </a:lnTo>
                  <a:lnTo>
                    <a:pt x="2" y="177"/>
                  </a:lnTo>
                  <a:lnTo>
                    <a:pt x="5" y="194"/>
                  </a:lnTo>
                  <a:lnTo>
                    <a:pt x="9" y="208"/>
                  </a:lnTo>
                  <a:lnTo>
                    <a:pt x="15" y="222"/>
                  </a:lnTo>
                  <a:lnTo>
                    <a:pt x="22" y="235"/>
                  </a:lnTo>
                  <a:lnTo>
                    <a:pt x="29" y="246"/>
                  </a:lnTo>
                  <a:lnTo>
                    <a:pt x="39" y="257"/>
                  </a:lnTo>
                  <a:lnTo>
                    <a:pt x="50" y="266"/>
                  </a:lnTo>
                  <a:lnTo>
                    <a:pt x="61" y="274"/>
                  </a:lnTo>
                  <a:lnTo>
                    <a:pt x="74" y="280"/>
                  </a:lnTo>
                  <a:lnTo>
                    <a:pt x="89" y="286"/>
                  </a:lnTo>
                  <a:lnTo>
                    <a:pt x="104" y="291"/>
                  </a:lnTo>
                  <a:lnTo>
                    <a:pt x="121" y="294"/>
                  </a:lnTo>
                  <a:lnTo>
                    <a:pt x="139" y="296"/>
                  </a:lnTo>
                  <a:lnTo>
                    <a:pt x="159" y="297"/>
                  </a:lnTo>
                  <a:lnTo>
                    <a:pt x="160" y="302"/>
                  </a:lnTo>
                  <a:lnTo>
                    <a:pt x="162" y="309"/>
                  </a:lnTo>
                  <a:lnTo>
                    <a:pt x="166" y="316"/>
                  </a:lnTo>
                  <a:lnTo>
                    <a:pt x="171" y="323"/>
                  </a:lnTo>
                  <a:lnTo>
                    <a:pt x="177" y="331"/>
                  </a:lnTo>
                  <a:lnTo>
                    <a:pt x="184" y="337"/>
                  </a:lnTo>
                  <a:lnTo>
                    <a:pt x="191" y="342"/>
                  </a:lnTo>
                  <a:lnTo>
                    <a:pt x="198" y="346"/>
                  </a:lnTo>
                  <a:lnTo>
                    <a:pt x="311" y="346"/>
                  </a:lnTo>
                  <a:lnTo>
                    <a:pt x="308" y="357"/>
                  </a:lnTo>
                  <a:lnTo>
                    <a:pt x="305" y="365"/>
                  </a:lnTo>
                  <a:lnTo>
                    <a:pt x="300" y="372"/>
                  </a:lnTo>
                  <a:lnTo>
                    <a:pt x="296" y="379"/>
                  </a:lnTo>
                  <a:lnTo>
                    <a:pt x="292" y="385"/>
                  </a:lnTo>
                  <a:lnTo>
                    <a:pt x="288" y="391"/>
                  </a:lnTo>
                  <a:lnTo>
                    <a:pt x="286" y="399"/>
                  </a:lnTo>
                  <a:lnTo>
                    <a:pt x="285" y="408"/>
                  </a:lnTo>
                  <a:lnTo>
                    <a:pt x="286" y="420"/>
                  </a:lnTo>
                  <a:lnTo>
                    <a:pt x="289" y="435"/>
                  </a:lnTo>
                  <a:lnTo>
                    <a:pt x="293" y="451"/>
                  </a:lnTo>
                  <a:lnTo>
                    <a:pt x="298" y="467"/>
                  </a:lnTo>
                  <a:lnTo>
                    <a:pt x="307" y="495"/>
                  </a:lnTo>
                  <a:lnTo>
                    <a:pt x="311" y="513"/>
                  </a:lnTo>
                  <a:lnTo>
                    <a:pt x="310" y="517"/>
                  </a:lnTo>
                  <a:lnTo>
                    <a:pt x="309" y="522"/>
                  </a:lnTo>
                  <a:lnTo>
                    <a:pt x="307" y="526"/>
                  </a:lnTo>
                  <a:lnTo>
                    <a:pt x="305" y="531"/>
                  </a:lnTo>
                  <a:lnTo>
                    <a:pt x="303" y="535"/>
                  </a:lnTo>
                  <a:lnTo>
                    <a:pt x="300" y="540"/>
                  </a:lnTo>
                  <a:lnTo>
                    <a:pt x="298" y="544"/>
                  </a:lnTo>
                  <a:lnTo>
                    <a:pt x="298" y="549"/>
                  </a:lnTo>
                  <a:lnTo>
                    <a:pt x="299" y="557"/>
                  </a:lnTo>
                  <a:lnTo>
                    <a:pt x="302" y="566"/>
                  </a:lnTo>
                  <a:lnTo>
                    <a:pt x="305" y="577"/>
                  </a:lnTo>
                  <a:lnTo>
                    <a:pt x="309" y="587"/>
                  </a:lnTo>
                  <a:lnTo>
                    <a:pt x="315" y="597"/>
                  </a:lnTo>
                  <a:lnTo>
                    <a:pt x="321" y="607"/>
                  </a:lnTo>
                  <a:lnTo>
                    <a:pt x="328" y="617"/>
                  </a:lnTo>
                  <a:lnTo>
                    <a:pt x="337" y="627"/>
                  </a:lnTo>
                  <a:lnTo>
                    <a:pt x="344" y="637"/>
                  </a:lnTo>
                  <a:lnTo>
                    <a:pt x="353" y="645"/>
                  </a:lnTo>
                  <a:lnTo>
                    <a:pt x="362" y="653"/>
                  </a:lnTo>
                  <a:lnTo>
                    <a:pt x="371" y="659"/>
                  </a:lnTo>
                  <a:lnTo>
                    <a:pt x="379" y="664"/>
                  </a:lnTo>
                  <a:lnTo>
                    <a:pt x="388" y="669"/>
                  </a:lnTo>
                  <a:lnTo>
                    <a:pt x="397" y="671"/>
                  </a:lnTo>
                  <a:lnTo>
                    <a:pt x="405" y="672"/>
                  </a:lnTo>
                  <a:lnTo>
                    <a:pt x="415" y="671"/>
                  </a:lnTo>
                  <a:lnTo>
                    <a:pt x="424" y="670"/>
                  </a:lnTo>
                  <a:lnTo>
                    <a:pt x="435" y="667"/>
                  </a:lnTo>
                  <a:lnTo>
                    <a:pt x="445" y="663"/>
                  </a:lnTo>
                  <a:lnTo>
                    <a:pt x="455" y="658"/>
                  </a:lnTo>
                  <a:lnTo>
                    <a:pt x="465" y="653"/>
                  </a:lnTo>
                  <a:lnTo>
                    <a:pt x="475" y="647"/>
                  </a:lnTo>
                  <a:lnTo>
                    <a:pt x="484" y="641"/>
                  </a:lnTo>
                  <a:lnTo>
                    <a:pt x="493" y="634"/>
                  </a:lnTo>
                  <a:lnTo>
                    <a:pt x="500" y="627"/>
                  </a:lnTo>
                  <a:lnTo>
                    <a:pt x="507" y="619"/>
                  </a:lnTo>
                  <a:lnTo>
                    <a:pt x="512" y="612"/>
                  </a:lnTo>
                  <a:lnTo>
                    <a:pt x="518" y="605"/>
                  </a:lnTo>
                  <a:lnTo>
                    <a:pt x="521" y="599"/>
                  </a:lnTo>
                  <a:lnTo>
                    <a:pt x="523" y="592"/>
                  </a:lnTo>
                  <a:lnTo>
                    <a:pt x="524" y="586"/>
                  </a:lnTo>
                  <a:lnTo>
                    <a:pt x="518" y="574"/>
                  </a:lnTo>
                  <a:lnTo>
                    <a:pt x="504" y="551"/>
                  </a:lnTo>
                  <a:lnTo>
                    <a:pt x="487" y="528"/>
                  </a:lnTo>
                  <a:lnTo>
                    <a:pt x="477" y="513"/>
                  </a:lnTo>
                  <a:lnTo>
                    <a:pt x="477" y="469"/>
                  </a:lnTo>
                  <a:lnTo>
                    <a:pt x="504" y="469"/>
                  </a:lnTo>
                  <a:lnTo>
                    <a:pt x="518" y="476"/>
                  </a:lnTo>
                  <a:lnTo>
                    <a:pt x="541" y="484"/>
                  </a:lnTo>
                  <a:lnTo>
                    <a:pt x="564" y="493"/>
                  </a:lnTo>
                  <a:lnTo>
                    <a:pt x="577" y="500"/>
                  </a:lnTo>
                  <a:lnTo>
                    <a:pt x="578" y="496"/>
                  </a:lnTo>
                  <a:lnTo>
                    <a:pt x="580" y="493"/>
                  </a:lnTo>
                  <a:lnTo>
                    <a:pt x="584" y="489"/>
                  </a:lnTo>
                  <a:lnTo>
                    <a:pt x="589" y="485"/>
                  </a:lnTo>
                  <a:lnTo>
                    <a:pt x="600" y="477"/>
                  </a:lnTo>
                  <a:lnTo>
                    <a:pt x="614" y="469"/>
                  </a:lnTo>
                  <a:lnTo>
                    <a:pt x="629" y="461"/>
                  </a:lnTo>
                  <a:lnTo>
                    <a:pt x="642" y="453"/>
                  </a:lnTo>
                  <a:lnTo>
                    <a:pt x="647" y="449"/>
                  </a:lnTo>
                  <a:lnTo>
                    <a:pt x="652" y="445"/>
                  </a:lnTo>
                  <a:lnTo>
                    <a:pt x="655" y="442"/>
                  </a:lnTo>
                  <a:lnTo>
                    <a:pt x="657" y="438"/>
                  </a:lnTo>
                  <a:lnTo>
                    <a:pt x="662" y="440"/>
                  </a:lnTo>
                  <a:lnTo>
                    <a:pt x="666" y="441"/>
                  </a:lnTo>
                  <a:lnTo>
                    <a:pt x="669" y="441"/>
                  </a:lnTo>
                  <a:lnTo>
                    <a:pt x="674" y="441"/>
                  </a:lnTo>
                  <a:lnTo>
                    <a:pt x="677" y="440"/>
                  </a:lnTo>
                  <a:lnTo>
                    <a:pt x="679" y="439"/>
                  </a:lnTo>
                  <a:lnTo>
                    <a:pt x="681" y="437"/>
                  </a:lnTo>
                  <a:lnTo>
                    <a:pt x="685" y="435"/>
                  </a:lnTo>
                  <a:lnTo>
                    <a:pt x="691" y="424"/>
                  </a:lnTo>
                  <a:lnTo>
                    <a:pt x="697" y="414"/>
                  </a:lnTo>
                  <a:lnTo>
                    <a:pt x="657" y="339"/>
                  </a:lnTo>
                  <a:lnTo>
                    <a:pt x="661" y="334"/>
                  </a:lnTo>
                  <a:lnTo>
                    <a:pt x="666" y="327"/>
                  </a:lnTo>
                  <a:lnTo>
                    <a:pt x="674" y="320"/>
                  </a:lnTo>
                  <a:lnTo>
                    <a:pt x="681" y="313"/>
                  </a:lnTo>
                  <a:lnTo>
                    <a:pt x="690" y="306"/>
                  </a:lnTo>
                  <a:lnTo>
                    <a:pt x="700" y="299"/>
                  </a:lnTo>
                  <a:lnTo>
                    <a:pt x="709" y="294"/>
                  </a:lnTo>
                  <a:lnTo>
                    <a:pt x="717" y="291"/>
                  </a:lnTo>
                  <a:lnTo>
                    <a:pt x="715" y="275"/>
                  </a:lnTo>
                  <a:lnTo>
                    <a:pt x="714" y="263"/>
                  </a:lnTo>
                  <a:lnTo>
                    <a:pt x="713" y="258"/>
                  </a:lnTo>
                  <a:lnTo>
                    <a:pt x="714" y="253"/>
                  </a:lnTo>
                  <a:lnTo>
                    <a:pt x="714" y="248"/>
                  </a:lnTo>
                  <a:lnTo>
                    <a:pt x="717" y="241"/>
                  </a:lnTo>
                  <a:lnTo>
                    <a:pt x="720" y="241"/>
                  </a:lnTo>
                  <a:lnTo>
                    <a:pt x="723" y="239"/>
                  </a:lnTo>
                  <a:lnTo>
                    <a:pt x="726" y="235"/>
                  </a:lnTo>
                  <a:lnTo>
                    <a:pt x="730" y="231"/>
                  </a:lnTo>
                  <a:lnTo>
                    <a:pt x="737" y="223"/>
                  </a:lnTo>
                  <a:lnTo>
                    <a:pt x="743" y="216"/>
                  </a:lnTo>
                  <a:lnTo>
                    <a:pt x="735" y="215"/>
                  </a:lnTo>
                  <a:lnTo>
                    <a:pt x="728" y="213"/>
                  </a:lnTo>
                  <a:lnTo>
                    <a:pt x="721" y="210"/>
                  </a:lnTo>
                  <a:lnTo>
                    <a:pt x="714" y="207"/>
                  </a:lnTo>
                  <a:lnTo>
                    <a:pt x="709" y="204"/>
                  </a:lnTo>
                  <a:lnTo>
                    <a:pt x="703" y="200"/>
                  </a:lnTo>
                  <a:lnTo>
                    <a:pt x="700" y="196"/>
                  </a:lnTo>
                  <a:lnTo>
                    <a:pt x="696" y="191"/>
                  </a:lnTo>
                  <a:lnTo>
                    <a:pt x="692" y="186"/>
                  </a:lnTo>
                  <a:lnTo>
                    <a:pt x="690" y="181"/>
                  </a:lnTo>
                  <a:lnTo>
                    <a:pt x="688" y="174"/>
                  </a:lnTo>
                  <a:lnTo>
                    <a:pt x="686" y="168"/>
                  </a:lnTo>
                  <a:lnTo>
                    <a:pt x="684" y="156"/>
                  </a:lnTo>
                  <a:lnTo>
                    <a:pt x="684" y="143"/>
                  </a:lnTo>
                  <a:lnTo>
                    <a:pt x="679" y="143"/>
                  </a:lnTo>
                  <a:lnTo>
                    <a:pt x="675" y="144"/>
                  </a:lnTo>
                  <a:lnTo>
                    <a:pt x="670" y="145"/>
                  </a:lnTo>
                  <a:lnTo>
                    <a:pt x="667" y="146"/>
                  </a:lnTo>
                  <a:lnTo>
                    <a:pt x="662" y="150"/>
                  </a:lnTo>
                  <a:lnTo>
                    <a:pt x="657" y="155"/>
                  </a:lnTo>
                  <a:lnTo>
                    <a:pt x="646" y="154"/>
                  </a:lnTo>
                  <a:lnTo>
                    <a:pt x="639" y="152"/>
                  </a:lnTo>
                  <a:lnTo>
                    <a:pt x="636" y="150"/>
                  </a:lnTo>
                  <a:lnTo>
                    <a:pt x="634" y="148"/>
                  </a:lnTo>
                  <a:lnTo>
                    <a:pt x="632" y="146"/>
                  </a:lnTo>
                  <a:lnTo>
                    <a:pt x="631" y="144"/>
                  </a:lnTo>
                  <a:lnTo>
                    <a:pt x="630" y="134"/>
                  </a:lnTo>
                  <a:lnTo>
                    <a:pt x="630" y="124"/>
                  </a:lnTo>
                  <a:lnTo>
                    <a:pt x="624" y="124"/>
                  </a:lnTo>
                  <a:lnTo>
                    <a:pt x="618" y="121"/>
                  </a:lnTo>
                  <a:lnTo>
                    <a:pt x="610" y="119"/>
                  </a:lnTo>
                  <a:lnTo>
                    <a:pt x="602" y="115"/>
                  </a:lnTo>
                  <a:lnTo>
                    <a:pt x="595" y="111"/>
                  </a:lnTo>
                  <a:lnTo>
                    <a:pt x="589" y="106"/>
                  </a:lnTo>
                  <a:lnTo>
                    <a:pt x="587" y="103"/>
                  </a:lnTo>
                  <a:lnTo>
                    <a:pt x="585" y="100"/>
                  </a:lnTo>
                  <a:lnTo>
                    <a:pt x="584" y="97"/>
                  </a:lnTo>
                  <a:lnTo>
                    <a:pt x="584" y="93"/>
                  </a:lnTo>
                  <a:lnTo>
                    <a:pt x="587" y="83"/>
                  </a:lnTo>
                  <a:lnTo>
                    <a:pt x="590" y="69"/>
                  </a:lnTo>
                  <a:lnTo>
                    <a:pt x="544" y="69"/>
                  </a:lnTo>
                  <a:lnTo>
                    <a:pt x="536" y="75"/>
                  </a:lnTo>
                  <a:lnTo>
                    <a:pt x="530" y="80"/>
                  </a:lnTo>
                  <a:lnTo>
                    <a:pt x="523" y="83"/>
                  </a:lnTo>
                  <a:lnTo>
                    <a:pt x="518" y="85"/>
                  </a:lnTo>
                  <a:lnTo>
                    <a:pt x="505" y="87"/>
                  </a:lnTo>
                  <a:lnTo>
                    <a:pt x="490" y="87"/>
                  </a:lnTo>
                  <a:lnTo>
                    <a:pt x="485" y="88"/>
                  </a:lnTo>
                  <a:lnTo>
                    <a:pt x="478" y="92"/>
                  </a:lnTo>
                  <a:lnTo>
                    <a:pt x="475" y="94"/>
                  </a:lnTo>
                  <a:lnTo>
                    <a:pt x="473" y="97"/>
                  </a:lnTo>
                  <a:lnTo>
                    <a:pt x="472" y="101"/>
                  </a:lnTo>
                  <a:lnTo>
                    <a:pt x="471" y="105"/>
                  </a:lnTo>
                  <a:lnTo>
                    <a:pt x="457" y="111"/>
                  </a:lnTo>
                  <a:lnTo>
                    <a:pt x="444" y="117"/>
                  </a:lnTo>
                  <a:lnTo>
                    <a:pt x="439" y="117"/>
                  </a:lnTo>
                  <a:lnTo>
                    <a:pt x="434" y="116"/>
                  </a:lnTo>
                  <a:lnTo>
                    <a:pt x="430" y="115"/>
                  </a:lnTo>
                  <a:lnTo>
                    <a:pt x="426" y="113"/>
                  </a:lnTo>
                  <a:lnTo>
                    <a:pt x="422" y="110"/>
                  </a:lnTo>
                  <a:lnTo>
                    <a:pt x="420" y="107"/>
                  </a:lnTo>
                  <a:lnTo>
                    <a:pt x="418" y="104"/>
                  </a:lnTo>
                  <a:lnTo>
                    <a:pt x="418" y="99"/>
                  </a:lnTo>
                  <a:lnTo>
                    <a:pt x="410" y="103"/>
                  </a:lnTo>
                  <a:lnTo>
                    <a:pt x="404" y="104"/>
                  </a:lnTo>
                  <a:lnTo>
                    <a:pt x="398" y="104"/>
                  </a:lnTo>
                  <a:lnTo>
                    <a:pt x="393" y="102"/>
                  </a:lnTo>
                  <a:lnTo>
                    <a:pt x="388" y="98"/>
                  </a:lnTo>
                  <a:lnTo>
                    <a:pt x="384" y="93"/>
                  </a:lnTo>
                  <a:lnTo>
                    <a:pt x="381" y="88"/>
                  </a:lnTo>
                  <a:lnTo>
                    <a:pt x="378" y="81"/>
                  </a:lnTo>
                  <a:lnTo>
                    <a:pt x="359" y="83"/>
                  </a:lnTo>
                  <a:lnTo>
                    <a:pt x="340" y="86"/>
                  </a:lnTo>
                  <a:lnTo>
                    <a:pt x="331" y="86"/>
                  </a:lnTo>
                  <a:lnTo>
                    <a:pt x="323" y="86"/>
                  </a:lnTo>
                  <a:lnTo>
                    <a:pt x="320" y="86"/>
                  </a:lnTo>
                  <a:lnTo>
                    <a:pt x="317" y="85"/>
                  </a:lnTo>
                  <a:lnTo>
                    <a:pt x="314" y="83"/>
                  </a:lnTo>
                  <a:lnTo>
                    <a:pt x="311" y="81"/>
                  </a:lnTo>
                  <a:lnTo>
                    <a:pt x="305" y="86"/>
                  </a:lnTo>
                  <a:lnTo>
                    <a:pt x="298" y="89"/>
                  </a:lnTo>
                  <a:lnTo>
                    <a:pt x="291" y="92"/>
                  </a:lnTo>
                  <a:lnTo>
                    <a:pt x="285" y="93"/>
                  </a:lnTo>
                  <a:lnTo>
                    <a:pt x="275" y="93"/>
                  </a:lnTo>
                  <a:lnTo>
                    <a:pt x="265" y="93"/>
                  </a:lnTo>
                  <a:lnTo>
                    <a:pt x="258" y="93"/>
                  </a:lnTo>
                  <a:lnTo>
                    <a:pt x="252" y="93"/>
                  </a:lnTo>
                  <a:lnTo>
                    <a:pt x="251" y="83"/>
                  </a:lnTo>
                  <a:lnTo>
                    <a:pt x="249" y="73"/>
                  </a:lnTo>
                  <a:lnTo>
                    <a:pt x="244" y="65"/>
                  </a:lnTo>
                  <a:lnTo>
                    <a:pt x="240" y="58"/>
                  </a:lnTo>
                  <a:lnTo>
                    <a:pt x="233" y="52"/>
                  </a:lnTo>
                  <a:lnTo>
                    <a:pt x="227" y="47"/>
                  </a:lnTo>
                  <a:lnTo>
                    <a:pt x="219" y="42"/>
                  </a:lnTo>
                  <a:lnTo>
                    <a:pt x="211" y="38"/>
                  </a:lnTo>
                  <a:lnTo>
                    <a:pt x="195" y="30"/>
                  </a:lnTo>
                  <a:lnTo>
                    <a:pt x="179" y="22"/>
                  </a:lnTo>
                  <a:lnTo>
                    <a:pt x="171" y="18"/>
                  </a:lnTo>
                  <a:lnTo>
                    <a:pt x="164" y="13"/>
                  </a:lnTo>
                  <a:lnTo>
                    <a:pt x="158" y="7"/>
                  </a:lnTo>
                  <a:lnTo>
                    <a:pt x="152" y="0"/>
                  </a:lnTo>
                  <a:lnTo>
                    <a:pt x="148" y="10"/>
                  </a:lnTo>
                  <a:lnTo>
                    <a:pt x="146" y="20"/>
                  </a:lnTo>
                  <a:lnTo>
                    <a:pt x="146" y="31"/>
                  </a:lnTo>
                  <a:lnTo>
                    <a:pt x="146" y="44"/>
                  </a:lnTo>
                  <a:lnTo>
                    <a:pt x="140" y="44"/>
                  </a:lnTo>
                  <a:lnTo>
                    <a:pt x="136" y="46"/>
                  </a:lnTo>
                  <a:lnTo>
                    <a:pt x="131" y="49"/>
                  </a:lnTo>
                  <a:lnTo>
                    <a:pt x="127" y="52"/>
                  </a:lnTo>
                  <a:lnTo>
                    <a:pt x="124" y="57"/>
                  </a:lnTo>
                  <a:lnTo>
                    <a:pt x="121" y="62"/>
                  </a:lnTo>
                  <a:lnTo>
                    <a:pt x="119" y="69"/>
                  </a:lnTo>
                  <a:lnTo>
                    <a:pt x="119" y="75"/>
                  </a:lnTo>
                  <a:lnTo>
                    <a:pt x="119" y="96"/>
                  </a:lnTo>
                  <a:lnTo>
                    <a:pt x="119" y="108"/>
                  </a:lnTo>
                  <a:lnTo>
                    <a:pt x="119" y="118"/>
                  </a:lnTo>
                  <a:lnTo>
                    <a:pt x="119" y="137"/>
                  </a:lnTo>
                  <a:lnTo>
                    <a:pt x="116" y="150"/>
                  </a:lnTo>
                  <a:lnTo>
                    <a:pt x="109" y="169"/>
                  </a:lnTo>
                  <a:lnTo>
                    <a:pt x="107" y="180"/>
                  </a:lnTo>
                  <a:lnTo>
                    <a:pt x="105" y="188"/>
                  </a:lnTo>
                  <a:lnTo>
                    <a:pt x="104" y="194"/>
                  </a:lnTo>
                  <a:lnTo>
                    <a:pt x="105" y="198"/>
                  </a:lnTo>
                  <a:lnTo>
                    <a:pt x="99" y="197"/>
                  </a:lnTo>
                  <a:lnTo>
                    <a:pt x="93" y="194"/>
                  </a:lnTo>
                  <a:lnTo>
                    <a:pt x="90" y="193"/>
                  </a:lnTo>
                  <a:lnTo>
                    <a:pt x="87" y="190"/>
                  </a:lnTo>
                  <a:lnTo>
                    <a:pt x="86" y="188"/>
                  </a:lnTo>
                  <a:lnTo>
                    <a:pt x="85" y="186"/>
                  </a:lnTo>
                  <a:lnTo>
                    <a:pt x="80" y="186"/>
                  </a:lnTo>
                  <a:lnTo>
                    <a:pt x="74" y="185"/>
                  </a:lnTo>
                  <a:lnTo>
                    <a:pt x="70" y="184"/>
                  </a:lnTo>
                  <a:lnTo>
                    <a:pt x="67" y="182"/>
                  </a:lnTo>
                  <a:lnTo>
                    <a:pt x="63" y="179"/>
                  </a:lnTo>
                  <a:lnTo>
                    <a:pt x="60" y="176"/>
                  </a:lnTo>
                  <a:lnTo>
                    <a:pt x="58" y="173"/>
                  </a:lnTo>
                  <a:lnTo>
                    <a:pt x="57" y="169"/>
                  </a:lnTo>
                  <a:lnTo>
                    <a:pt x="54" y="161"/>
                  </a:lnTo>
                  <a:lnTo>
                    <a:pt x="52" y="152"/>
                  </a:lnTo>
                  <a:lnTo>
                    <a:pt x="52" y="142"/>
                  </a:lnTo>
                  <a:lnTo>
                    <a:pt x="52" y="131"/>
                  </a:lnTo>
                  <a:lnTo>
                    <a:pt x="52" y="119"/>
                  </a:lnTo>
                  <a:lnTo>
                    <a:pt x="54" y="109"/>
                  </a:lnTo>
                  <a:lnTo>
                    <a:pt x="56" y="100"/>
                  </a:lnTo>
                  <a:lnTo>
                    <a:pt x="59" y="91"/>
                  </a:lnTo>
                  <a:lnTo>
                    <a:pt x="65" y="76"/>
                  </a:lnTo>
                  <a:lnTo>
                    <a:pt x="73" y="61"/>
                  </a:lnTo>
                  <a:lnTo>
                    <a:pt x="81" y="49"/>
                  </a:lnTo>
                  <a:lnTo>
                    <a:pt x="89" y="36"/>
                  </a:lnTo>
                  <a:lnTo>
                    <a:pt x="92" y="29"/>
                  </a:lnTo>
                  <a:lnTo>
                    <a:pt x="95" y="22"/>
                  </a:lnTo>
                  <a:lnTo>
                    <a:pt x="97" y="15"/>
                  </a:lnTo>
                  <a:lnTo>
                    <a:pt x="98" y="7"/>
                  </a:lnTo>
                  <a:lnTo>
                    <a:pt x="85" y="12"/>
                  </a:lnTo>
                  <a:lnTo>
                    <a:pt x="73" y="18"/>
                  </a:lnTo>
                  <a:lnTo>
                    <a:pt x="62" y="24"/>
                  </a:lnTo>
                  <a:lnTo>
                    <a:pt x="52" y="30"/>
                  </a:lnTo>
                  <a:lnTo>
                    <a:pt x="43" y="37"/>
                  </a:lnTo>
                  <a:lnTo>
                    <a:pt x="35" y="44"/>
                  </a:lnTo>
                  <a:lnTo>
                    <a:pt x="28" y="52"/>
                  </a:lnTo>
                  <a:lnTo>
                    <a:pt x="22" y="60"/>
                  </a:lnTo>
                  <a:lnTo>
                    <a:pt x="16" y="70"/>
                  </a:lnTo>
                  <a:lnTo>
                    <a:pt x="12" y="79"/>
                  </a:lnTo>
                  <a:lnTo>
                    <a:pt x="7" y="89"/>
                  </a:lnTo>
                  <a:lnTo>
                    <a:pt x="4" y="99"/>
                  </a:lnTo>
                  <a:lnTo>
                    <a:pt x="2" y="109"/>
                  </a:lnTo>
                  <a:lnTo>
                    <a:pt x="1" y="120"/>
                  </a:lnTo>
                  <a:lnTo>
                    <a:pt x="0" y="131"/>
                  </a:lnTo>
                  <a:lnTo>
                    <a:pt x="0" y="14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2217" name="Freeform 169"/>
          <p:cNvSpPr>
            <a:spLocks/>
          </p:cNvSpPr>
          <p:nvPr>
            <p:custDataLst>
              <p:tags r:id="rId96"/>
            </p:custDataLst>
          </p:nvPr>
        </p:nvSpPr>
        <p:spPr bwMode="auto">
          <a:xfrm>
            <a:off x="7215188" y="3589735"/>
            <a:ext cx="31750" cy="8334"/>
          </a:xfrm>
          <a:custGeom>
            <a:avLst/>
            <a:gdLst/>
            <a:ahLst/>
            <a:cxnLst>
              <a:cxn ang="0">
                <a:pos x="0" y="23"/>
              </a:cxn>
              <a:cxn ang="0">
                <a:pos x="22" y="13"/>
              </a:cxn>
              <a:cxn ang="0">
                <a:pos x="45" y="4"/>
              </a:cxn>
              <a:cxn ang="0">
                <a:pos x="56" y="1"/>
              </a:cxn>
              <a:cxn ang="0">
                <a:pos x="65" y="0"/>
              </a:cxn>
              <a:cxn ang="0">
                <a:pos x="69" y="0"/>
              </a:cxn>
              <a:cxn ang="0">
                <a:pos x="74" y="1"/>
              </a:cxn>
              <a:cxn ang="0">
                <a:pos x="77" y="2"/>
              </a:cxn>
              <a:cxn ang="0">
                <a:pos x="79" y="4"/>
              </a:cxn>
              <a:cxn ang="0">
                <a:pos x="77" y="8"/>
              </a:cxn>
              <a:cxn ang="0">
                <a:pos x="75" y="13"/>
              </a:cxn>
              <a:cxn ang="0">
                <a:pos x="72" y="16"/>
              </a:cxn>
              <a:cxn ang="0">
                <a:pos x="68" y="19"/>
              </a:cxn>
              <a:cxn ang="0">
                <a:pos x="64" y="21"/>
              </a:cxn>
              <a:cxn ang="0">
                <a:pos x="59" y="22"/>
              </a:cxn>
              <a:cxn ang="0">
                <a:pos x="53" y="23"/>
              </a:cxn>
              <a:cxn ang="0">
                <a:pos x="46" y="23"/>
              </a:cxn>
              <a:cxn ang="0">
                <a:pos x="37" y="23"/>
              </a:cxn>
              <a:cxn ang="0">
                <a:pos x="32" y="21"/>
              </a:cxn>
              <a:cxn ang="0">
                <a:pos x="26" y="20"/>
              </a:cxn>
              <a:cxn ang="0">
                <a:pos x="23" y="19"/>
              </a:cxn>
              <a:cxn ang="0">
                <a:pos x="19" y="18"/>
              </a:cxn>
              <a:cxn ang="0">
                <a:pos x="14" y="18"/>
              </a:cxn>
              <a:cxn ang="0">
                <a:pos x="9" y="20"/>
              </a:cxn>
              <a:cxn ang="0">
                <a:pos x="0" y="23"/>
              </a:cxn>
            </a:cxnLst>
            <a:rect l="0" t="0" r="r" b="b"/>
            <a:pathLst>
              <a:path w="79" h="23">
                <a:moveTo>
                  <a:pt x="0" y="23"/>
                </a:moveTo>
                <a:lnTo>
                  <a:pt x="22" y="13"/>
                </a:lnTo>
                <a:lnTo>
                  <a:pt x="45" y="4"/>
                </a:lnTo>
                <a:lnTo>
                  <a:pt x="56" y="1"/>
                </a:lnTo>
                <a:lnTo>
                  <a:pt x="65" y="0"/>
                </a:lnTo>
                <a:lnTo>
                  <a:pt x="69" y="0"/>
                </a:lnTo>
                <a:lnTo>
                  <a:pt x="74" y="1"/>
                </a:lnTo>
                <a:lnTo>
                  <a:pt x="77" y="2"/>
                </a:lnTo>
                <a:lnTo>
                  <a:pt x="79" y="4"/>
                </a:lnTo>
                <a:lnTo>
                  <a:pt x="77" y="8"/>
                </a:lnTo>
                <a:lnTo>
                  <a:pt x="75" y="13"/>
                </a:lnTo>
                <a:lnTo>
                  <a:pt x="72" y="16"/>
                </a:lnTo>
                <a:lnTo>
                  <a:pt x="68" y="19"/>
                </a:lnTo>
                <a:lnTo>
                  <a:pt x="64" y="21"/>
                </a:lnTo>
                <a:lnTo>
                  <a:pt x="59" y="22"/>
                </a:lnTo>
                <a:lnTo>
                  <a:pt x="53" y="23"/>
                </a:lnTo>
                <a:lnTo>
                  <a:pt x="46" y="23"/>
                </a:lnTo>
                <a:lnTo>
                  <a:pt x="37" y="23"/>
                </a:lnTo>
                <a:lnTo>
                  <a:pt x="32" y="21"/>
                </a:lnTo>
                <a:lnTo>
                  <a:pt x="26" y="20"/>
                </a:lnTo>
                <a:lnTo>
                  <a:pt x="23" y="19"/>
                </a:lnTo>
                <a:lnTo>
                  <a:pt x="19" y="18"/>
                </a:lnTo>
                <a:lnTo>
                  <a:pt x="14" y="18"/>
                </a:lnTo>
                <a:lnTo>
                  <a:pt x="9" y="20"/>
                </a:lnTo>
                <a:lnTo>
                  <a:pt x="0" y="2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218" name="Freeform 170"/>
          <p:cNvSpPr>
            <a:spLocks/>
          </p:cNvSpPr>
          <p:nvPr>
            <p:custDataLst>
              <p:tags r:id="rId97"/>
            </p:custDataLst>
          </p:nvPr>
        </p:nvSpPr>
        <p:spPr bwMode="auto">
          <a:xfrm>
            <a:off x="7331075" y="3689751"/>
            <a:ext cx="1588" cy="3572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6"/>
              </a:cxn>
              <a:cxn ang="0">
                <a:pos x="0" y="0"/>
              </a:cxn>
            </a:cxnLst>
            <a:rect l="0" t="0" r="r" b="b"/>
            <a:pathLst>
              <a:path h="6">
                <a:moveTo>
                  <a:pt x="0" y="0"/>
                </a:moveTo>
                <a:lnTo>
                  <a:pt x="0" y="6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219" name="Line 171"/>
          <p:cNvSpPr>
            <a:spLocks noChangeShapeType="1"/>
          </p:cNvSpPr>
          <p:nvPr>
            <p:custDataLst>
              <p:tags r:id="rId98"/>
            </p:custDataLst>
          </p:nvPr>
        </p:nvSpPr>
        <p:spPr bwMode="auto">
          <a:xfrm flipV="1">
            <a:off x="7421570" y="3688556"/>
            <a:ext cx="1587" cy="9525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220" name="Freeform 172"/>
          <p:cNvSpPr>
            <a:spLocks/>
          </p:cNvSpPr>
          <p:nvPr>
            <p:custDataLst>
              <p:tags r:id="rId99"/>
            </p:custDataLst>
          </p:nvPr>
        </p:nvSpPr>
        <p:spPr bwMode="auto">
          <a:xfrm>
            <a:off x="7421565" y="3688563"/>
            <a:ext cx="3175" cy="11906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" y="1"/>
              </a:cxn>
              <a:cxn ang="0">
                <a:pos x="4" y="4"/>
              </a:cxn>
              <a:cxn ang="0">
                <a:pos x="5" y="8"/>
              </a:cxn>
              <a:cxn ang="0">
                <a:pos x="5" y="13"/>
              </a:cxn>
              <a:cxn ang="0">
                <a:pos x="5" y="18"/>
              </a:cxn>
              <a:cxn ang="0">
                <a:pos x="4" y="23"/>
              </a:cxn>
              <a:cxn ang="0">
                <a:pos x="2" y="27"/>
              </a:cxn>
              <a:cxn ang="0">
                <a:pos x="0" y="30"/>
              </a:cxn>
            </a:cxnLst>
            <a:rect l="0" t="0" r="r" b="b"/>
            <a:pathLst>
              <a:path w="5" h="30">
                <a:moveTo>
                  <a:pt x="0" y="0"/>
                </a:moveTo>
                <a:lnTo>
                  <a:pt x="2" y="1"/>
                </a:lnTo>
                <a:lnTo>
                  <a:pt x="4" y="4"/>
                </a:lnTo>
                <a:lnTo>
                  <a:pt x="5" y="8"/>
                </a:lnTo>
                <a:lnTo>
                  <a:pt x="5" y="13"/>
                </a:lnTo>
                <a:lnTo>
                  <a:pt x="5" y="18"/>
                </a:lnTo>
                <a:lnTo>
                  <a:pt x="4" y="23"/>
                </a:lnTo>
                <a:lnTo>
                  <a:pt x="2" y="27"/>
                </a:lnTo>
                <a:lnTo>
                  <a:pt x="0" y="3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221" name="Freeform 173"/>
          <p:cNvSpPr>
            <a:spLocks/>
          </p:cNvSpPr>
          <p:nvPr>
            <p:custDataLst>
              <p:tags r:id="rId100"/>
            </p:custDataLst>
          </p:nvPr>
        </p:nvSpPr>
        <p:spPr bwMode="auto">
          <a:xfrm>
            <a:off x="7720020" y="3290896"/>
            <a:ext cx="22225" cy="21431"/>
          </a:xfrm>
          <a:custGeom>
            <a:avLst/>
            <a:gdLst/>
            <a:ahLst/>
            <a:cxnLst>
              <a:cxn ang="0">
                <a:pos x="0" y="12"/>
              </a:cxn>
              <a:cxn ang="0">
                <a:pos x="1" y="17"/>
              </a:cxn>
              <a:cxn ang="0">
                <a:pos x="5" y="22"/>
              </a:cxn>
              <a:cxn ang="0">
                <a:pos x="9" y="27"/>
              </a:cxn>
              <a:cxn ang="0">
                <a:pos x="15" y="33"/>
              </a:cxn>
              <a:cxn ang="0">
                <a:pos x="26" y="44"/>
              </a:cxn>
              <a:cxn ang="0">
                <a:pos x="33" y="55"/>
              </a:cxn>
              <a:cxn ang="0">
                <a:pos x="53" y="55"/>
              </a:cxn>
              <a:cxn ang="0">
                <a:pos x="40" y="41"/>
              </a:cxn>
              <a:cxn ang="0">
                <a:pos x="28" y="29"/>
              </a:cxn>
              <a:cxn ang="0">
                <a:pos x="23" y="23"/>
              </a:cxn>
              <a:cxn ang="0">
                <a:pos x="19" y="16"/>
              </a:cxn>
              <a:cxn ang="0">
                <a:pos x="16" y="8"/>
              </a:cxn>
              <a:cxn ang="0">
                <a:pos x="14" y="0"/>
              </a:cxn>
              <a:cxn ang="0">
                <a:pos x="7" y="6"/>
              </a:cxn>
              <a:cxn ang="0">
                <a:pos x="0" y="12"/>
              </a:cxn>
            </a:cxnLst>
            <a:rect l="0" t="0" r="r" b="b"/>
            <a:pathLst>
              <a:path w="53" h="55">
                <a:moveTo>
                  <a:pt x="0" y="12"/>
                </a:moveTo>
                <a:lnTo>
                  <a:pt x="1" y="17"/>
                </a:lnTo>
                <a:lnTo>
                  <a:pt x="5" y="22"/>
                </a:lnTo>
                <a:lnTo>
                  <a:pt x="9" y="27"/>
                </a:lnTo>
                <a:lnTo>
                  <a:pt x="15" y="33"/>
                </a:lnTo>
                <a:lnTo>
                  <a:pt x="26" y="44"/>
                </a:lnTo>
                <a:lnTo>
                  <a:pt x="33" y="55"/>
                </a:lnTo>
                <a:lnTo>
                  <a:pt x="53" y="55"/>
                </a:lnTo>
                <a:lnTo>
                  <a:pt x="40" y="41"/>
                </a:lnTo>
                <a:lnTo>
                  <a:pt x="28" y="29"/>
                </a:lnTo>
                <a:lnTo>
                  <a:pt x="23" y="23"/>
                </a:lnTo>
                <a:lnTo>
                  <a:pt x="19" y="16"/>
                </a:lnTo>
                <a:lnTo>
                  <a:pt x="16" y="8"/>
                </a:lnTo>
                <a:lnTo>
                  <a:pt x="14" y="0"/>
                </a:lnTo>
                <a:lnTo>
                  <a:pt x="7" y="6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222" name="Freeform 174"/>
          <p:cNvSpPr>
            <a:spLocks/>
          </p:cNvSpPr>
          <p:nvPr>
            <p:custDataLst>
              <p:tags r:id="rId101"/>
            </p:custDataLst>
          </p:nvPr>
        </p:nvSpPr>
        <p:spPr bwMode="auto">
          <a:xfrm>
            <a:off x="7726363" y="3236119"/>
            <a:ext cx="26987" cy="29766"/>
          </a:xfrm>
          <a:custGeom>
            <a:avLst/>
            <a:gdLst/>
            <a:ahLst/>
            <a:cxnLst>
              <a:cxn ang="0">
                <a:pos x="0" y="32"/>
              </a:cxn>
              <a:cxn ang="0">
                <a:pos x="9" y="43"/>
              </a:cxn>
              <a:cxn ang="0">
                <a:pos x="20" y="55"/>
              </a:cxn>
              <a:cxn ang="0">
                <a:pos x="26" y="61"/>
              </a:cxn>
              <a:cxn ang="0">
                <a:pos x="32" y="67"/>
              </a:cxn>
              <a:cxn ang="0">
                <a:pos x="39" y="71"/>
              </a:cxn>
              <a:cxn ang="0">
                <a:pos x="46" y="75"/>
              </a:cxn>
              <a:cxn ang="0">
                <a:pos x="51" y="61"/>
              </a:cxn>
              <a:cxn ang="0">
                <a:pos x="58" y="48"/>
              </a:cxn>
              <a:cxn ang="0">
                <a:pos x="61" y="42"/>
              </a:cxn>
              <a:cxn ang="0">
                <a:pos x="63" y="36"/>
              </a:cxn>
              <a:cxn ang="0">
                <a:pos x="65" y="31"/>
              </a:cxn>
              <a:cxn ang="0">
                <a:pos x="65" y="26"/>
              </a:cxn>
              <a:cxn ang="0">
                <a:pos x="65" y="21"/>
              </a:cxn>
              <a:cxn ang="0">
                <a:pos x="63" y="18"/>
              </a:cxn>
              <a:cxn ang="0">
                <a:pos x="61" y="13"/>
              </a:cxn>
              <a:cxn ang="0">
                <a:pos x="58" y="10"/>
              </a:cxn>
              <a:cxn ang="0">
                <a:pos x="51" y="5"/>
              </a:cxn>
              <a:cxn ang="0">
                <a:pos x="46" y="0"/>
              </a:cxn>
              <a:cxn ang="0">
                <a:pos x="34" y="0"/>
              </a:cxn>
              <a:cxn ang="0">
                <a:pos x="26" y="0"/>
              </a:cxn>
              <a:cxn ang="0">
                <a:pos x="25" y="2"/>
              </a:cxn>
              <a:cxn ang="0">
                <a:pos x="24" y="7"/>
              </a:cxn>
              <a:cxn ang="0">
                <a:pos x="23" y="9"/>
              </a:cxn>
              <a:cxn ang="0">
                <a:pos x="23" y="11"/>
              </a:cxn>
              <a:cxn ang="0">
                <a:pos x="24" y="12"/>
              </a:cxn>
              <a:cxn ang="0">
                <a:pos x="26" y="13"/>
              </a:cxn>
            </a:cxnLst>
            <a:rect l="0" t="0" r="r" b="b"/>
            <a:pathLst>
              <a:path w="65" h="75">
                <a:moveTo>
                  <a:pt x="0" y="32"/>
                </a:moveTo>
                <a:lnTo>
                  <a:pt x="9" y="43"/>
                </a:lnTo>
                <a:lnTo>
                  <a:pt x="20" y="55"/>
                </a:lnTo>
                <a:lnTo>
                  <a:pt x="26" y="61"/>
                </a:lnTo>
                <a:lnTo>
                  <a:pt x="32" y="67"/>
                </a:lnTo>
                <a:lnTo>
                  <a:pt x="39" y="71"/>
                </a:lnTo>
                <a:lnTo>
                  <a:pt x="46" y="75"/>
                </a:lnTo>
                <a:lnTo>
                  <a:pt x="51" y="61"/>
                </a:lnTo>
                <a:lnTo>
                  <a:pt x="58" y="48"/>
                </a:lnTo>
                <a:lnTo>
                  <a:pt x="61" y="42"/>
                </a:lnTo>
                <a:lnTo>
                  <a:pt x="63" y="36"/>
                </a:lnTo>
                <a:lnTo>
                  <a:pt x="65" y="31"/>
                </a:lnTo>
                <a:lnTo>
                  <a:pt x="65" y="26"/>
                </a:lnTo>
                <a:lnTo>
                  <a:pt x="65" y="21"/>
                </a:lnTo>
                <a:lnTo>
                  <a:pt x="63" y="18"/>
                </a:lnTo>
                <a:lnTo>
                  <a:pt x="61" y="13"/>
                </a:lnTo>
                <a:lnTo>
                  <a:pt x="58" y="10"/>
                </a:lnTo>
                <a:lnTo>
                  <a:pt x="51" y="5"/>
                </a:lnTo>
                <a:lnTo>
                  <a:pt x="46" y="0"/>
                </a:lnTo>
                <a:lnTo>
                  <a:pt x="34" y="0"/>
                </a:lnTo>
                <a:lnTo>
                  <a:pt x="26" y="0"/>
                </a:lnTo>
                <a:lnTo>
                  <a:pt x="25" y="2"/>
                </a:lnTo>
                <a:lnTo>
                  <a:pt x="24" y="7"/>
                </a:lnTo>
                <a:lnTo>
                  <a:pt x="23" y="9"/>
                </a:lnTo>
                <a:lnTo>
                  <a:pt x="23" y="11"/>
                </a:lnTo>
                <a:lnTo>
                  <a:pt x="24" y="12"/>
                </a:lnTo>
                <a:lnTo>
                  <a:pt x="26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223" name="Freeform 175"/>
          <p:cNvSpPr>
            <a:spLocks/>
          </p:cNvSpPr>
          <p:nvPr>
            <p:custDataLst>
              <p:tags r:id="rId102"/>
            </p:custDataLst>
          </p:nvPr>
        </p:nvSpPr>
        <p:spPr bwMode="auto">
          <a:xfrm>
            <a:off x="7702553" y="3218262"/>
            <a:ext cx="17463" cy="22622"/>
          </a:xfrm>
          <a:custGeom>
            <a:avLst/>
            <a:gdLst/>
            <a:ahLst/>
            <a:cxnLst>
              <a:cxn ang="0">
                <a:pos x="0" y="62"/>
              </a:cxn>
              <a:cxn ang="0">
                <a:pos x="3" y="52"/>
              </a:cxn>
              <a:cxn ang="0">
                <a:pos x="7" y="43"/>
              </a:cxn>
              <a:cxn ang="0">
                <a:pos x="12" y="33"/>
              </a:cxn>
              <a:cxn ang="0">
                <a:pos x="17" y="25"/>
              </a:cxn>
              <a:cxn ang="0">
                <a:pos x="23" y="17"/>
              </a:cxn>
              <a:cxn ang="0">
                <a:pos x="29" y="9"/>
              </a:cxn>
              <a:cxn ang="0">
                <a:pos x="35" y="3"/>
              </a:cxn>
              <a:cxn ang="0">
                <a:pos x="40" y="0"/>
              </a:cxn>
            </a:cxnLst>
            <a:rect l="0" t="0" r="r" b="b"/>
            <a:pathLst>
              <a:path w="40" h="62">
                <a:moveTo>
                  <a:pt x="0" y="62"/>
                </a:moveTo>
                <a:lnTo>
                  <a:pt x="3" y="52"/>
                </a:lnTo>
                <a:lnTo>
                  <a:pt x="7" y="43"/>
                </a:lnTo>
                <a:lnTo>
                  <a:pt x="12" y="33"/>
                </a:lnTo>
                <a:lnTo>
                  <a:pt x="17" y="25"/>
                </a:lnTo>
                <a:lnTo>
                  <a:pt x="23" y="17"/>
                </a:lnTo>
                <a:lnTo>
                  <a:pt x="29" y="9"/>
                </a:lnTo>
                <a:lnTo>
                  <a:pt x="35" y="3"/>
                </a:lnTo>
                <a:lnTo>
                  <a:pt x="4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224" name="Freeform 176"/>
          <p:cNvSpPr>
            <a:spLocks/>
          </p:cNvSpPr>
          <p:nvPr>
            <p:custDataLst>
              <p:tags r:id="rId103"/>
            </p:custDataLst>
          </p:nvPr>
        </p:nvSpPr>
        <p:spPr bwMode="auto">
          <a:xfrm>
            <a:off x="7621588" y="3126590"/>
            <a:ext cx="68262" cy="103585"/>
          </a:xfrm>
          <a:custGeom>
            <a:avLst/>
            <a:gdLst/>
            <a:ahLst/>
            <a:cxnLst>
              <a:cxn ang="0">
                <a:pos x="159" y="259"/>
              </a:cxn>
              <a:cxn ang="0">
                <a:pos x="159" y="251"/>
              </a:cxn>
              <a:cxn ang="0">
                <a:pos x="159" y="244"/>
              </a:cxn>
              <a:cxn ang="0">
                <a:pos x="159" y="236"/>
              </a:cxn>
              <a:cxn ang="0">
                <a:pos x="159" y="228"/>
              </a:cxn>
              <a:cxn ang="0">
                <a:pos x="159" y="224"/>
              </a:cxn>
              <a:cxn ang="0">
                <a:pos x="158" y="219"/>
              </a:cxn>
              <a:cxn ang="0">
                <a:pos x="156" y="215"/>
              </a:cxn>
              <a:cxn ang="0">
                <a:pos x="153" y="210"/>
              </a:cxn>
              <a:cxn ang="0">
                <a:pos x="145" y="202"/>
              </a:cxn>
              <a:cxn ang="0">
                <a:pos x="135" y="195"/>
              </a:cxn>
              <a:cxn ang="0">
                <a:pos x="124" y="189"/>
              </a:cxn>
              <a:cxn ang="0">
                <a:pos x="112" y="184"/>
              </a:cxn>
              <a:cxn ang="0">
                <a:pos x="99" y="180"/>
              </a:cxn>
              <a:cxn ang="0">
                <a:pos x="87" y="179"/>
              </a:cxn>
              <a:cxn ang="0">
                <a:pos x="85" y="178"/>
              </a:cxn>
              <a:cxn ang="0">
                <a:pos x="82" y="177"/>
              </a:cxn>
              <a:cxn ang="0">
                <a:pos x="81" y="175"/>
              </a:cxn>
              <a:cxn ang="0">
                <a:pos x="80" y="173"/>
              </a:cxn>
              <a:cxn ang="0">
                <a:pos x="80" y="167"/>
              </a:cxn>
              <a:cxn ang="0">
                <a:pos x="81" y="161"/>
              </a:cxn>
              <a:cxn ang="0">
                <a:pos x="85" y="148"/>
              </a:cxn>
              <a:cxn ang="0">
                <a:pos x="87" y="142"/>
              </a:cxn>
              <a:cxn ang="0">
                <a:pos x="73" y="141"/>
              </a:cxn>
              <a:cxn ang="0">
                <a:pos x="59" y="139"/>
              </a:cxn>
              <a:cxn ang="0">
                <a:pos x="48" y="135"/>
              </a:cxn>
              <a:cxn ang="0">
                <a:pos x="40" y="129"/>
              </a:cxn>
              <a:cxn ang="0">
                <a:pos x="31" y="121"/>
              </a:cxn>
              <a:cxn ang="0">
                <a:pos x="24" y="113"/>
              </a:cxn>
              <a:cxn ang="0">
                <a:pos x="18" y="104"/>
              </a:cxn>
              <a:cxn ang="0">
                <a:pos x="13" y="94"/>
              </a:cxn>
              <a:cxn ang="0">
                <a:pos x="9" y="84"/>
              </a:cxn>
              <a:cxn ang="0">
                <a:pos x="7" y="73"/>
              </a:cxn>
              <a:cxn ang="0">
                <a:pos x="5" y="60"/>
              </a:cxn>
              <a:cxn ang="0">
                <a:pos x="2" y="48"/>
              </a:cxn>
              <a:cxn ang="0">
                <a:pos x="0" y="25"/>
              </a:cxn>
              <a:cxn ang="0">
                <a:pos x="0" y="0"/>
              </a:cxn>
            </a:cxnLst>
            <a:rect l="0" t="0" r="r" b="b"/>
            <a:pathLst>
              <a:path w="159" h="259">
                <a:moveTo>
                  <a:pt x="159" y="259"/>
                </a:moveTo>
                <a:lnTo>
                  <a:pt x="159" y="251"/>
                </a:lnTo>
                <a:lnTo>
                  <a:pt x="159" y="244"/>
                </a:lnTo>
                <a:lnTo>
                  <a:pt x="159" y="236"/>
                </a:lnTo>
                <a:lnTo>
                  <a:pt x="159" y="228"/>
                </a:lnTo>
                <a:lnTo>
                  <a:pt x="159" y="224"/>
                </a:lnTo>
                <a:lnTo>
                  <a:pt x="158" y="219"/>
                </a:lnTo>
                <a:lnTo>
                  <a:pt x="156" y="215"/>
                </a:lnTo>
                <a:lnTo>
                  <a:pt x="153" y="210"/>
                </a:lnTo>
                <a:lnTo>
                  <a:pt x="145" y="202"/>
                </a:lnTo>
                <a:lnTo>
                  <a:pt x="135" y="195"/>
                </a:lnTo>
                <a:lnTo>
                  <a:pt x="124" y="189"/>
                </a:lnTo>
                <a:lnTo>
                  <a:pt x="112" y="184"/>
                </a:lnTo>
                <a:lnTo>
                  <a:pt x="99" y="180"/>
                </a:lnTo>
                <a:lnTo>
                  <a:pt x="87" y="179"/>
                </a:lnTo>
                <a:lnTo>
                  <a:pt x="85" y="178"/>
                </a:lnTo>
                <a:lnTo>
                  <a:pt x="82" y="177"/>
                </a:lnTo>
                <a:lnTo>
                  <a:pt x="81" y="175"/>
                </a:lnTo>
                <a:lnTo>
                  <a:pt x="80" y="173"/>
                </a:lnTo>
                <a:lnTo>
                  <a:pt x="80" y="167"/>
                </a:lnTo>
                <a:lnTo>
                  <a:pt x="81" y="161"/>
                </a:lnTo>
                <a:lnTo>
                  <a:pt x="85" y="148"/>
                </a:lnTo>
                <a:lnTo>
                  <a:pt x="87" y="142"/>
                </a:lnTo>
                <a:lnTo>
                  <a:pt x="73" y="141"/>
                </a:lnTo>
                <a:lnTo>
                  <a:pt x="59" y="139"/>
                </a:lnTo>
                <a:lnTo>
                  <a:pt x="48" y="135"/>
                </a:lnTo>
                <a:lnTo>
                  <a:pt x="40" y="129"/>
                </a:lnTo>
                <a:lnTo>
                  <a:pt x="31" y="121"/>
                </a:lnTo>
                <a:lnTo>
                  <a:pt x="24" y="113"/>
                </a:lnTo>
                <a:lnTo>
                  <a:pt x="18" y="104"/>
                </a:lnTo>
                <a:lnTo>
                  <a:pt x="13" y="94"/>
                </a:lnTo>
                <a:lnTo>
                  <a:pt x="9" y="84"/>
                </a:lnTo>
                <a:lnTo>
                  <a:pt x="7" y="73"/>
                </a:lnTo>
                <a:lnTo>
                  <a:pt x="5" y="60"/>
                </a:lnTo>
                <a:lnTo>
                  <a:pt x="2" y="48"/>
                </a:lnTo>
                <a:lnTo>
                  <a:pt x="0" y="25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225" name="Line 177"/>
          <p:cNvSpPr>
            <a:spLocks noChangeShapeType="1"/>
          </p:cNvSpPr>
          <p:nvPr>
            <p:custDataLst>
              <p:tags r:id="rId104"/>
            </p:custDataLst>
          </p:nvPr>
        </p:nvSpPr>
        <p:spPr bwMode="auto">
          <a:xfrm flipH="1" flipV="1">
            <a:off x="7615238" y="3101588"/>
            <a:ext cx="6350" cy="25003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226" name="Freeform 178"/>
          <p:cNvSpPr>
            <a:spLocks/>
          </p:cNvSpPr>
          <p:nvPr>
            <p:custDataLst>
              <p:tags r:id="rId105"/>
            </p:custDataLst>
          </p:nvPr>
        </p:nvSpPr>
        <p:spPr bwMode="auto">
          <a:xfrm>
            <a:off x="7615238" y="3089675"/>
            <a:ext cx="6350" cy="11906"/>
          </a:xfrm>
          <a:custGeom>
            <a:avLst/>
            <a:gdLst/>
            <a:ahLst/>
            <a:cxnLst>
              <a:cxn ang="0">
                <a:pos x="0" y="25"/>
              </a:cxn>
              <a:cxn ang="0">
                <a:pos x="1" y="19"/>
              </a:cxn>
              <a:cxn ang="0">
                <a:pos x="4" y="13"/>
              </a:cxn>
              <a:cxn ang="0">
                <a:pos x="8" y="6"/>
              </a:cxn>
              <a:cxn ang="0">
                <a:pos x="13" y="0"/>
              </a:cxn>
            </a:cxnLst>
            <a:rect l="0" t="0" r="r" b="b"/>
            <a:pathLst>
              <a:path w="13" h="25">
                <a:moveTo>
                  <a:pt x="0" y="25"/>
                </a:moveTo>
                <a:lnTo>
                  <a:pt x="1" y="19"/>
                </a:lnTo>
                <a:lnTo>
                  <a:pt x="4" y="13"/>
                </a:lnTo>
                <a:lnTo>
                  <a:pt x="8" y="6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227" name="Line 179"/>
          <p:cNvSpPr>
            <a:spLocks noChangeShapeType="1"/>
          </p:cNvSpPr>
          <p:nvPr>
            <p:custDataLst>
              <p:tags r:id="rId106"/>
            </p:custDataLst>
          </p:nvPr>
        </p:nvSpPr>
        <p:spPr bwMode="auto">
          <a:xfrm flipV="1">
            <a:off x="7621588" y="3080147"/>
            <a:ext cx="0" cy="9525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228" name="Freeform 180"/>
          <p:cNvSpPr>
            <a:spLocks/>
          </p:cNvSpPr>
          <p:nvPr>
            <p:custDataLst>
              <p:tags r:id="rId107"/>
            </p:custDataLst>
          </p:nvPr>
        </p:nvSpPr>
        <p:spPr bwMode="auto">
          <a:xfrm>
            <a:off x="7575555" y="3030141"/>
            <a:ext cx="46038" cy="50006"/>
          </a:xfrm>
          <a:custGeom>
            <a:avLst/>
            <a:gdLst/>
            <a:ahLst/>
            <a:cxnLst>
              <a:cxn ang="0">
                <a:pos x="100" y="123"/>
              </a:cxn>
              <a:cxn ang="0">
                <a:pos x="90" y="122"/>
              </a:cxn>
              <a:cxn ang="0">
                <a:pos x="76" y="119"/>
              </a:cxn>
              <a:cxn ang="0">
                <a:pos x="60" y="114"/>
              </a:cxn>
              <a:cxn ang="0">
                <a:pos x="43" y="107"/>
              </a:cxn>
              <a:cxn ang="0">
                <a:pos x="34" y="103"/>
              </a:cxn>
              <a:cxn ang="0">
                <a:pos x="27" y="99"/>
              </a:cxn>
              <a:cxn ang="0">
                <a:pos x="20" y="94"/>
              </a:cxn>
              <a:cxn ang="0">
                <a:pos x="13" y="89"/>
              </a:cxn>
              <a:cxn ang="0">
                <a:pos x="8" y="84"/>
              </a:cxn>
              <a:cxn ang="0">
                <a:pos x="4" y="79"/>
              </a:cxn>
              <a:cxn ang="0">
                <a:pos x="1" y="73"/>
              </a:cxn>
              <a:cxn ang="0">
                <a:pos x="0" y="68"/>
              </a:cxn>
              <a:cxn ang="0">
                <a:pos x="2" y="55"/>
              </a:cxn>
              <a:cxn ang="0">
                <a:pos x="7" y="36"/>
              </a:cxn>
              <a:cxn ang="0">
                <a:pos x="11" y="17"/>
              </a:cxn>
              <a:cxn ang="0">
                <a:pos x="13" y="0"/>
              </a:cxn>
            </a:cxnLst>
            <a:rect l="0" t="0" r="r" b="b"/>
            <a:pathLst>
              <a:path w="100" h="123">
                <a:moveTo>
                  <a:pt x="100" y="123"/>
                </a:moveTo>
                <a:lnTo>
                  <a:pt x="90" y="122"/>
                </a:lnTo>
                <a:lnTo>
                  <a:pt x="76" y="119"/>
                </a:lnTo>
                <a:lnTo>
                  <a:pt x="60" y="114"/>
                </a:lnTo>
                <a:lnTo>
                  <a:pt x="43" y="107"/>
                </a:lnTo>
                <a:lnTo>
                  <a:pt x="34" y="103"/>
                </a:lnTo>
                <a:lnTo>
                  <a:pt x="27" y="99"/>
                </a:lnTo>
                <a:lnTo>
                  <a:pt x="20" y="94"/>
                </a:lnTo>
                <a:lnTo>
                  <a:pt x="13" y="89"/>
                </a:lnTo>
                <a:lnTo>
                  <a:pt x="8" y="84"/>
                </a:lnTo>
                <a:lnTo>
                  <a:pt x="4" y="79"/>
                </a:lnTo>
                <a:lnTo>
                  <a:pt x="1" y="73"/>
                </a:lnTo>
                <a:lnTo>
                  <a:pt x="0" y="68"/>
                </a:lnTo>
                <a:lnTo>
                  <a:pt x="2" y="55"/>
                </a:lnTo>
                <a:lnTo>
                  <a:pt x="7" y="36"/>
                </a:lnTo>
                <a:lnTo>
                  <a:pt x="11" y="17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229" name="Freeform 181"/>
          <p:cNvSpPr>
            <a:spLocks/>
          </p:cNvSpPr>
          <p:nvPr>
            <p:custDataLst>
              <p:tags r:id="rId108"/>
            </p:custDataLst>
          </p:nvPr>
        </p:nvSpPr>
        <p:spPr bwMode="auto">
          <a:xfrm>
            <a:off x="7589845" y="2987278"/>
            <a:ext cx="1587" cy="38100"/>
          </a:xfrm>
          <a:custGeom>
            <a:avLst/>
            <a:gdLst/>
            <a:ahLst/>
            <a:cxnLst>
              <a:cxn ang="0">
                <a:pos x="5" y="0"/>
              </a:cxn>
              <a:cxn ang="0">
                <a:pos x="4" y="34"/>
              </a:cxn>
              <a:cxn ang="0">
                <a:pos x="1" y="59"/>
              </a:cxn>
              <a:cxn ang="0">
                <a:pos x="0" y="69"/>
              </a:cxn>
              <a:cxn ang="0">
                <a:pos x="0" y="78"/>
              </a:cxn>
              <a:cxn ang="0">
                <a:pos x="2" y="87"/>
              </a:cxn>
              <a:cxn ang="0">
                <a:pos x="5" y="99"/>
              </a:cxn>
            </a:cxnLst>
            <a:rect l="0" t="0" r="r" b="b"/>
            <a:pathLst>
              <a:path w="5" h="99">
                <a:moveTo>
                  <a:pt x="5" y="0"/>
                </a:moveTo>
                <a:lnTo>
                  <a:pt x="4" y="34"/>
                </a:lnTo>
                <a:lnTo>
                  <a:pt x="1" y="59"/>
                </a:lnTo>
                <a:lnTo>
                  <a:pt x="0" y="69"/>
                </a:lnTo>
                <a:lnTo>
                  <a:pt x="0" y="78"/>
                </a:lnTo>
                <a:lnTo>
                  <a:pt x="2" y="87"/>
                </a:lnTo>
                <a:lnTo>
                  <a:pt x="5" y="9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230" name="Freeform 182"/>
          <p:cNvSpPr>
            <a:spLocks/>
          </p:cNvSpPr>
          <p:nvPr>
            <p:custDataLst>
              <p:tags r:id="rId109"/>
            </p:custDataLst>
          </p:nvPr>
        </p:nvSpPr>
        <p:spPr bwMode="auto">
          <a:xfrm>
            <a:off x="7596188" y="2982516"/>
            <a:ext cx="7937" cy="27384"/>
          </a:xfrm>
          <a:custGeom>
            <a:avLst/>
            <a:gdLst/>
            <a:ahLst/>
            <a:cxnLst>
              <a:cxn ang="0">
                <a:pos x="14" y="0"/>
              </a:cxn>
              <a:cxn ang="0">
                <a:pos x="8" y="16"/>
              </a:cxn>
              <a:cxn ang="0">
                <a:pos x="4" y="33"/>
              </a:cxn>
              <a:cxn ang="0">
                <a:pos x="2" y="52"/>
              </a:cxn>
              <a:cxn ang="0">
                <a:pos x="0" y="68"/>
              </a:cxn>
            </a:cxnLst>
            <a:rect l="0" t="0" r="r" b="b"/>
            <a:pathLst>
              <a:path w="14" h="68">
                <a:moveTo>
                  <a:pt x="14" y="0"/>
                </a:moveTo>
                <a:lnTo>
                  <a:pt x="8" y="16"/>
                </a:lnTo>
                <a:lnTo>
                  <a:pt x="4" y="33"/>
                </a:lnTo>
                <a:lnTo>
                  <a:pt x="2" y="52"/>
                </a:lnTo>
                <a:lnTo>
                  <a:pt x="0" y="6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231" name="Freeform 183"/>
          <p:cNvSpPr>
            <a:spLocks/>
          </p:cNvSpPr>
          <p:nvPr>
            <p:custDataLst>
              <p:tags r:id="rId110"/>
            </p:custDataLst>
          </p:nvPr>
        </p:nvSpPr>
        <p:spPr bwMode="auto">
          <a:xfrm>
            <a:off x="7612070" y="2968232"/>
            <a:ext cx="1587" cy="16669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13"/>
              </a:cxn>
              <a:cxn ang="0">
                <a:pos x="0" y="26"/>
              </a:cxn>
              <a:cxn ang="0">
                <a:pos x="0" y="37"/>
              </a:cxn>
              <a:cxn ang="0">
                <a:pos x="0" y="43"/>
              </a:cxn>
            </a:cxnLst>
            <a:rect l="0" t="0" r="r" b="b"/>
            <a:pathLst>
              <a:path h="43">
                <a:moveTo>
                  <a:pt x="0" y="0"/>
                </a:moveTo>
                <a:lnTo>
                  <a:pt x="0" y="13"/>
                </a:lnTo>
                <a:lnTo>
                  <a:pt x="0" y="26"/>
                </a:lnTo>
                <a:lnTo>
                  <a:pt x="0" y="37"/>
                </a:lnTo>
                <a:lnTo>
                  <a:pt x="0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232" name="Line 184"/>
          <p:cNvSpPr>
            <a:spLocks noChangeShapeType="1"/>
          </p:cNvSpPr>
          <p:nvPr>
            <p:custDataLst>
              <p:tags r:id="rId111"/>
            </p:custDataLst>
          </p:nvPr>
        </p:nvSpPr>
        <p:spPr bwMode="auto">
          <a:xfrm flipV="1">
            <a:off x="7612070" y="2982525"/>
            <a:ext cx="1587" cy="2381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233" name="Freeform 185"/>
          <p:cNvSpPr>
            <a:spLocks/>
          </p:cNvSpPr>
          <p:nvPr>
            <p:custDataLst>
              <p:tags r:id="rId112"/>
            </p:custDataLst>
          </p:nvPr>
        </p:nvSpPr>
        <p:spPr bwMode="auto">
          <a:xfrm>
            <a:off x="7596195" y="2970613"/>
            <a:ext cx="1587" cy="11906"/>
          </a:xfrm>
          <a:custGeom>
            <a:avLst/>
            <a:gdLst/>
            <a:ahLst/>
            <a:cxnLst>
              <a:cxn ang="0">
                <a:pos x="0" y="31"/>
              </a:cxn>
              <a:cxn ang="0">
                <a:pos x="0" y="22"/>
              </a:cxn>
              <a:cxn ang="0">
                <a:pos x="0" y="15"/>
              </a:cxn>
              <a:cxn ang="0">
                <a:pos x="0" y="8"/>
              </a:cxn>
              <a:cxn ang="0">
                <a:pos x="0" y="0"/>
              </a:cxn>
            </a:cxnLst>
            <a:rect l="0" t="0" r="r" b="b"/>
            <a:pathLst>
              <a:path h="31">
                <a:moveTo>
                  <a:pt x="0" y="31"/>
                </a:moveTo>
                <a:lnTo>
                  <a:pt x="0" y="22"/>
                </a:lnTo>
                <a:lnTo>
                  <a:pt x="0" y="15"/>
                </a:lnTo>
                <a:lnTo>
                  <a:pt x="0" y="8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234" name="Freeform 186"/>
          <p:cNvSpPr>
            <a:spLocks/>
          </p:cNvSpPr>
          <p:nvPr>
            <p:custDataLst>
              <p:tags r:id="rId113"/>
            </p:custDataLst>
          </p:nvPr>
        </p:nvSpPr>
        <p:spPr bwMode="auto">
          <a:xfrm>
            <a:off x="7316795" y="3712377"/>
            <a:ext cx="96837" cy="65485"/>
          </a:xfrm>
          <a:custGeom>
            <a:avLst/>
            <a:gdLst/>
            <a:ahLst/>
            <a:cxnLst>
              <a:cxn ang="0">
                <a:pos x="19" y="158"/>
              </a:cxn>
              <a:cxn ang="0">
                <a:pos x="7" y="142"/>
              </a:cxn>
              <a:cxn ang="0">
                <a:pos x="0" y="130"/>
              </a:cxn>
              <a:cxn ang="0">
                <a:pos x="1" y="108"/>
              </a:cxn>
              <a:cxn ang="0">
                <a:pos x="11" y="68"/>
              </a:cxn>
              <a:cxn ang="0">
                <a:pos x="24" y="39"/>
              </a:cxn>
              <a:cxn ang="0">
                <a:pos x="34" y="21"/>
              </a:cxn>
              <a:cxn ang="0">
                <a:pos x="44" y="9"/>
              </a:cxn>
              <a:cxn ang="0">
                <a:pos x="54" y="1"/>
              </a:cxn>
              <a:cxn ang="0">
                <a:pos x="65" y="1"/>
              </a:cxn>
              <a:cxn ang="0">
                <a:pos x="76" y="3"/>
              </a:cxn>
              <a:cxn ang="0">
                <a:pos x="88" y="8"/>
              </a:cxn>
              <a:cxn ang="0">
                <a:pos x="100" y="17"/>
              </a:cxn>
              <a:cxn ang="0">
                <a:pos x="112" y="24"/>
              </a:cxn>
              <a:cxn ang="0">
                <a:pos x="128" y="24"/>
              </a:cxn>
              <a:cxn ang="0">
                <a:pos x="145" y="19"/>
              </a:cxn>
              <a:cxn ang="0">
                <a:pos x="165" y="7"/>
              </a:cxn>
              <a:cxn ang="0">
                <a:pos x="225" y="0"/>
              </a:cxn>
              <a:cxn ang="0">
                <a:pos x="215" y="22"/>
              </a:cxn>
              <a:cxn ang="0">
                <a:pos x="201" y="41"/>
              </a:cxn>
              <a:cxn ang="0">
                <a:pos x="168" y="72"/>
              </a:cxn>
              <a:cxn ang="0">
                <a:pos x="138" y="100"/>
              </a:cxn>
              <a:cxn ang="0">
                <a:pos x="129" y="114"/>
              </a:cxn>
              <a:cxn ang="0">
                <a:pos x="126" y="130"/>
              </a:cxn>
              <a:cxn ang="0">
                <a:pos x="123" y="126"/>
              </a:cxn>
              <a:cxn ang="0">
                <a:pos x="120" y="117"/>
              </a:cxn>
              <a:cxn ang="0">
                <a:pos x="106" y="121"/>
              </a:cxn>
              <a:cxn ang="0">
                <a:pos x="97" y="128"/>
              </a:cxn>
              <a:cxn ang="0">
                <a:pos x="80" y="145"/>
              </a:cxn>
              <a:cxn ang="0">
                <a:pos x="71" y="153"/>
              </a:cxn>
              <a:cxn ang="0">
                <a:pos x="60" y="160"/>
              </a:cxn>
              <a:cxn ang="0">
                <a:pos x="46" y="165"/>
              </a:cxn>
              <a:cxn ang="0">
                <a:pos x="26" y="167"/>
              </a:cxn>
            </a:cxnLst>
            <a:rect l="0" t="0" r="r" b="b"/>
            <a:pathLst>
              <a:path w="225" h="167">
                <a:moveTo>
                  <a:pt x="26" y="167"/>
                </a:moveTo>
                <a:lnTo>
                  <a:pt x="19" y="158"/>
                </a:lnTo>
                <a:lnTo>
                  <a:pt x="10" y="148"/>
                </a:lnTo>
                <a:lnTo>
                  <a:pt x="7" y="142"/>
                </a:lnTo>
                <a:lnTo>
                  <a:pt x="3" y="136"/>
                </a:lnTo>
                <a:lnTo>
                  <a:pt x="0" y="130"/>
                </a:lnTo>
                <a:lnTo>
                  <a:pt x="0" y="123"/>
                </a:lnTo>
                <a:lnTo>
                  <a:pt x="1" y="108"/>
                </a:lnTo>
                <a:lnTo>
                  <a:pt x="5" y="89"/>
                </a:lnTo>
                <a:lnTo>
                  <a:pt x="11" y="68"/>
                </a:lnTo>
                <a:lnTo>
                  <a:pt x="20" y="48"/>
                </a:lnTo>
                <a:lnTo>
                  <a:pt x="24" y="39"/>
                </a:lnTo>
                <a:lnTo>
                  <a:pt x="28" y="29"/>
                </a:lnTo>
                <a:lnTo>
                  <a:pt x="34" y="21"/>
                </a:lnTo>
                <a:lnTo>
                  <a:pt x="38" y="14"/>
                </a:lnTo>
                <a:lnTo>
                  <a:pt x="44" y="9"/>
                </a:lnTo>
                <a:lnTo>
                  <a:pt x="49" y="4"/>
                </a:lnTo>
                <a:lnTo>
                  <a:pt x="54" y="1"/>
                </a:lnTo>
                <a:lnTo>
                  <a:pt x="59" y="0"/>
                </a:lnTo>
                <a:lnTo>
                  <a:pt x="65" y="1"/>
                </a:lnTo>
                <a:lnTo>
                  <a:pt x="70" y="1"/>
                </a:lnTo>
                <a:lnTo>
                  <a:pt x="76" y="3"/>
                </a:lnTo>
                <a:lnTo>
                  <a:pt x="80" y="4"/>
                </a:lnTo>
                <a:lnTo>
                  <a:pt x="88" y="8"/>
                </a:lnTo>
                <a:lnTo>
                  <a:pt x="94" y="13"/>
                </a:lnTo>
                <a:lnTo>
                  <a:pt x="100" y="17"/>
                </a:lnTo>
                <a:lnTo>
                  <a:pt x="106" y="21"/>
                </a:lnTo>
                <a:lnTo>
                  <a:pt x="112" y="24"/>
                </a:lnTo>
                <a:lnTo>
                  <a:pt x="120" y="25"/>
                </a:lnTo>
                <a:lnTo>
                  <a:pt x="128" y="24"/>
                </a:lnTo>
                <a:lnTo>
                  <a:pt x="137" y="22"/>
                </a:lnTo>
                <a:lnTo>
                  <a:pt x="145" y="19"/>
                </a:lnTo>
                <a:lnTo>
                  <a:pt x="151" y="15"/>
                </a:lnTo>
                <a:lnTo>
                  <a:pt x="165" y="7"/>
                </a:lnTo>
                <a:lnTo>
                  <a:pt x="179" y="0"/>
                </a:lnTo>
                <a:lnTo>
                  <a:pt x="225" y="0"/>
                </a:lnTo>
                <a:lnTo>
                  <a:pt x="221" y="11"/>
                </a:lnTo>
                <a:lnTo>
                  <a:pt x="215" y="22"/>
                </a:lnTo>
                <a:lnTo>
                  <a:pt x="209" y="31"/>
                </a:lnTo>
                <a:lnTo>
                  <a:pt x="201" y="41"/>
                </a:lnTo>
                <a:lnTo>
                  <a:pt x="185" y="57"/>
                </a:lnTo>
                <a:lnTo>
                  <a:pt x="168" y="72"/>
                </a:lnTo>
                <a:lnTo>
                  <a:pt x="151" y="86"/>
                </a:lnTo>
                <a:lnTo>
                  <a:pt x="138" y="100"/>
                </a:lnTo>
                <a:lnTo>
                  <a:pt x="133" y="107"/>
                </a:lnTo>
                <a:lnTo>
                  <a:pt x="129" y="114"/>
                </a:lnTo>
                <a:lnTo>
                  <a:pt x="126" y="122"/>
                </a:lnTo>
                <a:lnTo>
                  <a:pt x="126" y="130"/>
                </a:lnTo>
                <a:lnTo>
                  <a:pt x="125" y="129"/>
                </a:lnTo>
                <a:lnTo>
                  <a:pt x="123" y="126"/>
                </a:lnTo>
                <a:lnTo>
                  <a:pt x="120" y="122"/>
                </a:lnTo>
                <a:lnTo>
                  <a:pt x="120" y="117"/>
                </a:lnTo>
                <a:lnTo>
                  <a:pt x="112" y="119"/>
                </a:lnTo>
                <a:lnTo>
                  <a:pt x="106" y="121"/>
                </a:lnTo>
                <a:lnTo>
                  <a:pt x="101" y="124"/>
                </a:lnTo>
                <a:lnTo>
                  <a:pt x="97" y="128"/>
                </a:lnTo>
                <a:lnTo>
                  <a:pt x="88" y="135"/>
                </a:lnTo>
                <a:lnTo>
                  <a:pt x="80" y="145"/>
                </a:lnTo>
                <a:lnTo>
                  <a:pt x="76" y="149"/>
                </a:lnTo>
                <a:lnTo>
                  <a:pt x="71" y="153"/>
                </a:lnTo>
                <a:lnTo>
                  <a:pt x="66" y="157"/>
                </a:lnTo>
                <a:lnTo>
                  <a:pt x="60" y="160"/>
                </a:lnTo>
                <a:lnTo>
                  <a:pt x="54" y="163"/>
                </a:lnTo>
                <a:lnTo>
                  <a:pt x="46" y="165"/>
                </a:lnTo>
                <a:lnTo>
                  <a:pt x="36" y="166"/>
                </a:lnTo>
                <a:lnTo>
                  <a:pt x="26" y="16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235" name="Freeform 187"/>
          <p:cNvSpPr>
            <a:spLocks/>
          </p:cNvSpPr>
          <p:nvPr>
            <p:custDataLst>
              <p:tags r:id="rId114"/>
            </p:custDataLst>
          </p:nvPr>
        </p:nvSpPr>
        <p:spPr bwMode="auto">
          <a:xfrm>
            <a:off x="7454901" y="3126588"/>
            <a:ext cx="3175" cy="13097"/>
          </a:xfrm>
          <a:custGeom>
            <a:avLst/>
            <a:gdLst/>
            <a:ahLst/>
            <a:cxnLst>
              <a:cxn ang="0">
                <a:pos x="0" y="31"/>
              </a:cxn>
              <a:cxn ang="0">
                <a:pos x="5" y="22"/>
              </a:cxn>
              <a:cxn ang="0">
                <a:pos x="6" y="13"/>
              </a:cxn>
              <a:cxn ang="0">
                <a:pos x="7" y="6"/>
              </a:cxn>
              <a:cxn ang="0">
                <a:pos x="7" y="0"/>
              </a:cxn>
              <a:cxn ang="0">
                <a:pos x="6" y="6"/>
              </a:cxn>
              <a:cxn ang="0">
                <a:pos x="4" y="13"/>
              </a:cxn>
              <a:cxn ang="0">
                <a:pos x="1" y="22"/>
              </a:cxn>
              <a:cxn ang="0">
                <a:pos x="0" y="31"/>
              </a:cxn>
            </a:cxnLst>
            <a:rect l="0" t="0" r="r" b="b"/>
            <a:pathLst>
              <a:path w="7" h="31">
                <a:moveTo>
                  <a:pt x="0" y="31"/>
                </a:moveTo>
                <a:lnTo>
                  <a:pt x="5" y="22"/>
                </a:lnTo>
                <a:lnTo>
                  <a:pt x="6" y="13"/>
                </a:lnTo>
                <a:lnTo>
                  <a:pt x="7" y="6"/>
                </a:lnTo>
                <a:lnTo>
                  <a:pt x="7" y="0"/>
                </a:lnTo>
                <a:lnTo>
                  <a:pt x="6" y="6"/>
                </a:lnTo>
                <a:lnTo>
                  <a:pt x="4" y="13"/>
                </a:lnTo>
                <a:lnTo>
                  <a:pt x="1" y="22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236" name="Freeform 188"/>
          <p:cNvSpPr>
            <a:spLocks/>
          </p:cNvSpPr>
          <p:nvPr>
            <p:custDataLst>
              <p:tags r:id="rId115"/>
            </p:custDataLst>
          </p:nvPr>
        </p:nvSpPr>
        <p:spPr bwMode="auto">
          <a:xfrm>
            <a:off x="7388227" y="3068245"/>
            <a:ext cx="15875" cy="11906"/>
          </a:xfrm>
          <a:custGeom>
            <a:avLst/>
            <a:gdLst/>
            <a:ahLst/>
            <a:cxnLst>
              <a:cxn ang="0">
                <a:pos x="33" y="31"/>
              </a:cxn>
              <a:cxn ang="0">
                <a:pos x="33" y="0"/>
              </a:cxn>
              <a:cxn ang="0">
                <a:pos x="27" y="0"/>
              </a:cxn>
              <a:cxn ang="0">
                <a:pos x="22" y="2"/>
              </a:cxn>
              <a:cxn ang="0">
                <a:pos x="16" y="5"/>
              </a:cxn>
              <a:cxn ang="0">
                <a:pos x="11" y="8"/>
              </a:cxn>
              <a:cxn ang="0">
                <a:pos x="6" y="12"/>
              </a:cxn>
              <a:cxn ang="0">
                <a:pos x="3" y="16"/>
              </a:cxn>
              <a:cxn ang="0">
                <a:pos x="1" y="21"/>
              </a:cxn>
              <a:cxn ang="0">
                <a:pos x="0" y="25"/>
              </a:cxn>
              <a:cxn ang="0">
                <a:pos x="1" y="27"/>
              </a:cxn>
              <a:cxn ang="0">
                <a:pos x="3" y="29"/>
              </a:cxn>
              <a:cxn ang="0">
                <a:pos x="6" y="30"/>
              </a:cxn>
              <a:cxn ang="0">
                <a:pos x="11" y="30"/>
              </a:cxn>
              <a:cxn ang="0">
                <a:pos x="22" y="31"/>
              </a:cxn>
              <a:cxn ang="0">
                <a:pos x="33" y="31"/>
              </a:cxn>
            </a:cxnLst>
            <a:rect l="0" t="0" r="r" b="b"/>
            <a:pathLst>
              <a:path w="33" h="31">
                <a:moveTo>
                  <a:pt x="33" y="31"/>
                </a:moveTo>
                <a:lnTo>
                  <a:pt x="33" y="0"/>
                </a:lnTo>
                <a:lnTo>
                  <a:pt x="27" y="0"/>
                </a:lnTo>
                <a:lnTo>
                  <a:pt x="22" y="2"/>
                </a:lnTo>
                <a:lnTo>
                  <a:pt x="16" y="5"/>
                </a:lnTo>
                <a:lnTo>
                  <a:pt x="11" y="8"/>
                </a:lnTo>
                <a:lnTo>
                  <a:pt x="6" y="12"/>
                </a:lnTo>
                <a:lnTo>
                  <a:pt x="3" y="16"/>
                </a:lnTo>
                <a:lnTo>
                  <a:pt x="1" y="21"/>
                </a:lnTo>
                <a:lnTo>
                  <a:pt x="0" y="25"/>
                </a:lnTo>
                <a:lnTo>
                  <a:pt x="1" y="27"/>
                </a:lnTo>
                <a:lnTo>
                  <a:pt x="3" y="29"/>
                </a:lnTo>
                <a:lnTo>
                  <a:pt x="6" y="30"/>
                </a:lnTo>
                <a:lnTo>
                  <a:pt x="11" y="30"/>
                </a:lnTo>
                <a:lnTo>
                  <a:pt x="22" y="31"/>
                </a:lnTo>
                <a:lnTo>
                  <a:pt x="33" y="3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237" name="Freeform 189"/>
          <p:cNvSpPr>
            <a:spLocks/>
          </p:cNvSpPr>
          <p:nvPr>
            <p:custDataLst>
              <p:tags r:id="rId116"/>
            </p:custDataLst>
          </p:nvPr>
        </p:nvSpPr>
        <p:spPr bwMode="auto">
          <a:xfrm>
            <a:off x="7404105" y="3002756"/>
            <a:ext cx="3175" cy="7144"/>
          </a:xfrm>
          <a:custGeom>
            <a:avLst/>
            <a:gdLst/>
            <a:ahLst/>
            <a:cxnLst>
              <a:cxn ang="0">
                <a:pos x="0" y="19"/>
              </a:cxn>
              <a:cxn ang="0">
                <a:pos x="2" y="18"/>
              </a:cxn>
              <a:cxn ang="0">
                <a:pos x="5" y="17"/>
              </a:cxn>
              <a:cxn ang="0">
                <a:pos x="7" y="15"/>
              </a:cxn>
              <a:cxn ang="0">
                <a:pos x="8" y="12"/>
              </a:cxn>
              <a:cxn ang="0">
                <a:pos x="12" y="6"/>
              </a:cxn>
              <a:cxn ang="0">
                <a:pos x="13" y="0"/>
              </a:cxn>
              <a:cxn ang="0">
                <a:pos x="0" y="19"/>
              </a:cxn>
            </a:cxnLst>
            <a:rect l="0" t="0" r="r" b="b"/>
            <a:pathLst>
              <a:path w="13" h="19">
                <a:moveTo>
                  <a:pt x="0" y="19"/>
                </a:moveTo>
                <a:lnTo>
                  <a:pt x="2" y="18"/>
                </a:lnTo>
                <a:lnTo>
                  <a:pt x="5" y="17"/>
                </a:lnTo>
                <a:lnTo>
                  <a:pt x="7" y="15"/>
                </a:lnTo>
                <a:lnTo>
                  <a:pt x="8" y="12"/>
                </a:lnTo>
                <a:lnTo>
                  <a:pt x="12" y="6"/>
                </a:lnTo>
                <a:lnTo>
                  <a:pt x="13" y="0"/>
                </a:lnTo>
                <a:lnTo>
                  <a:pt x="0" y="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238" name="Freeform 190"/>
          <p:cNvSpPr>
            <a:spLocks/>
          </p:cNvSpPr>
          <p:nvPr>
            <p:custDataLst>
              <p:tags r:id="rId117"/>
            </p:custDataLst>
          </p:nvPr>
        </p:nvSpPr>
        <p:spPr bwMode="auto">
          <a:xfrm>
            <a:off x="7243766" y="3005142"/>
            <a:ext cx="36512" cy="16669"/>
          </a:xfrm>
          <a:custGeom>
            <a:avLst/>
            <a:gdLst/>
            <a:ahLst/>
            <a:cxnLst>
              <a:cxn ang="0">
                <a:pos x="54" y="42"/>
              </a:cxn>
              <a:cxn ang="0">
                <a:pos x="59" y="42"/>
              </a:cxn>
              <a:cxn ang="0">
                <a:pos x="64" y="41"/>
              </a:cxn>
              <a:cxn ang="0">
                <a:pos x="68" y="40"/>
              </a:cxn>
              <a:cxn ang="0">
                <a:pos x="71" y="38"/>
              </a:cxn>
              <a:cxn ang="0">
                <a:pos x="75" y="34"/>
              </a:cxn>
              <a:cxn ang="0">
                <a:pos x="78" y="28"/>
              </a:cxn>
              <a:cxn ang="0">
                <a:pos x="79" y="22"/>
              </a:cxn>
              <a:cxn ang="0">
                <a:pos x="80" y="16"/>
              </a:cxn>
              <a:cxn ang="0">
                <a:pos x="82" y="11"/>
              </a:cxn>
              <a:cxn ang="0">
                <a:pos x="87" y="6"/>
              </a:cxn>
              <a:cxn ang="0">
                <a:pos x="77" y="2"/>
              </a:cxn>
              <a:cxn ang="0">
                <a:pos x="67" y="0"/>
              </a:cxn>
              <a:cxn ang="0">
                <a:pos x="57" y="0"/>
              </a:cxn>
              <a:cxn ang="0">
                <a:pos x="47" y="0"/>
              </a:cxn>
              <a:cxn ang="0">
                <a:pos x="40" y="0"/>
              </a:cxn>
              <a:cxn ang="0">
                <a:pos x="32" y="2"/>
              </a:cxn>
              <a:cxn ang="0">
                <a:pos x="25" y="4"/>
              </a:cxn>
              <a:cxn ang="0">
                <a:pos x="19" y="6"/>
              </a:cxn>
              <a:cxn ang="0">
                <a:pos x="8" y="12"/>
              </a:cxn>
              <a:cxn ang="0">
                <a:pos x="0" y="18"/>
              </a:cxn>
              <a:cxn ang="0">
                <a:pos x="11" y="24"/>
              </a:cxn>
              <a:cxn ang="0">
                <a:pos x="27" y="32"/>
              </a:cxn>
              <a:cxn ang="0">
                <a:pos x="43" y="39"/>
              </a:cxn>
              <a:cxn ang="0">
                <a:pos x="54" y="42"/>
              </a:cxn>
            </a:cxnLst>
            <a:rect l="0" t="0" r="r" b="b"/>
            <a:pathLst>
              <a:path w="87" h="42">
                <a:moveTo>
                  <a:pt x="54" y="42"/>
                </a:moveTo>
                <a:lnTo>
                  <a:pt x="59" y="42"/>
                </a:lnTo>
                <a:lnTo>
                  <a:pt x="64" y="41"/>
                </a:lnTo>
                <a:lnTo>
                  <a:pt x="68" y="40"/>
                </a:lnTo>
                <a:lnTo>
                  <a:pt x="71" y="38"/>
                </a:lnTo>
                <a:lnTo>
                  <a:pt x="75" y="34"/>
                </a:lnTo>
                <a:lnTo>
                  <a:pt x="78" y="28"/>
                </a:lnTo>
                <a:lnTo>
                  <a:pt x="79" y="22"/>
                </a:lnTo>
                <a:lnTo>
                  <a:pt x="80" y="16"/>
                </a:lnTo>
                <a:lnTo>
                  <a:pt x="82" y="11"/>
                </a:lnTo>
                <a:lnTo>
                  <a:pt x="87" y="6"/>
                </a:lnTo>
                <a:lnTo>
                  <a:pt x="77" y="2"/>
                </a:lnTo>
                <a:lnTo>
                  <a:pt x="67" y="0"/>
                </a:lnTo>
                <a:lnTo>
                  <a:pt x="57" y="0"/>
                </a:lnTo>
                <a:lnTo>
                  <a:pt x="47" y="0"/>
                </a:lnTo>
                <a:lnTo>
                  <a:pt x="40" y="0"/>
                </a:lnTo>
                <a:lnTo>
                  <a:pt x="32" y="2"/>
                </a:lnTo>
                <a:lnTo>
                  <a:pt x="25" y="4"/>
                </a:lnTo>
                <a:lnTo>
                  <a:pt x="19" y="6"/>
                </a:lnTo>
                <a:lnTo>
                  <a:pt x="8" y="12"/>
                </a:lnTo>
                <a:lnTo>
                  <a:pt x="0" y="18"/>
                </a:lnTo>
                <a:lnTo>
                  <a:pt x="11" y="24"/>
                </a:lnTo>
                <a:lnTo>
                  <a:pt x="27" y="32"/>
                </a:lnTo>
                <a:lnTo>
                  <a:pt x="43" y="39"/>
                </a:lnTo>
                <a:lnTo>
                  <a:pt x="54" y="4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239" name="Freeform 191"/>
          <p:cNvSpPr>
            <a:spLocks/>
          </p:cNvSpPr>
          <p:nvPr>
            <p:custDataLst>
              <p:tags r:id="rId118"/>
            </p:custDataLst>
          </p:nvPr>
        </p:nvSpPr>
        <p:spPr bwMode="auto">
          <a:xfrm>
            <a:off x="7488245" y="3352800"/>
            <a:ext cx="1587" cy="10716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7" y="0"/>
              </a:cxn>
              <a:cxn ang="0">
                <a:pos x="7" y="18"/>
              </a:cxn>
              <a:cxn ang="0">
                <a:pos x="0" y="31"/>
              </a:cxn>
              <a:cxn ang="0">
                <a:pos x="0" y="0"/>
              </a:cxn>
            </a:cxnLst>
            <a:rect l="0" t="0" r="r" b="b"/>
            <a:pathLst>
              <a:path w="7" h="31">
                <a:moveTo>
                  <a:pt x="0" y="0"/>
                </a:moveTo>
                <a:lnTo>
                  <a:pt x="7" y="0"/>
                </a:lnTo>
                <a:lnTo>
                  <a:pt x="7" y="18"/>
                </a:lnTo>
                <a:lnTo>
                  <a:pt x="0" y="31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240" name="Freeform 192"/>
          <p:cNvSpPr>
            <a:spLocks/>
          </p:cNvSpPr>
          <p:nvPr>
            <p:custDataLst>
              <p:tags r:id="rId119"/>
            </p:custDataLst>
          </p:nvPr>
        </p:nvSpPr>
        <p:spPr bwMode="auto">
          <a:xfrm>
            <a:off x="6724650" y="2982519"/>
            <a:ext cx="1019175" cy="681038"/>
          </a:xfrm>
          <a:custGeom>
            <a:avLst/>
            <a:gdLst/>
            <a:ahLst/>
            <a:cxnLst>
              <a:cxn ang="0">
                <a:pos x="214" y="707"/>
              </a:cxn>
              <a:cxn ang="0">
                <a:pos x="325" y="649"/>
              </a:cxn>
              <a:cxn ang="0">
                <a:pos x="435" y="606"/>
              </a:cxn>
              <a:cxn ang="0">
                <a:pos x="605" y="570"/>
              </a:cxn>
              <a:cxn ang="0">
                <a:pos x="677" y="437"/>
              </a:cxn>
              <a:cxn ang="0">
                <a:pos x="758" y="439"/>
              </a:cxn>
              <a:cxn ang="0">
                <a:pos x="784" y="363"/>
              </a:cxn>
              <a:cxn ang="0">
                <a:pos x="866" y="316"/>
              </a:cxn>
              <a:cxn ang="0">
                <a:pos x="939" y="246"/>
              </a:cxn>
              <a:cxn ang="0">
                <a:pos x="1027" y="223"/>
              </a:cxn>
              <a:cxn ang="0">
                <a:pos x="1078" y="284"/>
              </a:cxn>
              <a:cxn ang="0">
                <a:pos x="1135" y="270"/>
              </a:cxn>
              <a:cxn ang="0">
                <a:pos x="1176" y="172"/>
              </a:cxn>
              <a:cxn ang="0">
                <a:pos x="1320" y="117"/>
              </a:cxn>
              <a:cxn ang="0">
                <a:pos x="1336" y="41"/>
              </a:cxn>
              <a:cxn ang="0">
                <a:pos x="1432" y="107"/>
              </a:cxn>
              <a:cxn ang="0">
                <a:pos x="1544" y="117"/>
              </a:cxn>
              <a:cxn ang="0">
                <a:pos x="1465" y="262"/>
              </a:cxn>
              <a:cxn ang="0">
                <a:pos x="1509" y="333"/>
              </a:cxn>
              <a:cxn ang="0">
                <a:pos x="1582" y="354"/>
              </a:cxn>
              <a:cxn ang="0">
                <a:pos x="1668" y="423"/>
              </a:cxn>
              <a:cxn ang="0">
                <a:pos x="1764" y="413"/>
              </a:cxn>
              <a:cxn ang="0">
                <a:pos x="1830" y="205"/>
              </a:cxn>
              <a:cxn ang="0">
                <a:pos x="1904" y="10"/>
              </a:cxn>
              <a:cxn ang="0">
                <a:pos x="1933" y="80"/>
              </a:cxn>
              <a:cxn ang="0">
                <a:pos x="1944" y="176"/>
              </a:cxn>
              <a:cxn ang="0">
                <a:pos x="1986" y="240"/>
              </a:cxn>
              <a:cxn ang="0">
                <a:pos x="2040" y="429"/>
              </a:cxn>
              <a:cxn ang="0">
                <a:pos x="2089" y="540"/>
              </a:cxn>
              <a:cxn ang="0">
                <a:pos x="2163" y="686"/>
              </a:cxn>
              <a:cxn ang="0">
                <a:pos x="2219" y="769"/>
              </a:cxn>
              <a:cxn ang="0">
                <a:pos x="2332" y="892"/>
              </a:cxn>
              <a:cxn ang="0">
                <a:pos x="2276" y="1105"/>
              </a:cxn>
              <a:cxn ang="0">
                <a:pos x="2087" y="1362"/>
              </a:cxn>
              <a:cxn ang="0">
                <a:pos x="2005" y="1432"/>
              </a:cxn>
              <a:cxn ang="0">
                <a:pos x="1838" y="1591"/>
              </a:cxn>
              <a:cxn ang="0">
                <a:pos x="1749" y="1676"/>
              </a:cxn>
              <a:cxn ang="0">
                <a:pos x="1589" y="1726"/>
              </a:cxn>
              <a:cxn ang="0">
                <a:pos x="1517" y="1693"/>
              </a:cxn>
              <a:cxn ang="0">
                <a:pos x="1410" y="1729"/>
              </a:cxn>
              <a:cxn ang="0">
                <a:pos x="1297" y="1693"/>
              </a:cxn>
              <a:cxn ang="0">
                <a:pos x="1279" y="1614"/>
              </a:cxn>
              <a:cxn ang="0">
                <a:pos x="1263" y="1516"/>
              </a:cxn>
              <a:cxn ang="0">
                <a:pos x="1225" y="1500"/>
              </a:cxn>
              <a:cxn ang="0">
                <a:pos x="1280" y="1382"/>
              </a:cxn>
              <a:cxn ang="0">
                <a:pos x="1088" y="1362"/>
              </a:cxn>
              <a:cxn ang="0">
                <a:pos x="961" y="1282"/>
              </a:cxn>
              <a:cxn ang="0">
                <a:pos x="754" y="1323"/>
              </a:cxn>
              <a:cxn ang="0">
                <a:pos x="507" y="1419"/>
              </a:cxn>
              <a:cxn ang="0">
                <a:pos x="214" y="1473"/>
              </a:cxn>
              <a:cxn ang="0">
                <a:pos x="55" y="1490"/>
              </a:cxn>
              <a:cxn ang="0">
                <a:pos x="2" y="1423"/>
              </a:cxn>
              <a:cxn ang="0">
                <a:pos x="97" y="1344"/>
              </a:cxn>
              <a:cxn ang="0">
                <a:pos x="75" y="1241"/>
              </a:cxn>
              <a:cxn ang="0">
                <a:pos x="113" y="1170"/>
              </a:cxn>
              <a:cxn ang="0">
                <a:pos x="58" y="943"/>
              </a:cxn>
              <a:cxn ang="0">
                <a:pos x="113" y="964"/>
              </a:cxn>
              <a:cxn ang="0">
                <a:pos x="106" y="862"/>
              </a:cxn>
              <a:cxn ang="0">
                <a:pos x="147" y="765"/>
              </a:cxn>
            </a:cxnLst>
            <a:rect l="0" t="0" r="r" b="b"/>
            <a:pathLst>
              <a:path w="2332" h="1731">
                <a:moveTo>
                  <a:pt x="153" y="721"/>
                </a:moveTo>
                <a:lnTo>
                  <a:pt x="156" y="727"/>
                </a:lnTo>
                <a:lnTo>
                  <a:pt x="159" y="732"/>
                </a:lnTo>
                <a:lnTo>
                  <a:pt x="162" y="735"/>
                </a:lnTo>
                <a:lnTo>
                  <a:pt x="167" y="738"/>
                </a:lnTo>
                <a:lnTo>
                  <a:pt x="173" y="744"/>
                </a:lnTo>
                <a:lnTo>
                  <a:pt x="180" y="751"/>
                </a:lnTo>
                <a:lnTo>
                  <a:pt x="189" y="744"/>
                </a:lnTo>
                <a:lnTo>
                  <a:pt x="195" y="737"/>
                </a:lnTo>
                <a:lnTo>
                  <a:pt x="201" y="729"/>
                </a:lnTo>
                <a:lnTo>
                  <a:pt x="205" y="722"/>
                </a:lnTo>
                <a:lnTo>
                  <a:pt x="210" y="714"/>
                </a:lnTo>
                <a:lnTo>
                  <a:pt x="214" y="707"/>
                </a:lnTo>
                <a:lnTo>
                  <a:pt x="219" y="701"/>
                </a:lnTo>
                <a:lnTo>
                  <a:pt x="226" y="696"/>
                </a:lnTo>
                <a:lnTo>
                  <a:pt x="234" y="690"/>
                </a:lnTo>
                <a:lnTo>
                  <a:pt x="241" y="685"/>
                </a:lnTo>
                <a:lnTo>
                  <a:pt x="249" y="680"/>
                </a:lnTo>
                <a:lnTo>
                  <a:pt x="258" y="677"/>
                </a:lnTo>
                <a:lnTo>
                  <a:pt x="274" y="672"/>
                </a:lnTo>
                <a:lnTo>
                  <a:pt x="290" y="667"/>
                </a:lnTo>
                <a:lnTo>
                  <a:pt x="297" y="665"/>
                </a:lnTo>
                <a:lnTo>
                  <a:pt x="305" y="661"/>
                </a:lnTo>
                <a:lnTo>
                  <a:pt x="312" y="658"/>
                </a:lnTo>
                <a:lnTo>
                  <a:pt x="318" y="654"/>
                </a:lnTo>
                <a:lnTo>
                  <a:pt x="325" y="649"/>
                </a:lnTo>
                <a:lnTo>
                  <a:pt x="330" y="644"/>
                </a:lnTo>
                <a:lnTo>
                  <a:pt x="335" y="637"/>
                </a:lnTo>
                <a:lnTo>
                  <a:pt x="339" y="628"/>
                </a:lnTo>
                <a:lnTo>
                  <a:pt x="360" y="631"/>
                </a:lnTo>
                <a:lnTo>
                  <a:pt x="370" y="631"/>
                </a:lnTo>
                <a:lnTo>
                  <a:pt x="375" y="629"/>
                </a:lnTo>
                <a:lnTo>
                  <a:pt x="385" y="628"/>
                </a:lnTo>
                <a:lnTo>
                  <a:pt x="393" y="628"/>
                </a:lnTo>
                <a:lnTo>
                  <a:pt x="400" y="627"/>
                </a:lnTo>
                <a:lnTo>
                  <a:pt x="405" y="624"/>
                </a:lnTo>
                <a:lnTo>
                  <a:pt x="412" y="622"/>
                </a:lnTo>
                <a:lnTo>
                  <a:pt x="423" y="615"/>
                </a:lnTo>
                <a:lnTo>
                  <a:pt x="435" y="606"/>
                </a:lnTo>
                <a:lnTo>
                  <a:pt x="447" y="598"/>
                </a:lnTo>
                <a:lnTo>
                  <a:pt x="461" y="592"/>
                </a:lnTo>
                <a:lnTo>
                  <a:pt x="469" y="589"/>
                </a:lnTo>
                <a:lnTo>
                  <a:pt x="478" y="587"/>
                </a:lnTo>
                <a:lnTo>
                  <a:pt x="487" y="585"/>
                </a:lnTo>
                <a:lnTo>
                  <a:pt x="498" y="585"/>
                </a:lnTo>
                <a:lnTo>
                  <a:pt x="520" y="585"/>
                </a:lnTo>
                <a:lnTo>
                  <a:pt x="544" y="584"/>
                </a:lnTo>
                <a:lnTo>
                  <a:pt x="558" y="584"/>
                </a:lnTo>
                <a:lnTo>
                  <a:pt x="570" y="582"/>
                </a:lnTo>
                <a:lnTo>
                  <a:pt x="581" y="581"/>
                </a:lnTo>
                <a:lnTo>
                  <a:pt x="592" y="579"/>
                </a:lnTo>
                <a:lnTo>
                  <a:pt x="605" y="570"/>
                </a:lnTo>
                <a:lnTo>
                  <a:pt x="619" y="558"/>
                </a:lnTo>
                <a:lnTo>
                  <a:pt x="635" y="542"/>
                </a:lnTo>
                <a:lnTo>
                  <a:pt x="650" y="525"/>
                </a:lnTo>
                <a:lnTo>
                  <a:pt x="664" y="508"/>
                </a:lnTo>
                <a:lnTo>
                  <a:pt x="677" y="490"/>
                </a:lnTo>
                <a:lnTo>
                  <a:pt x="688" y="475"/>
                </a:lnTo>
                <a:lnTo>
                  <a:pt x="698" y="462"/>
                </a:lnTo>
                <a:lnTo>
                  <a:pt x="695" y="461"/>
                </a:lnTo>
                <a:lnTo>
                  <a:pt x="693" y="459"/>
                </a:lnTo>
                <a:lnTo>
                  <a:pt x="691" y="456"/>
                </a:lnTo>
                <a:lnTo>
                  <a:pt x="688" y="452"/>
                </a:lnTo>
                <a:lnTo>
                  <a:pt x="683" y="444"/>
                </a:lnTo>
                <a:lnTo>
                  <a:pt x="677" y="437"/>
                </a:lnTo>
                <a:lnTo>
                  <a:pt x="688" y="432"/>
                </a:lnTo>
                <a:lnTo>
                  <a:pt x="697" y="426"/>
                </a:lnTo>
                <a:lnTo>
                  <a:pt x="705" y="419"/>
                </a:lnTo>
                <a:lnTo>
                  <a:pt x="710" y="413"/>
                </a:lnTo>
                <a:lnTo>
                  <a:pt x="716" y="406"/>
                </a:lnTo>
                <a:lnTo>
                  <a:pt x="721" y="399"/>
                </a:lnTo>
                <a:lnTo>
                  <a:pt x="729" y="393"/>
                </a:lnTo>
                <a:lnTo>
                  <a:pt x="738" y="388"/>
                </a:lnTo>
                <a:lnTo>
                  <a:pt x="739" y="399"/>
                </a:lnTo>
                <a:lnTo>
                  <a:pt x="741" y="409"/>
                </a:lnTo>
                <a:lnTo>
                  <a:pt x="744" y="418"/>
                </a:lnTo>
                <a:lnTo>
                  <a:pt x="749" y="425"/>
                </a:lnTo>
                <a:lnTo>
                  <a:pt x="758" y="439"/>
                </a:lnTo>
                <a:lnTo>
                  <a:pt x="764" y="450"/>
                </a:lnTo>
                <a:lnTo>
                  <a:pt x="768" y="437"/>
                </a:lnTo>
                <a:lnTo>
                  <a:pt x="770" y="428"/>
                </a:lnTo>
                <a:lnTo>
                  <a:pt x="771" y="418"/>
                </a:lnTo>
                <a:lnTo>
                  <a:pt x="771" y="406"/>
                </a:lnTo>
                <a:lnTo>
                  <a:pt x="775" y="402"/>
                </a:lnTo>
                <a:lnTo>
                  <a:pt x="776" y="397"/>
                </a:lnTo>
                <a:lnTo>
                  <a:pt x="777" y="391"/>
                </a:lnTo>
                <a:lnTo>
                  <a:pt x="777" y="385"/>
                </a:lnTo>
                <a:lnTo>
                  <a:pt x="777" y="379"/>
                </a:lnTo>
                <a:lnTo>
                  <a:pt x="778" y="373"/>
                </a:lnTo>
                <a:lnTo>
                  <a:pt x="781" y="368"/>
                </a:lnTo>
                <a:lnTo>
                  <a:pt x="784" y="363"/>
                </a:lnTo>
                <a:lnTo>
                  <a:pt x="787" y="370"/>
                </a:lnTo>
                <a:lnTo>
                  <a:pt x="790" y="381"/>
                </a:lnTo>
                <a:lnTo>
                  <a:pt x="838" y="381"/>
                </a:lnTo>
                <a:lnTo>
                  <a:pt x="833" y="369"/>
                </a:lnTo>
                <a:lnTo>
                  <a:pt x="832" y="358"/>
                </a:lnTo>
                <a:lnTo>
                  <a:pt x="831" y="349"/>
                </a:lnTo>
                <a:lnTo>
                  <a:pt x="832" y="341"/>
                </a:lnTo>
                <a:lnTo>
                  <a:pt x="835" y="327"/>
                </a:lnTo>
                <a:lnTo>
                  <a:pt x="838" y="314"/>
                </a:lnTo>
                <a:lnTo>
                  <a:pt x="852" y="315"/>
                </a:lnTo>
                <a:lnTo>
                  <a:pt x="860" y="316"/>
                </a:lnTo>
                <a:lnTo>
                  <a:pt x="863" y="316"/>
                </a:lnTo>
                <a:lnTo>
                  <a:pt x="866" y="316"/>
                </a:lnTo>
                <a:lnTo>
                  <a:pt x="871" y="315"/>
                </a:lnTo>
                <a:lnTo>
                  <a:pt x="877" y="314"/>
                </a:lnTo>
                <a:lnTo>
                  <a:pt x="885" y="295"/>
                </a:lnTo>
                <a:lnTo>
                  <a:pt x="891" y="281"/>
                </a:lnTo>
                <a:lnTo>
                  <a:pt x="898" y="268"/>
                </a:lnTo>
                <a:lnTo>
                  <a:pt x="910" y="252"/>
                </a:lnTo>
                <a:lnTo>
                  <a:pt x="916" y="255"/>
                </a:lnTo>
                <a:lnTo>
                  <a:pt x="921" y="256"/>
                </a:lnTo>
                <a:lnTo>
                  <a:pt x="925" y="256"/>
                </a:lnTo>
                <a:lnTo>
                  <a:pt x="930" y="255"/>
                </a:lnTo>
                <a:lnTo>
                  <a:pt x="933" y="253"/>
                </a:lnTo>
                <a:lnTo>
                  <a:pt x="935" y="250"/>
                </a:lnTo>
                <a:lnTo>
                  <a:pt x="939" y="246"/>
                </a:lnTo>
                <a:lnTo>
                  <a:pt x="940" y="242"/>
                </a:lnTo>
                <a:lnTo>
                  <a:pt x="946" y="224"/>
                </a:lnTo>
                <a:lnTo>
                  <a:pt x="951" y="209"/>
                </a:lnTo>
                <a:lnTo>
                  <a:pt x="957" y="212"/>
                </a:lnTo>
                <a:lnTo>
                  <a:pt x="965" y="214"/>
                </a:lnTo>
                <a:lnTo>
                  <a:pt x="973" y="215"/>
                </a:lnTo>
                <a:lnTo>
                  <a:pt x="980" y="214"/>
                </a:lnTo>
                <a:lnTo>
                  <a:pt x="989" y="214"/>
                </a:lnTo>
                <a:lnTo>
                  <a:pt x="998" y="213"/>
                </a:lnTo>
                <a:lnTo>
                  <a:pt x="1007" y="213"/>
                </a:lnTo>
                <a:lnTo>
                  <a:pt x="1017" y="215"/>
                </a:lnTo>
                <a:lnTo>
                  <a:pt x="1022" y="219"/>
                </a:lnTo>
                <a:lnTo>
                  <a:pt x="1027" y="223"/>
                </a:lnTo>
                <a:lnTo>
                  <a:pt x="1031" y="227"/>
                </a:lnTo>
                <a:lnTo>
                  <a:pt x="1033" y="232"/>
                </a:lnTo>
                <a:lnTo>
                  <a:pt x="1037" y="244"/>
                </a:lnTo>
                <a:lnTo>
                  <a:pt x="1040" y="257"/>
                </a:lnTo>
                <a:lnTo>
                  <a:pt x="1043" y="269"/>
                </a:lnTo>
                <a:lnTo>
                  <a:pt x="1046" y="280"/>
                </a:lnTo>
                <a:lnTo>
                  <a:pt x="1050" y="284"/>
                </a:lnTo>
                <a:lnTo>
                  <a:pt x="1053" y="287"/>
                </a:lnTo>
                <a:lnTo>
                  <a:pt x="1057" y="289"/>
                </a:lnTo>
                <a:lnTo>
                  <a:pt x="1063" y="290"/>
                </a:lnTo>
                <a:lnTo>
                  <a:pt x="1069" y="289"/>
                </a:lnTo>
                <a:lnTo>
                  <a:pt x="1076" y="286"/>
                </a:lnTo>
                <a:lnTo>
                  <a:pt x="1078" y="284"/>
                </a:lnTo>
                <a:lnTo>
                  <a:pt x="1081" y="282"/>
                </a:lnTo>
                <a:lnTo>
                  <a:pt x="1083" y="280"/>
                </a:lnTo>
                <a:lnTo>
                  <a:pt x="1084" y="277"/>
                </a:lnTo>
                <a:lnTo>
                  <a:pt x="1088" y="279"/>
                </a:lnTo>
                <a:lnTo>
                  <a:pt x="1092" y="280"/>
                </a:lnTo>
                <a:lnTo>
                  <a:pt x="1096" y="280"/>
                </a:lnTo>
                <a:lnTo>
                  <a:pt x="1099" y="280"/>
                </a:lnTo>
                <a:lnTo>
                  <a:pt x="1104" y="278"/>
                </a:lnTo>
                <a:lnTo>
                  <a:pt x="1110" y="277"/>
                </a:lnTo>
                <a:lnTo>
                  <a:pt x="1120" y="277"/>
                </a:lnTo>
                <a:lnTo>
                  <a:pt x="1128" y="276"/>
                </a:lnTo>
                <a:lnTo>
                  <a:pt x="1133" y="274"/>
                </a:lnTo>
                <a:lnTo>
                  <a:pt x="1135" y="270"/>
                </a:lnTo>
                <a:lnTo>
                  <a:pt x="1136" y="261"/>
                </a:lnTo>
                <a:lnTo>
                  <a:pt x="1136" y="246"/>
                </a:lnTo>
                <a:lnTo>
                  <a:pt x="1136" y="240"/>
                </a:lnTo>
                <a:lnTo>
                  <a:pt x="1137" y="234"/>
                </a:lnTo>
                <a:lnTo>
                  <a:pt x="1140" y="228"/>
                </a:lnTo>
                <a:lnTo>
                  <a:pt x="1143" y="223"/>
                </a:lnTo>
                <a:lnTo>
                  <a:pt x="1148" y="212"/>
                </a:lnTo>
                <a:lnTo>
                  <a:pt x="1156" y="204"/>
                </a:lnTo>
                <a:lnTo>
                  <a:pt x="1164" y="195"/>
                </a:lnTo>
                <a:lnTo>
                  <a:pt x="1170" y="186"/>
                </a:lnTo>
                <a:lnTo>
                  <a:pt x="1173" y="182"/>
                </a:lnTo>
                <a:lnTo>
                  <a:pt x="1175" y="177"/>
                </a:lnTo>
                <a:lnTo>
                  <a:pt x="1176" y="172"/>
                </a:lnTo>
                <a:lnTo>
                  <a:pt x="1176" y="167"/>
                </a:lnTo>
                <a:lnTo>
                  <a:pt x="1189" y="154"/>
                </a:lnTo>
                <a:lnTo>
                  <a:pt x="1201" y="146"/>
                </a:lnTo>
                <a:lnTo>
                  <a:pt x="1213" y="139"/>
                </a:lnTo>
                <a:lnTo>
                  <a:pt x="1225" y="134"/>
                </a:lnTo>
                <a:lnTo>
                  <a:pt x="1237" y="131"/>
                </a:lnTo>
                <a:lnTo>
                  <a:pt x="1248" y="128"/>
                </a:lnTo>
                <a:lnTo>
                  <a:pt x="1259" y="127"/>
                </a:lnTo>
                <a:lnTo>
                  <a:pt x="1270" y="126"/>
                </a:lnTo>
                <a:lnTo>
                  <a:pt x="1289" y="125"/>
                </a:lnTo>
                <a:lnTo>
                  <a:pt x="1305" y="123"/>
                </a:lnTo>
                <a:lnTo>
                  <a:pt x="1313" y="121"/>
                </a:lnTo>
                <a:lnTo>
                  <a:pt x="1320" y="117"/>
                </a:lnTo>
                <a:lnTo>
                  <a:pt x="1324" y="112"/>
                </a:lnTo>
                <a:lnTo>
                  <a:pt x="1328" y="104"/>
                </a:lnTo>
                <a:lnTo>
                  <a:pt x="1322" y="94"/>
                </a:lnTo>
                <a:lnTo>
                  <a:pt x="1314" y="86"/>
                </a:lnTo>
                <a:lnTo>
                  <a:pt x="1308" y="80"/>
                </a:lnTo>
                <a:lnTo>
                  <a:pt x="1301" y="75"/>
                </a:lnTo>
                <a:lnTo>
                  <a:pt x="1297" y="69"/>
                </a:lnTo>
                <a:lnTo>
                  <a:pt x="1292" y="64"/>
                </a:lnTo>
                <a:lnTo>
                  <a:pt x="1290" y="58"/>
                </a:lnTo>
                <a:lnTo>
                  <a:pt x="1289" y="49"/>
                </a:lnTo>
                <a:lnTo>
                  <a:pt x="1305" y="48"/>
                </a:lnTo>
                <a:lnTo>
                  <a:pt x="1322" y="45"/>
                </a:lnTo>
                <a:lnTo>
                  <a:pt x="1336" y="41"/>
                </a:lnTo>
                <a:lnTo>
                  <a:pt x="1349" y="36"/>
                </a:lnTo>
                <a:lnTo>
                  <a:pt x="1352" y="46"/>
                </a:lnTo>
                <a:lnTo>
                  <a:pt x="1356" y="56"/>
                </a:lnTo>
                <a:lnTo>
                  <a:pt x="1360" y="64"/>
                </a:lnTo>
                <a:lnTo>
                  <a:pt x="1366" y="72"/>
                </a:lnTo>
                <a:lnTo>
                  <a:pt x="1372" y="78"/>
                </a:lnTo>
                <a:lnTo>
                  <a:pt x="1379" y="84"/>
                </a:lnTo>
                <a:lnTo>
                  <a:pt x="1387" y="90"/>
                </a:lnTo>
                <a:lnTo>
                  <a:pt x="1394" y="94"/>
                </a:lnTo>
                <a:lnTo>
                  <a:pt x="1403" y="98"/>
                </a:lnTo>
                <a:lnTo>
                  <a:pt x="1412" y="101"/>
                </a:lnTo>
                <a:lnTo>
                  <a:pt x="1422" y="104"/>
                </a:lnTo>
                <a:lnTo>
                  <a:pt x="1432" y="107"/>
                </a:lnTo>
                <a:lnTo>
                  <a:pt x="1443" y="109"/>
                </a:lnTo>
                <a:lnTo>
                  <a:pt x="1453" y="110"/>
                </a:lnTo>
                <a:lnTo>
                  <a:pt x="1464" y="111"/>
                </a:lnTo>
                <a:lnTo>
                  <a:pt x="1476" y="111"/>
                </a:lnTo>
                <a:lnTo>
                  <a:pt x="1481" y="110"/>
                </a:lnTo>
                <a:lnTo>
                  <a:pt x="1489" y="108"/>
                </a:lnTo>
                <a:lnTo>
                  <a:pt x="1499" y="105"/>
                </a:lnTo>
                <a:lnTo>
                  <a:pt x="1509" y="104"/>
                </a:lnTo>
                <a:lnTo>
                  <a:pt x="1514" y="109"/>
                </a:lnTo>
                <a:lnTo>
                  <a:pt x="1523" y="113"/>
                </a:lnTo>
                <a:lnTo>
                  <a:pt x="1532" y="116"/>
                </a:lnTo>
                <a:lnTo>
                  <a:pt x="1541" y="117"/>
                </a:lnTo>
                <a:lnTo>
                  <a:pt x="1544" y="117"/>
                </a:lnTo>
                <a:lnTo>
                  <a:pt x="1547" y="115"/>
                </a:lnTo>
                <a:lnTo>
                  <a:pt x="1549" y="113"/>
                </a:lnTo>
                <a:lnTo>
                  <a:pt x="1551" y="110"/>
                </a:lnTo>
                <a:lnTo>
                  <a:pt x="1557" y="103"/>
                </a:lnTo>
                <a:lnTo>
                  <a:pt x="1561" y="98"/>
                </a:lnTo>
                <a:lnTo>
                  <a:pt x="1561" y="135"/>
                </a:lnTo>
                <a:lnTo>
                  <a:pt x="1556" y="146"/>
                </a:lnTo>
                <a:lnTo>
                  <a:pt x="1545" y="163"/>
                </a:lnTo>
                <a:lnTo>
                  <a:pt x="1530" y="183"/>
                </a:lnTo>
                <a:lnTo>
                  <a:pt x="1513" y="205"/>
                </a:lnTo>
                <a:lnTo>
                  <a:pt x="1495" y="228"/>
                </a:lnTo>
                <a:lnTo>
                  <a:pt x="1479" y="247"/>
                </a:lnTo>
                <a:lnTo>
                  <a:pt x="1465" y="262"/>
                </a:lnTo>
                <a:lnTo>
                  <a:pt x="1455" y="270"/>
                </a:lnTo>
                <a:lnTo>
                  <a:pt x="1464" y="275"/>
                </a:lnTo>
                <a:lnTo>
                  <a:pt x="1470" y="278"/>
                </a:lnTo>
                <a:lnTo>
                  <a:pt x="1474" y="282"/>
                </a:lnTo>
                <a:lnTo>
                  <a:pt x="1479" y="286"/>
                </a:lnTo>
                <a:lnTo>
                  <a:pt x="1485" y="294"/>
                </a:lnTo>
                <a:lnTo>
                  <a:pt x="1489" y="302"/>
                </a:lnTo>
                <a:lnTo>
                  <a:pt x="1492" y="310"/>
                </a:lnTo>
                <a:lnTo>
                  <a:pt x="1495" y="317"/>
                </a:lnTo>
                <a:lnTo>
                  <a:pt x="1498" y="321"/>
                </a:lnTo>
                <a:lnTo>
                  <a:pt x="1500" y="325"/>
                </a:lnTo>
                <a:lnTo>
                  <a:pt x="1504" y="328"/>
                </a:lnTo>
                <a:lnTo>
                  <a:pt x="1509" y="333"/>
                </a:lnTo>
                <a:lnTo>
                  <a:pt x="1514" y="336"/>
                </a:lnTo>
                <a:lnTo>
                  <a:pt x="1520" y="338"/>
                </a:lnTo>
                <a:lnTo>
                  <a:pt x="1525" y="339"/>
                </a:lnTo>
                <a:lnTo>
                  <a:pt x="1532" y="338"/>
                </a:lnTo>
                <a:lnTo>
                  <a:pt x="1538" y="338"/>
                </a:lnTo>
                <a:lnTo>
                  <a:pt x="1544" y="337"/>
                </a:lnTo>
                <a:lnTo>
                  <a:pt x="1549" y="337"/>
                </a:lnTo>
                <a:lnTo>
                  <a:pt x="1555" y="339"/>
                </a:lnTo>
                <a:lnTo>
                  <a:pt x="1560" y="340"/>
                </a:lnTo>
                <a:lnTo>
                  <a:pt x="1566" y="342"/>
                </a:lnTo>
                <a:lnTo>
                  <a:pt x="1570" y="345"/>
                </a:lnTo>
                <a:lnTo>
                  <a:pt x="1574" y="347"/>
                </a:lnTo>
                <a:lnTo>
                  <a:pt x="1582" y="354"/>
                </a:lnTo>
                <a:lnTo>
                  <a:pt x="1588" y="361"/>
                </a:lnTo>
                <a:lnTo>
                  <a:pt x="1594" y="368"/>
                </a:lnTo>
                <a:lnTo>
                  <a:pt x="1602" y="376"/>
                </a:lnTo>
                <a:lnTo>
                  <a:pt x="1605" y="379"/>
                </a:lnTo>
                <a:lnTo>
                  <a:pt x="1611" y="382"/>
                </a:lnTo>
                <a:lnTo>
                  <a:pt x="1615" y="386"/>
                </a:lnTo>
                <a:lnTo>
                  <a:pt x="1622" y="388"/>
                </a:lnTo>
                <a:lnTo>
                  <a:pt x="1629" y="391"/>
                </a:lnTo>
                <a:lnTo>
                  <a:pt x="1637" y="394"/>
                </a:lnTo>
                <a:lnTo>
                  <a:pt x="1644" y="398"/>
                </a:lnTo>
                <a:lnTo>
                  <a:pt x="1649" y="403"/>
                </a:lnTo>
                <a:lnTo>
                  <a:pt x="1659" y="413"/>
                </a:lnTo>
                <a:lnTo>
                  <a:pt x="1668" y="423"/>
                </a:lnTo>
                <a:lnTo>
                  <a:pt x="1677" y="433"/>
                </a:lnTo>
                <a:lnTo>
                  <a:pt x="1686" y="442"/>
                </a:lnTo>
                <a:lnTo>
                  <a:pt x="1692" y="445"/>
                </a:lnTo>
                <a:lnTo>
                  <a:pt x="1698" y="448"/>
                </a:lnTo>
                <a:lnTo>
                  <a:pt x="1706" y="449"/>
                </a:lnTo>
                <a:lnTo>
                  <a:pt x="1714" y="450"/>
                </a:lnTo>
                <a:lnTo>
                  <a:pt x="1719" y="449"/>
                </a:lnTo>
                <a:lnTo>
                  <a:pt x="1724" y="448"/>
                </a:lnTo>
                <a:lnTo>
                  <a:pt x="1729" y="446"/>
                </a:lnTo>
                <a:lnTo>
                  <a:pt x="1735" y="444"/>
                </a:lnTo>
                <a:lnTo>
                  <a:pt x="1745" y="435"/>
                </a:lnTo>
                <a:lnTo>
                  <a:pt x="1754" y="425"/>
                </a:lnTo>
                <a:lnTo>
                  <a:pt x="1764" y="413"/>
                </a:lnTo>
                <a:lnTo>
                  <a:pt x="1773" y="400"/>
                </a:lnTo>
                <a:lnTo>
                  <a:pt x="1782" y="385"/>
                </a:lnTo>
                <a:lnTo>
                  <a:pt x="1791" y="368"/>
                </a:lnTo>
                <a:lnTo>
                  <a:pt x="1798" y="351"/>
                </a:lnTo>
                <a:lnTo>
                  <a:pt x="1805" y="334"/>
                </a:lnTo>
                <a:lnTo>
                  <a:pt x="1812" y="316"/>
                </a:lnTo>
                <a:lnTo>
                  <a:pt x="1817" y="299"/>
                </a:lnTo>
                <a:lnTo>
                  <a:pt x="1821" y="283"/>
                </a:lnTo>
                <a:lnTo>
                  <a:pt x="1825" y="266"/>
                </a:lnTo>
                <a:lnTo>
                  <a:pt x="1827" y="252"/>
                </a:lnTo>
                <a:lnTo>
                  <a:pt x="1827" y="240"/>
                </a:lnTo>
                <a:lnTo>
                  <a:pt x="1828" y="223"/>
                </a:lnTo>
                <a:lnTo>
                  <a:pt x="1830" y="205"/>
                </a:lnTo>
                <a:lnTo>
                  <a:pt x="1834" y="189"/>
                </a:lnTo>
                <a:lnTo>
                  <a:pt x="1839" y="174"/>
                </a:lnTo>
                <a:lnTo>
                  <a:pt x="1845" y="159"/>
                </a:lnTo>
                <a:lnTo>
                  <a:pt x="1850" y="145"/>
                </a:lnTo>
                <a:lnTo>
                  <a:pt x="1857" y="131"/>
                </a:lnTo>
                <a:lnTo>
                  <a:pt x="1863" y="118"/>
                </a:lnTo>
                <a:lnTo>
                  <a:pt x="1877" y="90"/>
                </a:lnTo>
                <a:lnTo>
                  <a:pt x="1888" y="63"/>
                </a:lnTo>
                <a:lnTo>
                  <a:pt x="1894" y="47"/>
                </a:lnTo>
                <a:lnTo>
                  <a:pt x="1897" y="32"/>
                </a:lnTo>
                <a:lnTo>
                  <a:pt x="1899" y="17"/>
                </a:lnTo>
                <a:lnTo>
                  <a:pt x="1901" y="0"/>
                </a:lnTo>
                <a:lnTo>
                  <a:pt x="1904" y="10"/>
                </a:lnTo>
                <a:lnTo>
                  <a:pt x="1909" y="21"/>
                </a:lnTo>
                <a:lnTo>
                  <a:pt x="1917" y="32"/>
                </a:lnTo>
                <a:lnTo>
                  <a:pt x="1925" y="43"/>
                </a:lnTo>
                <a:lnTo>
                  <a:pt x="1932" y="55"/>
                </a:lnTo>
                <a:lnTo>
                  <a:pt x="1940" y="63"/>
                </a:lnTo>
                <a:lnTo>
                  <a:pt x="1948" y="70"/>
                </a:lnTo>
                <a:lnTo>
                  <a:pt x="1953" y="74"/>
                </a:lnTo>
                <a:lnTo>
                  <a:pt x="1952" y="76"/>
                </a:lnTo>
                <a:lnTo>
                  <a:pt x="1950" y="77"/>
                </a:lnTo>
                <a:lnTo>
                  <a:pt x="1947" y="78"/>
                </a:lnTo>
                <a:lnTo>
                  <a:pt x="1943" y="79"/>
                </a:lnTo>
                <a:lnTo>
                  <a:pt x="1937" y="80"/>
                </a:lnTo>
                <a:lnTo>
                  <a:pt x="1933" y="80"/>
                </a:lnTo>
                <a:lnTo>
                  <a:pt x="1935" y="90"/>
                </a:lnTo>
                <a:lnTo>
                  <a:pt x="1937" y="98"/>
                </a:lnTo>
                <a:lnTo>
                  <a:pt x="1940" y="104"/>
                </a:lnTo>
                <a:lnTo>
                  <a:pt x="1943" y="110"/>
                </a:lnTo>
                <a:lnTo>
                  <a:pt x="1947" y="115"/>
                </a:lnTo>
                <a:lnTo>
                  <a:pt x="1950" y="121"/>
                </a:lnTo>
                <a:lnTo>
                  <a:pt x="1952" y="127"/>
                </a:lnTo>
                <a:lnTo>
                  <a:pt x="1953" y="135"/>
                </a:lnTo>
                <a:lnTo>
                  <a:pt x="1953" y="144"/>
                </a:lnTo>
                <a:lnTo>
                  <a:pt x="1951" y="152"/>
                </a:lnTo>
                <a:lnTo>
                  <a:pt x="1949" y="160"/>
                </a:lnTo>
                <a:lnTo>
                  <a:pt x="1947" y="169"/>
                </a:lnTo>
                <a:lnTo>
                  <a:pt x="1944" y="176"/>
                </a:lnTo>
                <a:lnTo>
                  <a:pt x="1942" y="183"/>
                </a:lnTo>
                <a:lnTo>
                  <a:pt x="1941" y="190"/>
                </a:lnTo>
                <a:lnTo>
                  <a:pt x="1940" y="197"/>
                </a:lnTo>
                <a:lnTo>
                  <a:pt x="1940" y="201"/>
                </a:lnTo>
                <a:lnTo>
                  <a:pt x="1941" y="206"/>
                </a:lnTo>
                <a:lnTo>
                  <a:pt x="1942" y="210"/>
                </a:lnTo>
                <a:lnTo>
                  <a:pt x="1944" y="214"/>
                </a:lnTo>
                <a:lnTo>
                  <a:pt x="1950" y="222"/>
                </a:lnTo>
                <a:lnTo>
                  <a:pt x="1955" y="228"/>
                </a:lnTo>
                <a:lnTo>
                  <a:pt x="1963" y="233"/>
                </a:lnTo>
                <a:lnTo>
                  <a:pt x="1971" y="237"/>
                </a:lnTo>
                <a:lnTo>
                  <a:pt x="1978" y="239"/>
                </a:lnTo>
                <a:lnTo>
                  <a:pt x="1986" y="240"/>
                </a:lnTo>
                <a:lnTo>
                  <a:pt x="1987" y="244"/>
                </a:lnTo>
                <a:lnTo>
                  <a:pt x="1989" y="248"/>
                </a:lnTo>
                <a:lnTo>
                  <a:pt x="1993" y="251"/>
                </a:lnTo>
                <a:lnTo>
                  <a:pt x="1997" y="254"/>
                </a:lnTo>
                <a:lnTo>
                  <a:pt x="2006" y="257"/>
                </a:lnTo>
                <a:lnTo>
                  <a:pt x="2014" y="258"/>
                </a:lnTo>
                <a:lnTo>
                  <a:pt x="2014" y="278"/>
                </a:lnTo>
                <a:lnTo>
                  <a:pt x="2015" y="297"/>
                </a:lnTo>
                <a:lnTo>
                  <a:pt x="2017" y="314"/>
                </a:lnTo>
                <a:lnTo>
                  <a:pt x="2019" y="332"/>
                </a:lnTo>
                <a:lnTo>
                  <a:pt x="2026" y="365"/>
                </a:lnTo>
                <a:lnTo>
                  <a:pt x="2033" y="398"/>
                </a:lnTo>
                <a:lnTo>
                  <a:pt x="2040" y="429"/>
                </a:lnTo>
                <a:lnTo>
                  <a:pt x="2047" y="461"/>
                </a:lnTo>
                <a:lnTo>
                  <a:pt x="2050" y="476"/>
                </a:lnTo>
                <a:lnTo>
                  <a:pt x="2051" y="491"/>
                </a:lnTo>
                <a:lnTo>
                  <a:pt x="2053" y="508"/>
                </a:lnTo>
                <a:lnTo>
                  <a:pt x="2053" y="523"/>
                </a:lnTo>
                <a:lnTo>
                  <a:pt x="2053" y="526"/>
                </a:lnTo>
                <a:lnTo>
                  <a:pt x="2054" y="528"/>
                </a:lnTo>
                <a:lnTo>
                  <a:pt x="2056" y="529"/>
                </a:lnTo>
                <a:lnTo>
                  <a:pt x="2060" y="531"/>
                </a:lnTo>
                <a:lnTo>
                  <a:pt x="2066" y="533"/>
                </a:lnTo>
                <a:lnTo>
                  <a:pt x="2074" y="536"/>
                </a:lnTo>
                <a:lnTo>
                  <a:pt x="2082" y="538"/>
                </a:lnTo>
                <a:lnTo>
                  <a:pt x="2089" y="540"/>
                </a:lnTo>
                <a:lnTo>
                  <a:pt x="2096" y="544"/>
                </a:lnTo>
                <a:lnTo>
                  <a:pt x="2099" y="548"/>
                </a:lnTo>
                <a:lnTo>
                  <a:pt x="2108" y="562"/>
                </a:lnTo>
                <a:lnTo>
                  <a:pt x="2116" y="574"/>
                </a:lnTo>
                <a:lnTo>
                  <a:pt x="2120" y="578"/>
                </a:lnTo>
                <a:lnTo>
                  <a:pt x="2123" y="582"/>
                </a:lnTo>
                <a:lnTo>
                  <a:pt x="2128" y="584"/>
                </a:lnTo>
                <a:lnTo>
                  <a:pt x="2133" y="585"/>
                </a:lnTo>
                <a:lnTo>
                  <a:pt x="2134" y="596"/>
                </a:lnTo>
                <a:lnTo>
                  <a:pt x="2139" y="615"/>
                </a:lnTo>
                <a:lnTo>
                  <a:pt x="2146" y="637"/>
                </a:lnTo>
                <a:lnTo>
                  <a:pt x="2154" y="661"/>
                </a:lnTo>
                <a:lnTo>
                  <a:pt x="2163" y="686"/>
                </a:lnTo>
                <a:lnTo>
                  <a:pt x="2172" y="707"/>
                </a:lnTo>
                <a:lnTo>
                  <a:pt x="2179" y="724"/>
                </a:lnTo>
                <a:lnTo>
                  <a:pt x="2186" y="733"/>
                </a:lnTo>
                <a:lnTo>
                  <a:pt x="2188" y="735"/>
                </a:lnTo>
                <a:lnTo>
                  <a:pt x="2194" y="737"/>
                </a:lnTo>
                <a:lnTo>
                  <a:pt x="2201" y="738"/>
                </a:lnTo>
                <a:lnTo>
                  <a:pt x="2211" y="739"/>
                </a:lnTo>
                <a:lnTo>
                  <a:pt x="2231" y="742"/>
                </a:lnTo>
                <a:lnTo>
                  <a:pt x="2245" y="745"/>
                </a:lnTo>
                <a:lnTo>
                  <a:pt x="2242" y="756"/>
                </a:lnTo>
                <a:lnTo>
                  <a:pt x="2238" y="762"/>
                </a:lnTo>
                <a:lnTo>
                  <a:pt x="2231" y="766"/>
                </a:lnTo>
                <a:lnTo>
                  <a:pt x="2219" y="769"/>
                </a:lnTo>
                <a:lnTo>
                  <a:pt x="2223" y="781"/>
                </a:lnTo>
                <a:lnTo>
                  <a:pt x="2228" y="790"/>
                </a:lnTo>
                <a:lnTo>
                  <a:pt x="2233" y="800"/>
                </a:lnTo>
                <a:lnTo>
                  <a:pt x="2239" y="809"/>
                </a:lnTo>
                <a:lnTo>
                  <a:pt x="2251" y="827"/>
                </a:lnTo>
                <a:lnTo>
                  <a:pt x="2263" y="846"/>
                </a:lnTo>
                <a:lnTo>
                  <a:pt x="2289" y="879"/>
                </a:lnTo>
                <a:lnTo>
                  <a:pt x="2312" y="912"/>
                </a:lnTo>
                <a:lnTo>
                  <a:pt x="2318" y="907"/>
                </a:lnTo>
                <a:lnTo>
                  <a:pt x="2324" y="902"/>
                </a:lnTo>
                <a:lnTo>
                  <a:pt x="2328" y="899"/>
                </a:lnTo>
                <a:lnTo>
                  <a:pt x="2330" y="896"/>
                </a:lnTo>
                <a:lnTo>
                  <a:pt x="2332" y="892"/>
                </a:lnTo>
                <a:lnTo>
                  <a:pt x="2332" y="887"/>
                </a:lnTo>
                <a:lnTo>
                  <a:pt x="2332" y="896"/>
                </a:lnTo>
                <a:lnTo>
                  <a:pt x="2332" y="903"/>
                </a:lnTo>
                <a:lnTo>
                  <a:pt x="2332" y="910"/>
                </a:lnTo>
                <a:lnTo>
                  <a:pt x="2332" y="918"/>
                </a:lnTo>
                <a:lnTo>
                  <a:pt x="2293" y="1010"/>
                </a:lnTo>
                <a:lnTo>
                  <a:pt x="2295" y="1024"/>
                </a:lnTo>
                <a:lnTo>
                  <a:pt x="2296" y="1038"/>
                </a:lnTo>
                <a:lnTo>
                  <a:pt x="2295" y="1051"/>
                </a:lnTo>
                <a:lnTo>
                  <a:pt x="2291" y="1066"/>
                </a:lnTo>
                <a:lnTo>
                  <a:pt x="2288" y="1079"/>
                </a:lnTo>
                <a:lnTo>
                  <a:pt x="2283" y="1092"/>
                </a:lnTo>
                <a:lnTo>
                  <a:pt x="2276" y="1105"/>
                </a:lnTo>
                <a:lnTo>
                  <a:pt x="2269" y="1118"/>
                </a:lnTo>
                <a:lnTo>
                  <a:pt x="2253" y="1143"/>
                </a:lnTo>
                <a:lnTo>
                  <a:pt x="2237" y="1167"/>
                </a:lnTo>
                <a:lnTo>
                  <a:pt x="2220" y="1188"/>
                </a:lnTo>
                <a:lnTo>
                  <a:pt x="2206" y="1207"/>
                </a:lnTo>
                <a:lnTo>
                  <a:pt x="2188" y="1233"/>
                </a:lnTo>
                <a:lnTo>
                  <a:pt x="2172" y="1260"/>
                </a:lnTo>
                <a:lnTo>
                  <a:pt x="2153" y="1289"/>
                </a:lnTo>
                <a:lnTo>
                  <a:pt x="2133" y="1317"/>
                </a:lnTo>
                <a:lnTo>
                  <a:pt x="2123" y="1329"/>
                </a:lnTo>
                <a:lnTo>
                  <a:pt x="2111" y="1342"/>
                </a:lnTo>
                <a:lnTo>
                  <a:pt x="2100" y="1352"/>
                </a:lnTo>
                <a:lnTo>
                  <a:pt x="2087" y="1362"/>
                </a:lnTo>
                <a:lnTo>
                  <a:pt x="2081" y="1366"/>
                </a:lnTo>
                <a:lnTo>
                  <a:pt x="2074" y="1369"/>
                </a:lnTo>
                <a:lnTo>
                  <a:pt x="2066" y="1372"/>
                </a:lnTo>
                <a:lnTo>
                  <a:pt x="2059" y="1375"/>
                </a:lnTo>
                <a:lnTo>
                  <a:pt x="2051" y="1377"/>
                </a:lnTo>
                <a:lnTo>
                  <a:pt x="2043" y="1378"/>
                </a:lnTo>
                <a:lnTo>
                  <a:pt x="2036" y="1379"/>
                </a:lnTo>
                <a:lnTo>
                  <a:pt x="2027" y="1380"/>
                </a:lnTo>
                <a:lnTo>
                  <a:pt x="2026" y="1393"/>
                </a:lnTo>
                <a:lnTo>
                  <a:pt x="2022" y="1404"/>
                </a:lnTo>
                <a:lnTo>
                  <a:pt x="2018" y="1414"/>
                </a:lnTo>
                <a:lnTo>
                  <a:pt x="2013" y="1423"/>
                </a:lnTo>
                <a:lnTo>
                  <a:pt x="2005" y="1432"/>
                </a:lnTo>
                <a:lnTo>
                  <a:pt x="1997" y="1440"/>
                </a:lnTo>
                <a:lnTo>
                  <a:pt x="1988" y="1449"/>
                </a:lnTo>
                <a:lnTo>
                  <a:pt x="1978" y="1456"/>
                </a:lnTo>
                <a:lnTo>
                  <a:pt x="1958" y="1470"/>
                </a:lnTo>
                <a:lnTo>
                  <a:pt x="1937" y="1483"/>
                </a:lnTo>
                <a:lnTo>
                  <a:pt x="1917" y="1495"/>
                </a:lnTo>
                <a:lnTo>
                  <a:pt x="1901" y="1510"/>
                </a:lnTo>
                <a:lnTo>
                  <a:pt x="1885" y="1525"/>
                </a:lnTo>
                <a:lnTo>
                  <a:pt x="1873" y="1539"/>
                </a:lnTo>
                <a:lnTo>
                  <a:pt x="1864" y="1553"/>
                </a:lnTo>
                <a:lnTo>
                  <a:pt x="1857" y="1565"/>
                </a:lnTo>
                <a:lnTo>
                  <a:pt x="1848" y="1578"/>
                </a:lnTo>
                <a:lnTo>
                  <a:pt x="1838" y="1591"/>
                </a:lnTo>
                <a:lnTo>
                  <a:pt x="1825" y="1604"/>
                </a:lnTo>
                <a:lnTo>
                  <a:pt x="1807" y="1621"/>
                </a:lnTo>
                <a:lnTo>
                  <a:pt x="1801" y="1630"/>
                </a:lnTo>
                <a:lnTo>
                  <a:pt x="1796" y="1639"/>
                </a:lnTo>
                <a:lnTo>
                  <a:pt x="1793" y="1648"/>
                </a:lnTo>
                <a:lnTo>
                  <a:pt x="1790" y="1657"/>
                </a:lnTo>
                <a:lnTo>
                  <a:pt x="1786" y="1665"/>
                </a:lnTo>
                <a:lnTo>
                  <a:pt x="1782" y="1671"/>
                </a:lnTo>
                <a:lnTo>
                  <a:pt x="1780" y="1673"/>
                </a:lnTo>
                <a:lnTo>
                  <a:pt x="1776" y="1675"/>
                </a:lnTo>
                <a:lnTo>
                  <a:pt x="1772" y="1676"/>
                </a:lnTo>
                <a:lnTo>
                  <a:pt x="1768" y="1676"/>
                </a:lnTo>
                <a:lnTo>
                  <a:pt x="1749" y="1676"/>
                </a:lnTo>
                <a:lnTo>
                  <a:pt x="1733" y="1676"/>
                </a:lnTo>
                <a:lnTo>
                  <a:pt x="1718" y="1676"/>
                </a:lnTo>
                <a:lnTo>
                  <a:pt x="1707" y="1676"/>
                </a:lnTo>
                <a:lnTo>
                  <a:pt x="1702" y="1676"/>
                </a:lnTo>
                <a:lnTo>
                  <a:pt x="1695" y="1678"/>
                </a:lnTo>
                <a:lnTo>
                  <a:pt x="1689" y="1680"/>
                </a:lnTo>
                <a:lnTo>
                  <a:pt x="1682" y="1683"/>
                </a:lnTo>
                <a:lnTo>
                  <a:pt x="1668" y="1690"/>
                </a:lnTo>
                <a:lnTo>
                  <a:pt x="1652" y="1699"/>
                </a:lnTo>
                <a:lnTo>
                  <a:pt x="1634" y="1708"/>
                </a:lnTo>
                <a:lnTo>
                  <a:pt x="1613" y="1717"/>
                </a:lnTo>
                <a:lnTo>
                  <a:pt x="1602" y="1722"/>
                </a:lnTo>
                <a:lnTo>
                  <a:pt x="1589" y="1726"/>
                </a:lnTo>
                <a:lnTo>
                  <a:pt x="1576" y="1729"/>
                </a:lnTo>
                <a:lnTo>
                  <a:pt x="1561" y="1731"/>
                </a:lnTo>
                <a:lnTo>
                  <a:pt x="1558" y="1725"/>
                </a:lnTo>
                <a:lnTo>
                  <a:pt x="1555" y="1718"/>
                </a:lnTo>
                <a:lnTo>
                  <a:pt x="1548" y="1718"/>
                </a:lnTo>
                <a:lnTo>
                  <a:pt x="1541" y="1717"/>
                </a:lnTo>
                <a:lnTo>
                  <a:pt x="1536" y="1715"/>
                </a:lnTo>
                <a:lnTo>
                  <a:pt x="1532" y="1713"/>
                </a:lnTo>
                <a:lnTo>
                  <a:pt x="1528" y="1711"/>
                </a:lnTo>
                <a:lnTo>
                  <a:pt x="1525" y="1708"/>
                </a:lnTo>
                <a:lnTo>
                  <a:pt x="1522" y="1705"/>
                </a:lnTo>
                <a:lnTo>
                  <a:pt x="1520" y="1701"/>
                </a:lnTo>
                <a:lnTo>
                  <a:pt x="1517" y="1693"/>
                </a:lnTo>
                <a:lnTo>
                  <a:pt x="1515" y="1685"/>
                </a:lnTo>
                <a:lnTo>
                  <a:pt x="1515" y="1677"/>
                </a:lnTo>
                <a:lnTo>
                  <a:pt x="1515" y="1670"/>
                </a:lnTo>
                <a:lnTo>
                  <a:pt x="1489" y="1690"/>
                </a:lnTo>
                <a:lnTo>
                  <a:pt x="1462" y="1709"/>
                </a:lnTo>
                <a:lnTo>
                  <a:pt x="1449" y="1718"/>
                </a:lnTo>
                <a:lnTo>
                  <a:pt x="1437" y="1725"/>
                </a:lnTo>
                <a:lnTo>
                  <a:pt x="1432" y="1728"/>
                </a:lnTo>
                <a:lnTo>
                  <a:pt x="1426" y="1730"/>
                </a:lnTo>
                <a:lnTo>
                  <a:pt x="1421" y="1731"/>
                </a:lnTo>
                <a:lnTo>
                  <a:pt x="1415" y="1731"/>
                </a:lnTo>
                <a:lnTo>
                  <a:pt x="1413" y="1731"/>
                </a:lnTo>
                <a:lnTo>
                  <a:pt x="1410" y="1729"/>
                </a:lnTo>
                <a:lnTo>
                  <a:pt x="1406" y="1727"/>
                </a:lnTo>
                <a:lnTo>
                  <a:pt x="1403" y="1725"/>
                </a:lnTo>
                <a:lnTo>
                  <a:pt x="1400" y="1722"/>
                </a:lnTo>
                <a:lnTo>
                  <a:pt x="1398" y="1718"/>
                </a:lnTo>
                <a:lnTo>
                  <a:pt x="1395" y="1715"/>
                </a:lnTo>
                <a:lnTo>
                  <a:pt x="1395" y="1712"/>
                </a:lnTo>
                <a:lnTo>
                  <a:pt x="1372" y="1711"/>
                </a:lnTo>
                <a:lnTo>
                  <a:pt x="1349" y="1709"/>
                </a:lnTo>
                <a:lnTo>
                  <a:pt x="1338" y="1707"/>
                </a:lnTo>
                <a:lnTo>
                  <a:pt x="1327" y="1704"/>
                </a:lnTo>
                <a:lnTo>
                  <a:pt x="1316" y="1701"/>
                </a:lnTo>
                <a:lnTo>
                  <a:pt x="1307" y="1697"/>
                </a:lnTo>
                <a:lnTo>
                  <a:pt x="1297" y="1693"/>
                </a:lnTo>
                <a:lnTo>
                  <a:pt x="1289" y="1688"/>
                </a:lnTo>
                <a:lnTo>
                  <a:pt x="1281" y="1683"/>
                </a:lnTo>
                <a:lnTo>
                  <a:pt x="1275" y="1677"/>
                </a:lnTo>
                <a:lnTo>
                  <a:pt x="1269" y="1670"/>
                </a:lnTo>
                <a:lnTo>
                  <a:pt x="1266" y="1662"/>
                </a:lnTo>
                <a:lnTo>
                  <a:pt x="1264" y="1653"/>
                </a:lnTo>
                <a:lnTo>
                  <a:pt x="1263" y="1645"/>
                </a:lnTo>
                <a:lnTo>
                  <a:pt x="1263" y="1639"/>
                </a:lnTo>
                <a:lnTo>
                  <a:pt x="1264" y="1635"/>
                </a:lnTo>
                <a:lnTo>
                  <a:pt x="1266" y="1631"/>
                </a:lnTo>
                <a:lnTo>
                  <a:pt x="1268" y="1627"/>
                </a:lnTo>
                <a:lnTo>
                  <a:pt x="1272" y="1620"/>
                </a:lnTo>
                <a:lnTo>
                  <a:pt x="1279" y="1614"/>
                </a:lnTo>
                <a:lnTo>
                  <a:pt x="1286" y="1609"/>
                </a:lnTo>
                <a:lnTo>
                  <a:pt x="1290" y="1601"/>
                </a:lnTo>
                <a:lnTo>
                  <a:pt x="1292" y="1597"/>
                </a:lnTo>
                <a:lnTo>
                  <a:pt x="1294" y="1593"/>
                </a:lnTo>
                <a:lnTo>
                  <a:pt x="1296" y="1589"/>
                </a:lnTo>
                <a:lnTo>
                  <a:pt x="1296" y="1583"/>
                </a:lnTo>
                <a:lnTo>
                  <a:pt x="1296" y="1546"/>
                </a:lnTo>
                <a:lnTo>
                  <a:pt x="1309" y="1528"/>
                </a:lnTo>
                <a:lnTo>
                  <a:pt x="1309" y="1522"/>
                </a:lnTo>
                <a:lnTo>
                  <a:pt x="1256" y="1522"/>
                </a:lnTo>
                <a:lnTo>
                  <a:pt x="1249" y="1534"/>
                </a:lnTo>
                <a:lnTo>
                  <a:pt x="1255" y="1525"/>
                </a:lnTo>
                <a:lnTo>
                  <a:pt x="1263" y="1516"/>
                </a:lnTo>
                <a:lnTo>
                  <a:pt x="1269" y="1509"/>
                </a:lnTo>
                <a:lnTo>
                  <a:pt x="1276" y="1504"/>
                </a:lnTo>
                <a:lnTo>
                  <a:pt x="1276" y="1460"/>
                </a:lnTo>
                <a:lnTo>
                  <a:pt x="1270" y="1462"/>
                </a:lnTo>
                <a:lnTo>
                  <a:pt x="1265" y="1464"/>
                </a:lnTo>
                <a:lnTo>
                  <a:pt x="1260" y="1466"/>
                </a:lnTo>
                <a:lnTo>
                  <a:pt x="1256" y="1469"/>
                </a:lnTo>
                <a:lnTo>
                  <a:pt x="1249" y="1475"/>
                </a:lnTo>
                <a:lnTo>
                  <a:pt x="1243" y="1481"/>
                </a:lnTo>
                <a:lnTo>
                  <a:pt x="1237" y="1488"/>
                </a:lnTo>
                <a:lnTo>
                  <a:pt x="1232" y="1494"/>
                </a:lnTo>
                <a:lnTo>
                  <a:pt x="1229" y="1498"/>
                </a:lnTo>
                <a:lnTo>
                  <a:pt x="1225" y="1500"/>
                </a:lnTo>
                <a:lnTo>
                  <a:pt x="1221" y="1502"/>
                </a:lnTo>
                <a:lnTo>
                  <a:pt x="1216" y="1504"/>
                </a:lnTo>
                <a:lnTo>
                  <a:pt x="1189" y="1504"/>
                </a:lnTo>
                <a:lnTo>
                  <a:pt x="1222" y="1472"/>
                </a:lnTo>
                <a:lnTo>
                  <a:pt x="1252" y="1442"/>
                </a:lnTo>
                <a:lnTo>
                  <a:pt x="1280" y="1411"/>
                </a:lnTo>
                <a:lnTo>
                  <a:pt x="1309" y="1380"/>
                </a:lnTo>
                <a:lnTo>
                  <a:pt x="1305" y="1378"/>
                </a:lnTo>
                <a:lnTo>
                  <a:pt x="1301" y="1377"/>
                </a:lnTo>
                <a:lnTo>
                  <a:pt x="1298" y="1376"/>
                </a:lnTo>
                <a:lnTo>
                  <a:pt x="1294" y="1376"/>
                </a:lnTo>
                <a:lnTo>
                  <a:pt x="1287" y="1378"/>
                </a:lnTo>
                <a:lnTo>
                  <a:pt x="1280" y="1382"/>
                </a:lnTo>
                <a:lnTo>
                  <a:pt x="1267" y="1392"/>
                </a:lnTo>
                <a:lnTo>
                  <a:pt x="1256" y="1399"/>
                </a:lnTo>
                <a:lnTo>
                  <a:pt x="1230" y="1418"/>
                </a:lnTo>
                <a:lnTo>
                  <a:pt x="1185" y="1450"/>
                </a:lnTo>
                <a:lnTo>
                  <a:pt x="1142" y="1478"/>
                </a:lnTo>
                <a:lnTo>
                  <a:pt x="1123" y="1490"/>
                </a:lnTo>
                <a:lnTo>
                  <a:pt x="1123" y="1380"/>
                </a:lnTo>
                <a:lnTo>
                  <a:pt x="1113" y="1379"/>
                </a:lnTo>
                <a:lnTo>
                  <a:pt x="1106" y="1377"/>
                </a:lnTo>
                <a:lnTo>
                  <a:pt x="1099" y="1375"/>
                </a:lnTo>
                <a:lnTo>
                  <a:pt x="1093" y="1371"/>
                </a:lnTo>
                <a:lnTo>
                  <a:pt x="1090" y="1367"/>
                </a:lnTo>
                <a:lnTo>
                  <a:pt x="1088" y="1362"/>
                </a:lnTo>
                <a:lnTo>
                  <a:pt x="1088" y="1356"/>
                </a:lnTo>
                <a:lnTo>
                  <a:pt x="1090" y="1349"/>
                </a:lnTo>
                <a:lnTo>
                  <a:pt x="1078" y="1338"/>
                </a:lnTo>
                <a:lnTo>
                  <a:pt x="1064" y="1325"/>
                </a:lnTo>
                <a:lnTo>
                  <a:pt x="1047" y="1314"/>
                </a:lnTo>
                <a:lnTo>
                  <a:pt x="1030" y="1304"/>
                </a:lnTo>
                <a:lnTo>
                  <a:pt x="1020" y="1299"/>
                </a:lnTo>
                <a:lnTo>
                  <a:pt x="1011" y="1295"/>
                </a:lnTo>
                <a:lnTo>
                  <a:pt x="1001" y="1291"/>
                </a:lnTo>
                <a:lnTo>
                  <a:pt x="990" y="1288"/>
                </a:lnTo>
                <a:lnTo>
                  <a:pt x="980" y="1285"/>
                </a:lnTo>
                <a:lnTo>
                  <a:pt x="971" y="1283"/>
                </a:lnTo>
                <a:lnTo>
                  <a:pt x="961" y="1282"/>
                </a:lnTo>
                <a:lnTo>
                  <a:pt x="951" y="1282"/>
                </a:lnTo>
                <a:lnTo>
                  <a:pt x="941" y="1283"/>
                </a:lnTo>
                <a:lnTo>
                  <a:pt x="931" y="1285"/>
                </a:lnTo>
                <a:lnTo>
                  <a:pt x="923" y="1289"/>
                </a:lnTo>
                <a:lnTo>
                  <a:pt x="917" y="1294"/>
                </a:lnTo>
                <a:lnTo>
                  <a:pt x="831" y="1294"/>
                </a:lnTo>
                <a:lnTo>
                  <a:pt x="819" y="1301"/>
                </a:lnTo>
                <a:lnTo>
                  <a:pt x="807" y="1307"/>
                </a:lnTo>
                <a:lnTo>
                  <a:pt x="796" y="1312"/>
                </a:lnTo>
                <a:lnTo>
                  <a:pt x="785" y="1316"/>
                </a:lnTo>
                <a:lnTo>
                  <a:pt x="775" y="1319"/>
                </a:lnTo>
                <a:lnTo>
                  <a:pt x="764" y="1321"/>
                </a:lnTo>
                <a:lnTo>
                  <a:pt x="754" y="1323"/>
                </a:lnTo>
                <a:lnTo>
                  <a:pt x="745" y="1324"/>
                </a:lnTo>
                <a:lnTo>
                  <a:pt x="726" y="1326"/>
                </a:lnTo>
                <a:lnTo>
                  <a:pt x="706" y="1328"/>
                </a:lnTo>
                <a:lnTo>
                  <a:pt x="686" y="1332"/>
                </a:lnTo>
                <a:lnTo>
                  <a:pt x="664" y="1337"/>
                </a:lnTo>
                <a:lnTo>
                  <a:pt x="636" y="1345"/>
                </a:lnTo>
                <a:lnTo>
                  <a:pt x="596" y="1356"/>
                </a:lnTo>
                <a:lnTo>
                  <a:pt x="577" y="1362"/>
                </a:lnTo>
                <a:lnTo>
                  <a:pt x="560" y="1369"/>
                </a:lnTo>
                <a:lnTo>
                  <a:pt x="547" y="1374"/>
                </a:lnTo>
                <a:lnTo>
                  <a:pt x="538" y="1380"/>
                </a:lnTo>
                <a:lnTo>
                  <a:pt x="521" y="1402"/>
                </a:lnTo>
                <a:lnTo>
                  <a:pt x="507" y="1419"/>
                </a:lnTo>
                <a:lnTo>
                  <a:pt x="501" y="1426"/>
                </a:lnTo>
                <a:lnTo>
                  <a:pt x="493" y="1431"/>
                </a:lnTo>
                <a:lnTo>
                  <a:pt x="488" y="1433"/>
                </a:lnTo>
                <a:lnTo>
                  <a:pt x="483" y="1434"/>
                </a:lnTo>
                <a:lnTo>
                  <a:pt x="478" y="1435"/>
                </a:lnTo>
                <a:lnTo>
                  <a:pt x="472" y="1435"/>
                </a:lnTo>
                <a:lnTo>
                  <a:pt x="306" y="1435"/>
                </a:lnTo>
                <a:lnTo>
                  <a:pt x="291" y="1439"/>
                </a:lnTo>
                <a:lnTo>
                  <a:pt x="277" y="1444"/>
                </a:lnTo>
                <a:lnTo>
                  <a:pt x="265" y="1448"/>
                </a:lnTo>
                <a:lnTo>
                  <a:pt x="254" y="1453"/>
                </a:lnTo>
                <a:lnTo>
                  <a:pt x="233" y="1463"/>
                </a:lnTo>
                <a:lnTo>
                  <a:pt x="214" y="1473"/>
                </a:lnTo>
                <a:lnTo>
                  <a:pt x="204" y="1478"/>
                </a:lnTo>
                <a:lnTo>
                  <a:pt x="193" y="1482"/>
                </a:lnTo>
                <a:lnTo>
                  <a:pt x="182" y="1486"/>
                </a:lnTo>
                <a:lnTo>
                  <a:pt x="170" y="1490"/>
                </a:lnTo>
                <a:lnTo>
                  <a:pt x="157" y="1493"/>
                </a:lnTo>
                <a:lnTo>
                  <a:pt x="142" y="1495"/>
                </a:lnTo>
                <a:lnTo>
                  <a:pt x="125" y="1496"/>
                </a:lnTo>
                <a:lnTo>
                  <a:pt x="106" y="1496"/>
                </a:lnTo>
                <a:lnTo>
                  <a:pt x="95" y="1496"/>
                </a:lnTo>
                <a:lnTo>
                  <a:pt x="84" y="1495"/>
                </a:lnTo>
                <a:lnTo>
                  <a:pt x="75" y="1494"/>
                </a:lnTo>
                <a:lnTo>
                  <a:pt x="65" y="1492"/>
                </a:lnTo>
                <a:lnTo>
                  <a:pt x="55" y="1490"/>
                </a:lnTo>
                <a:lnTo>
                  <a:pt x="46" y="1487"/>
                </a:lnTo>
                <a:lnTo>
                  <a:pt x="38" y="1483"/>
                </a:lnTo>
                <a:lnTo>
                  <a:pt x="31" y="1479"/>
                </a:lnTo>
                <a:lnTo>
                  <a:pt x="24" y="1475"/>
                </a:lnTo>
                <a:lnTo>
                  <a:pt x="19" y="1470"/>
                </a:lnTo>
                <a:lnTo>
                  <a:pt x="13" y="1464"/>
                </a:lnTo>
                <a:lnTo>
                  <a:pt x="9" y="1458"/>
                </a:lnTo>
                <a:lnTo>
                  <a:pt x="4" y="1452"/>
                </a:lnTo>
                <a:lnTo>
                  <a:pt x="2" y="1445"/>
                </a:lnTo>
                <a:lnTo>
                  <a:pt x="1" y="1437"/>
                </a:lnTo>
                <a:lnTo>
                  <a:pt x="0" y="1429"/>
                </a:lnTo>
                <a:lnTo>
                  <a:pt x="1" y="1426"/>
                </a:lnTo>
                <a:lnTo>
                  <a:pt x="2" y="1423"/>
                </a:lnTo>
                <a:lnTo>
                  <a:pt x="4" y="1421"/>
                </a:lnTo>
                <a:lnTo>
                  <a:pt x="6" y="1418"/>
                </a:lnTo>
                <a:lnTo>
                  <a:pt x="13" y="1415"/>
                </a:lnTo>
                <a:lnTo>
                  <a:pt x="22" y="1413"/>
                </a:lnTo>
                <a:lnTo>
                  <a:pt x="39" y="1411"/>
                </a:lnTo>
                <a:lnTo>
                  <a:pt x="54" y="1411"/>
                </a:lnTo>
                <a:lnTo>
                  <a:pt x="58" y="1408"/>
                </a:lnTo>
                <a:lnTo>
                  <a:pt x="64" y="1404"/>
                </a:lnTo>
                <a:lnTo>
                  <a:pt x="68" y="1399"/>
                </a:lnTo>
                <a:lnTo>
                  <a:pt x="72" y="1393"/>
                </a:lnTo>
                <a:lnTo>
                  <a:pt x="82" y="1378"/>
                </a:lnTo>
                <a:lnTo>
                  <a:pt x="90" y="1361"/>
                </a:lnTo>
                <a:lnTo>
                  <a:pt x="97" y="1344"/>
                </a:lnTo>
                <a:lnTo>
                  <a:pt x="102" y="1325"/>
                </a:lnTo>
                <a:lnTo>
                  <a:pt x="105" y="1309"/>
                </a:lnTo>
                <a:lnTo>
                  <a:pt x="106" y="1294"/>
                </a:lnTo>
                <a:lnTo>
                  <a:pt x="106" y="1288"/>
                </a:lnTo>
                <a:lnTo>
                  <a:pt x="105" y="1284"/>
                </a:lnTo>
                <a:lnTo>
                  <a:pt x="103" y="1279"/>
                </a:lnTo>
                <a:lnTo>
                  <a:pt x="101" y="1275"/>
                </a:lnTo>
                <a:lnTo>
                  <a:pt x="95" y="1267"/>
                </a:lnTo>
                <a:lnTo>
                  <a:pt x="90" y="1260"/>
                </a:lnTo>
                <a:lnTo>
                  <a:pt x="83" y="1254"/>
                </a:lnTo>
                <a:lnTo>
                  <a:pt x="79" y="1248"/>
                </a:lnTo>
                <a:lnTo>
                  <a:pt x="77" y="1244"/>
                </a:lnTo>
                <a:lnTo>
                  <a:pt x="75" y="1241"/>
                </a:lnTo>
                <a:lnTo>
                  <a:pt x="73" y="1237"/>
                </a:lnTo>
                <a:lnTo>
                  <a:pt x="73" y="1232"/>
                </a:lnTo>
                <a:lnTo>
                  <a:pt x="73" y="1225"/>
                </a:lnTo>
                <a:lnTo>
                  <a:pt x="75" y="1218"/>
                </a:lnTo>
                <a:lnTo>
                  <a:pt x="77" y="1212"/>
                </a:lnTo>
                <a:lnTo>
                  <a:pt x="79" y="1207"/>
                </a:lnTo>
                <a:lnTo>
                  <a:pt x="86" y="1200"/>
                </a:lnTo>
                <a:lnTo>
                  <a:pt x="93" y="1193"/>
                </a:lnTo>
                <a:lnTo>
                  <a:pt x="101" y="1188"/>
                </a:lnTo>
                <a:lnTo>
                  <a:pt x="106" y="1182"/>
                </a:lnTo>
                <a:lnTo>
                  <a:pt x="110" y="1179"/>
                </a:lnTo>
                <a:lnTo>
                  <a:pt x="112" y="1175"/>
                </a:lnTo>
                <a:lnTo>
                  <a:pt x="113" y="1170"/>
                </a:lnTo>
                <a:lnTo>
                  <a:pt x="113" y="1165"/>
                </a:lnTo>
                <a:lnTo>
                  <a:pt x="113" y="1150"/>
                </a:lnTo>
                <a:lnTo>
                  <a:pt x="111" y="1137"/>
                </a:lnTo>
                <a:lnTo>
                  <a:pt x="109" y="1123"/>
                </a:lnTo>
                <a:lnTo>
                  <a:pt x="105" y="1110"/>
                </a:lnTo>
                <a:lnTo>
                  <a:pt x="98" y="1082"/>
                </a:lnTo>
                <a:lnTo>
                  <a:pt x="88" y="1056"/>
                </a:lnTo>
                <a:lnTo>
                  <a:pt x="78" y="1030"/>
                </a:lnTo>
                <a:lnTo>
                  <a:pt x="68" y="1006"/>
                </a:lnTo>
                <a:lnTo>
                  <a:pt x="59" y="982"/>
                </a:lnTo>
                <a:lnTo>
                  <a:pt x="54" y="961"/>
                </a:lnTo>
                <a:lnTo>
                  <a:pt x="54" y="930"/>
                </a:lnTo>
                <a:lnTo>
                  <a:pt x="58" y="943"/>
                </a:lnTo>
                <a:lnTo>
                  <a:pt x="64" y="954"/>
                </a:lnTo>
                <a:lnTo>
                  <a:pt x="71" y="964"/>
                </a:lnTo>
                <a:lnTo>
                  <a:pt x="80" y="973"/>
                </a:lnTo>
                <a:lnTo>
                  <a:pt x="80" y="949"/>
                </a:lnTo>
                <a:lnTo>
                  <a:pt x="80" y="954"/>
                </a:lnTo>
                <a:lnTo>
                  <a:pt x="82" y="958"/>
                </a:lnTo>
                <a:lnTo>
                  <a:pt x="84" y="962"/>
                </a:lnTo>
                <a:lnTo>
                  <a:pt x="88" y="966"/>
                </a:lnTo>
                <a:lnTo>
                  <a:pt x="92" y="969"/>
                </a:lnTo>
                <a:lnTo>
                  <a:pt x="97" y="971"/>
                </a:lnTo>
                <a:lnTo>
                  <a:pt x="102" y="973"/>
                </a:lnTo>
                <a:lnTo>
                  <a:pt x="106" y="973"/>
                </a:lnTo>
                <a:lnTo>
                  <a:pt x="113" y="964"/>
                </a:lnTo>
                <a:lnTo>
                  <a:pt x="122" y="955"/>
                </a:lnTo>
                <a:lnTo>
                  <a:pt x="126" y="951"/>
                </a:lnTo>
                <a:lnTo>
                  <a:pt x="129" y="946"/>
                </a:lnTo>
                <a:lnTo>
                  <a:pt x="132" y="940"/>
                </a:lnTo>
                <a:lnTo>
                  <a:pt x="133" y="936"/>
                </a:lnTo>
                <a:lnTo>
                  <a:pt x="132" y="923"/>
                </a:lnTo>
                <a:lnTo>
                  <a:pt x="128" y="913"/>
                </a:lnTo>
                <a:lnTo>
                  <a:pt x="125" y="903"/>
                </a:lnTo>
                <a:lnTo>
                  <a:pt x="120" y="895"/>
                </a:lnTo>
                <a:lnTo>
                  <a:pt x="115" y="887"/>
                </a:lnTo>
                <a:lnTo>
                  <a:pt x="111" y="879"/>
                </a:lnTo>
                <a:lnTo>
                  <a:pt x="107" y="871"/>
                </a:lnTo>
                <a:lnTo>
                  <a:pt x="106" y="862"/>
                </a:lnTo>
                <a:lnTo>
                  <a:pt x="107" y="855"/>
                </a:lnTo>
                <a:lnTo>
                  <a:pt x="111" y="847"/>
                </a:lnTo>
                <a:lnTo>
                  <a:pt x="115" y="839"/>
                </a:lnTo>
                <a:lnTo>
                  <a:pt x="121" y="831"/>
                </a:lnTo>
                <a:lnTo>
                  <a:pt x="126" y="823"/>
                </a:lnTo>
                <a:lnTo>
                  <a:pt x="132" y="818"/>
                </a:lnTo>
                <a:lnTo>
                  <a:pt x="136" y="814"/>
                </a:lnTo>
                <a:lnTo>
                  <a:pt x="139" y="813"/>
                </a:lnTo>
                <a:lnTo>
                  <a:pt x="139" y="807"/>
                </a:lnTo>
                <a:lnTo>
                  <a:pt x="140" y="800"/>
                </a:lnTo>
                <a:lnTo>
                  <a:pt x="143" y="792"/>
                </a:lnTo>
                <a:lnTo>
                  <a:pt x="146" y="783"/>
                </a:lnTo>
                <a:lnTo>
                  <a:pt x="147" y="765"/>
                </a:lnTo>
                <a:lnTo>
                  <a:pt x="149" y="751"/>
                </a:lnTo>
                <a:lnTo>
                  <a:pt x="151" y="737"/>
                </a:lnTo>
                <a:lnTo>
                  <a:pt x="153" y="721"/>
                </a:lnTo>
              </a:path>
            </a:pathLst>
          </a:custGeom>
          <a:solidFill>
            <a:srgbClr val="007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241" name="Freeform 193"/>
          <p:cNvSpPr>
            <a:spLocks/>
          </p:cNvSpPr>
          <p:nvPr>
            <p:custDataLst>
              <p:tags r:id="rId120"/>
            </p:custDataLst>
          </p:nvPr>
        </p:nvSpPr>
        <p:spPr bwMode="auto">
          <a:xfrm>
            <a:off x="1211264" y="1982400"/>
            <a:ext cx="668337" cy="435769"/>
          </a:xfrm>
          <a:custGeom>
            <a:avLst/>
            <a:gdLst/>
            <a:ahLst/>
            <a:cxnLst>
              <a:cxn ang="0">
                <a:pos x="1243" y="925"/>
              </a:cxn>
              <a:cxn ang="0">
                <a:pos x="1299" y="982"/>
              </a:cxn>
              <a:cxn ang="0">
                <a:pos x="1220" y="999"/>
              </a:cxn>
              <a:cxn ang="0">
                <a:pos x="1177" y="1095"/>
              </a:cxn>
              <a:cxn ang="0">
                <a:pos x="1065" y="1006"/>
              </a:cxn>
              <a:cxn ang="0">
                <a:pos x="994" y="1012"/>
              </a:cxn>
              <a:cxn ang="0">
                <a:pos x="913" y="1039"/>
              </a:cxn>
              <a:cxn ang="0">
                <a:pos x="786" y="971"/>
              </a:cxn>
              <a:cxn ang="0">
                <a:pos x="648" y="917"/>
              </a:cxn>
              <a:cxn ang="0">
                <a:pos x="588" y="883"/>
              </a:cxn>
              <a:cxn ang="0">
                <a:pos x="537" y="835"/>
              </a:cxn>
              <a:cxn ang="0">
                <a:pos x="485" y="826"/>
              </a:cxn>
              <a:cxn ang="0">
                <a:pos x="439" y="757"/>
              </a:cxn>
              <a:cxn ang="0">
                <a:pos x="467" y="705"/>
              </a:cxn>
              <a:cxn ang="0">
                <a:pos x="450" y="601"/>
              </a:cxn>
              <a:cxn ang="0">
                <a:pos x="352" y="468"/>
              </a:cxn>
              <a:cxn ang="0">
                <a:pos x="304" y="426"/>
              </a:cxn>
              <a:cxn ang="0">
                <a:pos x="293" y="369"/>
              </a:cxn>
              <a:cxn ang="0">
                <a:pos x="217" y="248"/>
              </a:cxn>
              <a:cxn ang="0">
                <a:pos x="167" y="74"/>
              </a:cxn>
              <a:cxn ang="0">
                <a:pos x="84" y="104"/>
              </a:cxn>
              <a:cxn ang="0">
                <a:pos x="113" y="222"/>
              </a:cxn>
              <a:cxn ang="0">
                <a:pos x="150" y="326"/>
              </a:cxn>
              <a:cxn ang="0">
                <a:pos x="196" y="402"/>
              </a:cxn>
              <a:cxn ang="0">
                <a:pos x="200" y="465"/>
              </a:cxn>
              <a:cxn ang="0">
                <a:pos x="213" y="524"/>
              </a:cxn>
              <a:cxn ang="0">
                <a:pos x="259" y="571"/>
              </a:cxn>
              <a:cxn ang="0">
                <a:pos x="214" y="596"/>
              </a:cxn>
              <a:cxn ang="0">
                <a:pos x="193" y="542"/>
              </a:cxn>
              <a:cxn ang="0">
                <a:pos x="120" y="474"/>
              </a:cxn>
              <a:cxn ang="0">
                <a:pos x="146" y="420"/>
              </a:cxn>
              <a:cxn ang="0">
                <a:pos x="89" y="366"/>
              </a:cxn>
              <a:cxn ang="0">
                <a:pos x="27" y="307"/>
              </a:cxn>
              <a:cxn ang="0">
                <a:pos x="65" y="289"/>
              </a:cxn>
              <a:cxn ang="0">
                <a:pos x="64" y="225"/>
              </a:cxn>
              <a:cxn ang="0">
                <a:pos x="6" y="117"/>
              </a:cxn>
              <a:cxn ang="0">
                <a:pos x="38" y="5"/>
              </a:cxn>
              <a:cxn ang="0">
                <a:pos x="211" y="18"/>
              </a:cxn>
              <a:cxn ang="0">
                <a:pos x="361" y="76"/>
              </a:cxn>
              <a:cxn ang="0">
                <a:pos x="498" y="55"/>
              </a:cxn>
              <a:cxn ang="0">
                <a:pos x="593" y="54"/>
              </a:cxn>
              <a:cxn ang="0">
                <a:pos x="633" y="110"/>
              </a:cxn>
              <a:cxn ang="0">
                <a:pos x="700" y="215"/>
              </a:cxn>
              <a:cxn ang="0">
                <a:pos x="750" y="192"/>
              </a:cxn>
              <a:cxn ang="0">
                <a:pos x="822" y="176"/>
              </a:cxn>
              <a:cxn ang="0">
                <a:pos x="879" y="244"/>
              </a:cxn>
              <a:cxn ang="0">
                <a:pos x="905" y="362"/>
              </a:cxn>
              <a:cxn ang="0">
                <a:pos x="964" y="405"/>
              </a:cxn>
              <a:cxn ang="0">
                <a:pos x="977" y="456"/>
              </a:cxn>
              <a:cxn ang="0">
                <a:pos x="931" y="492"/>
              </a:cxn>
              <a:cxn ang="0">
                <a:pos x="917" y="634"/>
              </a:cxn>
              <a:cxn ang="0">
                <a:pos x="956" y="791"/>
              </a:cxn>
              <a:cxn ang="0">
                <a:pos x="1054" y="877"/>
              </a:cxn>
              <a:cxn ang="0">
                <a:pos x="1166" y="849"/>
              </a:cxn>
              <a:cxn ang="0">
                <a:pos x="1249" y="850"/>
              </a:cxn>
              <a:cxn ang="0">
                <a:pos x="1296" y="742"/>
              </a:cxn>
              <a:cxn ang="0">
                <a:pos x="1336" y="693"/>
              </a:cxn>
              <a:cxn ang="0">
                <a:pos x="1506" y="678"/>
              </a:cxn>
              <a:cxn ang="0">
                <a:pos x="1503" y="729"/>
              </a:cxn>
              <a:cxn ang="0">
                <a:pos x="1468" y="821"/>
              </a:cxn>
              <a:cxn ang="0">
                <a:pos x="1369" y="888"/>
              </a:cxn>
            </a:cxnLst>
            <a:rect l="0" t="0" r="r" b="b"/>
            <a:pathLst>
              <a:path w="1535" h="1109">
                <a:moveTo>
                  <a:pt x="1336" y="888"/>
                </a:moveTo>
                <a:lnTo>
                  <a:pt x="1319" y="891"/>
                </a:lnTo>
                <a:lnTo>
                  <a:pt x="1287" y="901"/>
                </a:lnTo>
                <a:lnTo>
                  <a:pt x="1270" y="907"/>
                </a:lnTo>
                <a:lnTo>
                  <a:pt x="1256" y="913"/>
                </a:lnTo>
                <a:lnTo>
                  <a:pt x="1251" y="916"/>
                </a:lnTo>
                <a:lnTo>
                  <a:pt x="1246" y="919"/>
                </a:lnTo>
                <a:lnTo>
                  <a:pt x="1244" y="922"/>
                </a:lnTo>
                <a:lnTo>
                  <a:pt x="1243" y="925"/>
                </a:lnTo>
                <a:lnTo>
                  <a:pt x="1243" y="929"/>
                </a:lnTo>
                <a:lnTo>
                  <a:pt x="1244" y="933"/>
                </a:lnTo>
                <a:lnTo>
                  <a:pt x="1246" y="937"/>
                </a:lnTo>
                <a:lnTo>
                  <a:pt x="1248" y="940"/>
                </a:lnTo>
                <a:lnTo>
                  <a:pt x="1255" y="946"/>
                </a:lnTo>
                <a:lnTo>
                  <a:pt x="1263" y="951"/>
                </a:lnTo>
                <a:lnTo>
                  <a:pt x="1282" y="961"/>
                </a:lnTo>
                <a:lnTo>
                  <a:pt x="1302" y="973"/>
                </a:lnTo>
                <a:lnTo>
                  <a:pt x="1299" y="982"/>
                </a:lnTo>
                <a:lnTo>
                  <a:pt x="1294" y="988"/>
                </a:lnTo>
                <a:lnTo>
                  <a:pt x="1289" y="993"/>
                </a:lnTo>
                <a:lnTo>
                  <a:pt x="1282" y="996"/>
                </a:lnTo>
                <a:lnTo>
                  <a:pt x="1275" y="998"/>
                </a:lnTo>
                <a:lnTo>
                  <a:pt x="1267" y="999"/>
                </a:lnTo>
                <a:lnTo>
                  <a:pt x="1258" y="999"/>
                </a:lnTo>
                <a:lnTo>
                  <a:pt x="1251" y="999"/>
                </a:lnTo>
                <a:lnTo>
                  <a:pt x="1234" y="999"/>
                </a:lnTo>
                <a:lnTo>
                  <a:pt x="1220" y="999"/>
                </a:lnTo>
                <a:lnTo>
                  <a:pt x="1213" y="1000"/>
                </a:lnTo>
                <a:lnTo>
                  <a:pt x="1209" y="1002"/>
                </a:lnTo>
                <a:lnTo>
                  <a:pt x="1204" y="1006"/>
                </a:lnTo>
                <a:lnTo>
                  <a:pt x="1203" y="1011"/>
                </a:lnTo>
                <a:lnTo>
                  <a:pt x="1193" y="1036"/>
                </a:lnTo>
                <a:lnTo>
                  <a:pt x="1185" y="1058"/>
                </a:lnTo>
                <a:lnTo>
                  <a:pt x="1181" y="1069"/>
                </a:lnTo>
                <a:lnTo>
                  <a:pt x="1178" y="1080"/>
                </a:lnTo>
                <a:lnTo>
                  <a:pt x="1177" y="1095"/>
                </a:lnTo>
                <a:lnTo>
                  <a:pt x="1176" y="1109"/>
                </a:lnTo>
                <a:lnTo>
                  <a:pt x="1165" y="1100"/>
                </a:lnTo>
                <a:lnTo>
                  <a:pt x="1153" y="1091"/>
                </a:lnTo>
                <a:lnTo>
                  <a:pt x="1141" y="1081"/>
                </a:lnTo>
                <a:lnTo>
                  <a:pt x="1130" y="1072"/>
                </a:lnTo>
                <a:lnTo>
                  <a:pt x="1112" y="1051"/>
                </a:lnTo>
                <a:lnTo>
                  <a:pt x="1090" y="1026"/>
                </a:lnTo>
                <a:lnTo>
                  <a:pt x="1078" y="1015"/>
                </a:lnTo>
                <a:lnTo>
                  <a:pt x="1065" y="1006"/>
                </a:lnTo>
                <a:lnTo>
                  <a:pt x="1058" y="1003"/>
                </a:lnTo>
                <a:lnTo>
                  <a:pt x="1052" y="1001"/>
                </a:lnTo>
                <a:lnTo>
                  <a:pt x="1044" y="999"/>
                </a:lnTo>
                <a:lnTo>
                  <a:pt x="1036" y="998"/>
                </a:lnTo>
                <a:lnTo>
                  <a:pt x="1028" y="999"/>
                </a:lnTo>
                <a:lnTo>
                  <a:pt x="1019" y="1000"/>
                </a:lnTo>
                <a:lnTo>
                  <a:pt x="1011" y="1002"/>
                </a:lnTo>
                <a:lnTo>
                  <a:pt x="1006" y="1005"/>
                </a:lnTo>
                <a:lnTo>
                  <a:pt x="994" y="1012"/>
                </a:lnTo>
                <a:lnTo>
                  <a:pt x="984" y="1020"/>
                </a:lnTo>
                <a:lnTo>
                  <a:pt x="974" y="1027"/>
                </a:lnTo>
                <a:lnTo>
                  <a:pt x="962" y="1035"/>
                </a:lnTo>
                <a:lnTo>
                  <a:pt x="955" y="1038"/>
                </a:lnTo>
                <a:lnTo>
                  <a:pt x="949" y="1040"/>
                </a:lnTo>
                <a:lnTo>
                  <a:pt x="940" y="1041"/>
                </a:lnTo>
                <a:lnTo>
                  <a:pt x="930" y="1042"/>
                </a:lnTo>
                <a:lnTo>
                  <a:pt x="922" y="1041"/>
                </a:lnTo>
                <a:lnTo>
                  <a:pt x="913" y="1039"/>
                </a:lnTo>
                <a:lnTo>
                  <a:pt x="902" y="1037"/>
                </a:lnTo>
                <a:lnTo>
                  <a:pt x="891" y="1032"/>
                </a:lnTo>
                <a:lnTo>
                  <a:pt x="868" y="1023"/>
                </a:lnTo>
                <a:lnTo>
                  <a:pt x="845" y="1011"/>
                </a:lnTo>
                <a:lnTo>
                  <a:pt x="823" y="999"/>
                </a:lnTo>
                <a:lnTo>
                  <a:pt x="805" y="987"/>
                </a:lnTo>
                <a:lnTo>
                  <a:pt x="797" y="982"/>
                </a:lnTo>
                <a:lnTo>
                  <a:pt x="790" y="976"/>
                </a:lnTo>
                <a:lnTo>
                  <a:pt x="786" y="971"/>
                </a:lnTo>
                <a:lnTo>
                  <a:pt x="784" y="967"/>
                </a:lnTo>
                <a:lnTo>
                  <a:pt x="731" y="973"/>
                </a:lnTo>
                <a:lnTo>
                  <a:pt x="714" y="962"/>
                </a:lnTo>
                <a:lnTo>
                  <a:pt x="697" y="953"/>
                </a:lnTo>
                <a:lnTo>
                  <a:pt x="680" y="945"/>
                </a:lnTo>
                <a:lnTo>
                  <a:pt x="658" y="937"/>
                </a:lnTo>
                <a:lnTo>
                  <a:pt x="653" y="932"/>
                </a:lnTo>
                <a:lnTo>
                  <a:pt x="650" y="925"/>
                </a:lnTo>
                <a:lnTo>
                  <a:pt x="648" y="917"/>
                </a:lnTo>
                <a:lnTo>
                  <a:pt x="644" y="910"/>
                </a:lnTo>
                <a:lnTo>
                  <a:pt x="642" y="904"/>
                </a:lnTo>
                <a:lnTo>
                  <a:pt x="639" y="898"/>
                </a:lnTo>
                <a:lnTo>
                  <a:pt x="638" y="896"/>
                </a:lnTo>
                <a:lnTo>
                  <a:pt x="636" y="895"/>
                </a:lnTo>
                <a:lnTo>
                  <a:pt x="633" y="894"/>
                </a:lnTo>
                <a:lnTo>
                  <a:pt x="631" y="894"/>
                </a:lnTo>
                <a:lnTo>
                  <a:pt x="607" y="887"/>
                </a:lnTo>
                <a:lnTo>
                  <a:pt x="588" y="883"/>
                </a:lnTo>
                <a:lnTo>
                  <a:pt x="575" y="882"/>
                </a:lnTo>
                <a:lnTo>
                  <a:pt x="565" y="880"/>
                </a:lnTo>
                <a:lnTo>
                  <a:pt x="561" y="879"/>
                </a:lnTo>
                <a:lnTo>
                  <a:pt x="558" y="877"/>
                </a:lnTo>
                <a:lnTo>
                  <a:pt x="554" y="874"/>
                </a:lnTo>
                <a:lnTo>
                  <a:pt x="551" y="870"/>
                </a:lnTo>
                <a:lnTo>
                  <a:pt x="546" y="857"/>
                </a:lnTo>
                <a:lnTo>
                  <a:pt x="538" y="838"/>
                </a:lnTo>
                <a:lnTo>
                  <a:pt x="537" y="835"/>
                </a:lnTo>
                <a:lnTo>
                  <a:pt x="535" y="833"/>
                </a:lnTo>
                <a:lnTo>
                  <a:pt x="532" y="831"/>
                </a:lnTo>
                <a:lnTo>
                  <a:pt x="530" y="829"/>
                </a:lnTo>
                <a:lnTo>
                  <a:pt x="524" y="828"/>
                </a:lnTo>
                <a:lnTo>
                  <a:pt x="517" y="828"/>
                </a:lnTo>
                <a:lnTo>
                  <a:pt x="509" y="828"/>
                </a:lnTo>
                <a:lnTo>
                  <a:pt x="501" y="828"/>
                </a:lnTo>
                <a:lnTo>
                  <a:pt x="493" y="828"/>
                </a:lnTo>
                <a:lnTo>
                  <a:pt x="485" y="826"/>
                </a:lnTo>
                <a:lnTo>
                  <a:pt x="480" y="822"/>
                </a:lnTo>
                <a:lnTo>
                  <a:pt x="472" y="816"/>
                </a:lnTo>
                <a:lnTo>
                  <a:pt x="464" y="806"/>
                </a:lnTo>
                <a:lnTo>
                  <a:pt x="457" y="796"/>
                </a:lnTo>
                <a:lnTo>
                  <a:pt x="450" y="784"/>
                </a:lnTo>
                <a:lnTo>
                  <a:pt x="445" y="773"/>
                </a:lnTo>
                <a:lnTo>
                  <a:pt x="442" y="768"/>
                </a:lnTo>
                <a:lnTo>
                  <a:pt x="440" y="762"/>
                </a:lnTo>
                <a:lnTo>
                  <a:pt x="439" y="757"/>
                </a:lnTo>
                <a:lnTo>
                  <a:pt x="439" y="751"/>
                </a:lnTo>
                <a:lnTo>
                  <a:pt x="439" y="747"/>
                </a:lnTo>
                <a:lnTo>
                  <a:pt x="440" y="743"/>
                </a:lnTo>
                <a:lnTo>
                  <a:pt x="441" y="739"/>
                </a:lnTo>
                <a:lnTo>
                  <a:pt x="443" y="735"/>
                </a:lnTo>
                <a:lnTo>
                  <a:pt x="449" y="728"/>
                </a:lnTo>
                <a:lnTo>
                  <a:pt x="456" y="720"/>
                </a:lnTo>
                <a:lnTo>
                  <a:pt x="461" y="713"/>
                </a:lnTo>
                <a:lnTo>
                  <a:pt x="467" y="705"/>
                </a:lnTo>
                <a:lnTo>
                  <a:pt x="469" y="700"/>
                </a:lnTo>
                <a:lnTo>
                  <a:pt x="471" y="694"/>
                </a:lnTo>
                <a:lnTo>
                  <a:pt x="472" y="689"/>
                </a:lnTo>
                <a:lnTo>
                  <a:pt x="472" y="684"/>
                </a:lnTo>
                <a:lnTo>
                  <a:pt x="471" y="664"/>
                </a:lnTo>
                <a:lnTo>
                  <a:pt x="468" y="647"/>
                </a:lnTo>
                <a:lnTo>
                  <a:pt x="463" y="630"/>
                </a:lnTo>
                <a:lnTo>
                  <a:pt x="457" y="615"/>
                </a:lnTo>
                <a:lnTo>
                  <a:pt x="450" y="601"/>
                </a:lnTo>
                <a:lnTo>
                  <a:pt x="441" y="589"/>
                </a:lnTo>
                <a:lnTo>
                  <a:pt x="431" y="576"/>
                </a:lnTo>
                <a:lnTo>
                  <a:pt x="423" y="565"/>
                </a:lnTo>
                <a:lnTo>
                  <a:pt x="402" y="543"/>
                </a:lnTo>
                <a:lnTo>
                  <a:pt x="382" y="520"/>
                </a:lnTo>
                <a:lnTo>
                  <a:pt x="373" y="509"/>
                </a:lnTo>
                <a:lnTo>
                  <a:pt x="366" y="496"/>
                </a:lnTo>
                <a:lnTo>
                  <a:pt x="358" y="483"/>
                </a:lnTo>
                <a:lnTo>
                  <a:pt x="352" y="468"/>
                </a:lnTo>
                <a:lnTo>
                  <a:pt x="350" y="464"/>
                </a:lnTo>
                <a:lnTo>
                  <a:pt x="348" y="460"/>
                </a:lnTo>
                <a:lnTo>
                  <a:pt x="345" y="456"/>
                </a:lnTo>
                <a:lnTo>
                  <a:pt x="341" y="453"/>
                </a:lnTo>
                <a:lnTo>
                  <a:pt x="333" y="447"/>
                </a:lnTo>
                <a:lnTo>
                  <a:pt x="324" y="441"/>
                </a:lnTo>
                <a:lnTo>
                  <a:pt x="314" y="435"/>
                </a:lnTo>
                <a:lnTo>
                  <a:pt x="306" y="429"/>
                </a:lnTo>
                <a:lnTo>
                  <a:pt x="304" y="426"/>
                </a:lnTo>
                <a:lnTo>
                  <a:pt x="301" y="422"/>
                </a:lnTo>
                <a:lnTo>
                  <a:pt x="300" y="417"/>
                </a:lnTo>
                <a:lnTo>
                  <a:pt x="300" y="413"/>
                </a:lnTo>
                <a:lnTo>
                  <a:pt x="306" y="404"/>
                </a:lnTo>
                <a:lnTo>
                  <a:pt x="313" y="394"/>
                </a:lnTo>
                <a:lnTo>
                  <a:pt x="306" y="391"/>
                </a:lnTo>
                <a:lnTo>
                  <a:pt x="300" y="388"/>
                </a:lnTo>
                <a:lnTo>
                  <a:pt x="297" y="380"/>
                </a:lnTo>
                <a:lnTo>
                  <a:pt x="293" y="369"/>
                </a:lnTo>
                <a:lnTo>
                  <a:pt x="286" y="356"/>
                </a:lnTo>
                <a:lnTo>
                  <a:pt x="279" y="344"/>
                </a:lnTo>
                <a:lnTo>
                  <a:pt x="262" y="321"/>
                </a:lnTo>
                <a:lnTo>
                  <a:pt x="252" y="308"/>
                </a:lnTo>
                <a:lnTo>
                  <a:pt x="245" y="291"/>
                </a:lnTo>
                <a:lnTo>
                  <a:pt x="238" y="278"/>
                </a:lnTo>
                <a:lnTo>
                  <a:pt x="230" y="267"/>
                </a:lnTo>
                <a:lnTo>
                  <a:pt x="224" y="258"/>
                </a:lnTo>
                <a:lnTo>
                  <a:pt x="217" y="248"/>
                </a:lnTo>
                <a:lnTo>
                  <a:pt x="211" y="239"/>
                </a:lnTo>
                <a:lnTo>
                  <a:pt x="205" y="228"/>
                </a:lnTo>
                <a:lnTo>
                  <a:pt x="200" y="216"/>
                </a:lnTo>
                <a:lnTo>
                  <a:pt x="193" y="195"/>
                </a:lnTo>
                <a:lnTo>
                  <a:pt x="187" y="176"/>
                </a:lnTo>
                <a:lnTo>
                  <a:pt x="182" y="158"/>
                </a:lnTo>
                <a:lnTo>
                  <a:pt x="178" y="140"/>
                </a:lnTo>
                <a:lnTo>
                  <a:pt x="171" y="107"/>
                </a:lnTo>
                <a:lnTo>
                  <a:pt x="167" y="74"/>
                </a:lnTo>
                <a:lnTo>
                  <a:pt x="155" y="74"/>
                </a:lnTo>
                <a:lnTo>
                  <a:pt x="146" y="73"/>
                </a:lnTo>
                <a:lnTo>
                  <a:pt x="138" y="71"/>
                </a:lnTo>
                <a:lnTo>
                  <a:pt x="132" y="69"/>
                </a:lnTo>
                <a:lnTo>
                  <a:pt x="120" y="64"/>
                </a:lnTo>
                <a:lnTo>
                  <a:pt x="106" y="56"/>
                </a:lnTo>
                <a:lnTo>
                  <a:pt x="97" y="74"/>
                </a:lnTo>
                <a:lnTo>
                  <a:pt x="89" y="94"/>
                </a:lnTo>
                <a:lnTo>
                  <a:pt x="84" y="104"/>
                </a:lnTo>
                <a:lnTo>
                  <a:pt x="82" y="114"/>
                </a:lnTo>
                <a:lnTo>
                  <a:pt x="80" y="124"/>
                </a:lnTo>
                <a:lnTo>
                  <a:pt x="80" y="135"/>
                </a:lnTo>
                <a:lnTo>
                  <a:pt x="81" y="148"/>
                </a:lnTo>
                <a:lnTo>
                  <a:pt x="83" y="160"/>
                </a:lnTo>
                <a:lnTo>
                  <a:pt x="87" y="171"/>
                </a:lnTo>
                <a:lnTo>
                  <a:pt x="90" y="182"/>
                </a:lnTo>
                <a:lnTo>
                  <a:pt x="101" y="203"/>
                </a:lnTo>
                <a:lnTo>
                  <a:pt x="113" y="222"/>
                </a:lnTo>
                <a:lnTo>
                  <a:pt x="125" y="241"/>
                </a:lnTo>
                <a:lnTo>
                  <a:pt x="136" y="263"/>
                </a:lnTo>
                <a:lnTo>
                  <a:pt x="140" y="273"/>
                </a:lnTo>
                <a:lnTo>
                  <a:pt x="144" y="284"/>
                </a:lnTo>
                <a:lnTo>
                  <a:pt x="146" y="296"/>
                </a:lnTo>
                <a:lnTo>
                  <a:pt x="146" y="308"/>
                </a:lnTo>
                <a:lnTo>
                  <a:pt x="147" y="314"/>
                </a:lnTo>
                <a:lnTo>
                  <a:pt x="148" y="320"/>
                </a:lnTo>
                <a:lnTo>
                  <a:pt x="150" y="326"/>
                </a:lnTo>
                <a:lnTo>
                  <a:pt x="154" y="332"/>
                </a:lnTo>
                <a:lnTo>
                  <a:pt x="161" y="344"/>
                </a:lnTo>
                <a:lnTo>
                  <a:pt x="170" y="355"/>
                </a:lnTo>
                <a:lnTo>
                  <a:pt x="178" y="366"/>
                </a:lnTo>
                <a:lnTo>
                  <a:pt x="185" y="375"/>
                </a:lnTo>
                <a:lnTo>
                  <a:pt x="191" y="383"/>
                </a:lnTo>
                <a:lnTo>
                  <a:pt x="193" y="388"/>
                </a:lnTo>
                <a:lnTo>
                  <a:pt x="195" y="395"/>
                </a:lnTo>
                <a:lnTo>
                  <a:pt x="196" y="402"/>
                </a:lnTo>
                <a:lnTo>
                  <a:pt x="196" y="409"/>
                </a:lnTo>
                <a:lnTo>
                  <a:pt x="198" y="415"/>
                </a:lnTo>
                <a:lnTo>
                  <a:pt x="196" y="429"/>
                </a:lnTo>
                <a:lnTo>
                  <a:pt x="195" y="441"/>
                </a:lnTo>
                <a:lnTo>
                  <a:pt x="195" y="446"/>
                </a:lnTo>
                <a:lnTo>
                  <a:pt x="195" y="452"/>
                </a:lnTo>
                <a:lnTo>
                  <a:pt x="196" y="456"/>
                </a:lnTo>
                <a:lnTo>
                  <a:pt x="198" y="461"/>
                </a:lnTo>
                <a:lnTo>
                  <a:pt x="200" y="465"/>
                </a:lnTo>
                <a:lnTo>
                  <a:pt x="203" y="469"/>
                </a:lnTo>
                <a:lnTo>
                  <a:pt x="207" y="472"/>
                </a:lnTo>
                <a:lnTo>
                  <a:pt x="213" y="474"/>
                </a:lnTo>
                <a:lnTo>
                  <a:pt x="211" y="483"/>
                </a:lnTo>
                <a:lnTo>
                  <a:pt x="210" y="489"/>
                </a:lnTo>
                <a:lnTo>
                  <a:pt x="210" y="495"/>
                </a:lnTo>
                <a:lnTo>
                  <a:pt x="211" y="499"/>
                </a:lnTo>
                <a:lnTo>
                  <a:pt x="212" y="509"/>
                </a:lnTo>
                <a:lnTo>
                  <a:pt x="213" y="524"/>
                </a:lnTo>
                <a:lnTo>
                  <a:pt x="221" y="525"/>
                </a:lnTo>
                <a:lnTo>
                  <a:pt x="228" y="528"/>
                </a:lnTo>
                <a:lnTo>
                  <a:pt x="236" y="533"/>
                </a:lnTo>
                <a:lnTo>
                  <a:pt x="244" y="539"/>
                </a:lnTo>
                <a:lnTo>
                  <a:pt x="250" y="546"/>
                </a:lnTo>
                <a:lnTo>
                  <a:pt x="255" y="553"/>
                </a:lnTo>
                <a:lnTo>
                  <a:pt x="258" y="560"/>
                </a:lnTo>
                <a:lnTo>
                  <a:pt x="259" y="567"/>
                </a:lnTo>
                <a:lnTo>
                  <a:pt x="259" y="571"/>
                </a:lnTo>
                <a:lnTo>
                  <a:pt x="258" y="575"/>
                </a:lnTo>
                <a:lnTo>
                  <a:pt x="257" y="579"/>
                </a:lnTo>
                <a:lnTo>
                  <a:pt x="255" y="583"/>
                </a:lnTo>
                <a:lnTo>
                  <a:pt x="250" y="590"/>
                </a:lnTo>
                <a:lnTo>
                  <a:pt x="245" y="596"/>
                </a:lnTo>
                <a:lnTo>
                  <a:pt x="232" y="604"/>
                </a:lnTo>
                <a:lnTo>
                  <a:pt x="219" y="610"/>
                </a:lnTo>
                <a:lnTo>
                  <a:pt x="216" y="603"/>
                </a:lnTo>
                <a:lnTo>
                  <a:pt x="214" y="596"/>
                </a:lnTo>
                <a:lnTo>
                  <a:pt x="213" y="587"/>
                </a:lnTo>
                <a:lnTo>
                  <a:pt x="213" y="580"/>
                </a:lnTo>
                <a:lnTo>
                  <a:pt x="213" y="573"/>
                </a:lnTo>
                <a:lnTo>
                  <a:pt x="212" y="566"/>
                </a:lnTo>
                <a:lnTo>
                  <a:pt x="210" y="560"/>
                </a:lnTo>
                <a:lnTo>
                  <a:pt x="206" y="555"/>
                </a:lnTo>
                <a:lnTo>
                  <a:pt x="203" y="550"/>
                </a:lnTo>
                <a:lnTo>
                  <a:pt x="199" y="546"/>
                </a:lnTo>
                <a:lnTo>
                  <a:pt x="193" y="542"/>
                </a:lnTo>
                <a:lnTo>
                  <a:pt x="188" y="537"/>
                </a:lnTo>
                <a:lnTo>
                  <a:pt x="173" y="528"/>
                </a:lnTo>
                <a:lnTo>
                  <a:pt x="158" y="519"/>
                </a:lnTo>
                <a:lnTo>
                  <a:pt x="144" y="510"/>
                </a:lnTo>
                <a:lnTo>
                  <a:pt x="132" y="499"/>
                </a:lnTo>
                <a:lnTo>
                  <a:pt x="126" y="494"/>
                </a:lnTo>
                <a:lnTo>
                  <a:pt x="123" y="488"/>
                </a:lnTo>
                <a:lnTo>
                  <a:pt x="121" y="482"/>
                </a:lnTo>
                <a:lnTo>
                  <a:pt x="120" y="474"/>
                </a:lnTo>
                <a:lnTo>
                  <a:pt x="121" y="468"/>
                </a:lnTo>
                <a:lnTo>
                  <a:pt x="124" y="461"/>
                </a:lnTo>
                <a:lnTo>
                  <a:pt x="128" y="456"/>
                </a:lnTo>
                <a:lnTo>
                  <a:pt x="133" y="450"/>
                </a:lnTo>
                <a:lnTo>
                  <a:pt x="138" y="444"/>
                </a:lnTo>
                <a:lnTo>
                  <a:pt x="143" y="438"/>
                </a:lnTo>
                <a:lnTo>
                  <a:pt x="145" y="432"/>
                </a:lnTo>
                <a:lnTo>
                  <a:pt x="146" y="426"/>
                </a:lnTo>
                <a:lnTo>
                  <a:pt x="146" y="420"/>
                </a:lnTo>
                <a:lnTo>
                  <a:pt x="145" y="415"/>
                </a:lnTo>
                <a:lnTo>
                  <a:pt x="144" y="411"/>
                </a:lnTo>
                <a:lnTo>
                  <a:pt x="142" y="406"/>
                </a:lnTo>
                <a:lnTo>
                  <a:pt x="136" y="399"/>
                </a:lnTo>
                <a:lnTo>
                  <a:pt x="128" y="391"/>
                </a:lnTo>
                <a:lnTo>
                  <a:pt x="120" y="385"/>
                </a:lnTo>
                <a:lnTo>
                  <a:pt x="111" y="378"/>
                </a:lnTo>
                <a:lnTo>
                  <a:pt x="100" y="372"/>
                </a:lnTo>
                <a:lnTo>
                  <a:pt x="89" y="366"/>
                </a:lnTo>
                <a:lnTo>
                  <a:pt x="78" y="359"/>
                </a:lnTo>
                <a:lnTo>
                  <a:pt x="68" y="353"/>
                </a:lnTo>
                <a:lnTo>
                  <a:pt x="57" y="347"/>
                </a:lnTo>
                <a:lnTo>
                  <a:pt x="48" y="339"/>
                </a:lnTo>
                <a:lnTo>
                  <a:pt x="41" y="332"/>
                </a:lnTo>
                <a:lnTo>
                  <a:pt x="34" y="323"/>
                </a:lnTo>
                <a:lnTo>
                  <a:pt x="32" y="318"/>
                </a:lnTo>
                <a:lnTo>
                  <a:pt x="30" y="313"/>
                </a:lnTo>
                <a:lnTo>
                  <a:pt x="27" y="307"/>
                </a:lnTo>
                <a:lnTo>
                  <a:pt x="27" y="302"/>
                </a:lnTo>
                <a:lnTo>
                  <a:pt x="34" y="302"/>
                </a:lnTo>
                <a:lnTo>
                  <a:pt x="41" y="301"/>
                </a:lnTo>
                <a:lnTo>
                  <a:pt x="46" y="300"/>
                </a:lnTo>
                <a:lnTo>
                  <a:pt x="50" y="298"/>
                </a:lnTo>
                <a:lnTo>
                  <a:pt x="55" y="297"/>
                </a:lnTo>
                <a:lnTo>
                  <a:pt x="59" y="294"/>
                </a:lnTo>
                <a:lnTo>
                  <a:pt x="62" y="292"/>
                </a:lnTo>
                <a:lnTo>
                  <a:pt x="65" y="289"/>
                </a:lnTo>
                <a:lnTo>
                  <a:pt x="69" y="282"/>
                </a:lnTo>
                <a:lnTo>
                  <a:pt x="71" y="274"/>
                </a:lnTo>
                <a:lnTo>
                  <a:pt x="73" y="264"/>
                </a:lnTo>
                <a:lnTo>
                  <a:pt x="73" y="252"/>
                </a:lnTo>
                <a:lnTo>
                  <a:pt x="73" y="247"/>
                </a:lnTo>
                <a:lnTo>
                  <a:pt x="72" y="242"/>
                </a:lnTo>
                <a:lnTo>
                  <a:pt x="71" y="237"/>
                </a:lnTo>
                <a:lnTo>
                  <a:pt x="69" y="233"/>
                </a:lnTo>
                <a:lnTo>
                  <a:pt x="64" y="225"/>
                </a:lnTo>
                <a:lnTo>
                  <a:pt x="58" y="217"/>
                </a:lnTo>
                <a:lnTo>
                  <a:pt x="43" y="205"/>
                </a:lnTo>
                <a:lnTo>
                  <a:pt x="27" y="191"/>
                </a:lnTo>
                <a:lnTo>
                  <a:pt x="19" y="176"/>
                </a:lnTo>
                <a:lnTo>
                  <a:pt x="13" y="163"/>
                </a:lnTo>
                <a:lnTo>
                  <a:pt x="10" y="151"/>
                </a:lnTo>
                <a:lnTo>
                  <a:pt x="9" y="139"/>
                </a:lnTo>
                <a:lnTo>
                  <a:pt x="8" y="128"/>
                </a:lnTo>
                <a:lnTo>
                  <a:pt x="6" y="117"/>
                </a:lnTo>
                <a:lnTo>
                  <a:pt x="4" y="106"/>
                </a:lnTo>
                <a:lnTo>
                  <a:pt x="0" y="93"/>
                </a:lnTo>
                <a:lnTo>
                  <a:pt x="0" y="50"/>
                </a:lnTo>
                <a:lnTo>
                  <a:pt x="1" y="36"/>
                </a:lnTo>
                <a:lnTo>
                  <a:pt x="3" y="22"/>
                </a:lnTo>
                <a:lnTo>
                  <a:pt x="5" y="10"/>
                </a:lnTo>
                <a:lnTo>
                  <a:pt x="6" y="0"/>
                </a:lnTo>
                <a:lnTo>
                  <a:pt x="23" y="4"/>
                </a:lnTo>
                <a:lnTo>
                  <a:pt x="38" y="5"/>
                </a:lnTo>
                <a:lnTo>
                  <a:pt x="53" y="6"/>
                </a:lnTo>
                <a:lnTo>
                  <a:pt x="66" y="5"/>
                </a:lnTo>
                <a:lnTo>
                  <a:pt x="92" y="2"/>
                </a:lnTo>
                <a:lnTo>
                  <a:pt x="120" y="0"/>
                </a:lnTo>
                <a:lnTo>
                  <a:pt x="140" y="1"/>
                </a:lnTo>
                <a:lnTo>
                  <a:pt x="159" y="4"/>
                </a:lnTo>
                <a:lnTo>
                  <a:pt x="178" y="7"/>
                </a:lnTo>
                <a:lnTo>
                  <a:pt x="194" y="13"/>
                </a:lnTo>
                <a:lnTo>
                  <a:pt x="211" y="18"/>
                </a:lnTo>
                <a:lnTo>
                  <a:pt x="226" y="25"/>
                </a:lnTo>
                <a:lnTo>
                  <a:pt x="243" y="33"/>
                </a:lnTo>
                <a:lnTo>
                  <a:pt x="258" y="41"/>
                </a:lnTo>
                <a:lnTo>
                  <a:pt x="273" y="48"/>
                </a:lnTo>
                <a:lnTo>
                  <a:pt x="290" y="55"/>
                </a:lnTo>
                <a:lnTo>
                  <a:pt x="306" y="62"/>
                </a:lnTo>
                <a:lnTo>
                  <a:pt x="324" y="68"/>
                </a:lnTo>
                <a:lnTo>
                  <a:pt x="342" y="73"/>
                </a:lnTo>
                <a:lnTo>
                  <a:pt x="361" y="76"/>
                </a:lnTo>
                <a:lnTo>
                  <a:pt x="383" y="79"/>
                </a:lnTo>
                <a:lnTo>
                  <a:pt x="405" y="80"/>
                </a:lnTo>
                <a:lnTo>
                  <a:pt x="419" y="79"/>
                </a:lnTo>
                <a:lnTo>
                  <a:pt x="432" y="78"/>
                </a:lnTo>
                <a:lnTo>
                  <a:pt x="443" y="77"/>
                </a:lnTo>
                <a:lnTo>
                  <a:pt x="452" y="74"/>
                </a:lnTo>
                <a:lnTo>
                  <a:pt x="470" y="68"/>
                </a:lnTo>
                <a:lnTo>
                  <a:pt x="484" y="62"/>
                </a:lnTo>
                <a:lnTo>
                  <a:pt x="498" y="55"/>
                </a:lnTo>
                <a:lnTo>
                  <a:pt x="515" y="49"/>
                </a:lnTo>
                <a:lnTo>
                  <a:pt x="524" y="47"/>
                </a:lnTo>
                <a:lnTo>
                  <a:pt x="534" y="45"/>
                </a:lnTo>
                <a:lnTo>
                  <a:pt x="546" y="44"/>
                </a:lnTo>
                <a:lnTo>
                  <a:pt x="559" y="44"/>
                </a:lnTo>
                <a:lnTo>
                  <a:pt x="569" y="44"/>
                </a:lnTo>
                <a:lnTo>
                  <a:pt x="577" y="46"/>
                </a:lnTo>
                <a:lnTo>
                  <a:pt x="585" y="50"/>
                </a:lnTo>
                <a:lnTo>
                  <a:pt x="593" y="54"/>
                </a:lnTo>
                <a:lnTo>
                  <a:pt x="598" y="59"/>
                </a:lnTo>
                <a:lnTo>
                  <a:pt x="603" y="65"/>
                </a:lnTo>
                <a:lnTo>
                  <a:pt x="607" y="71"/>
                </a:lnTo>
                <a:lnTo>
                  <a:pt x="610" y="77"/>
                </a:lnTo>
                <a:lnTo>
                  <a:pt x="617" y="90"/>
                </a:lnTo>
                <a:lnTo>
                  <a:pt x="622" y="101"/>
                </a:lnTo>
                <a:lnTo>
                  <a:pt x="626" y="105"/>
                </a:lnTo>
                <a:lnTo>
                  <a:pt x="629" y="108"/>
                </a:lnTo>
                <a:lnTo>
                  <a:pt x="633" y="110"/>
                </a:lnTo>
                <a:lnTo>
                  <a:pt x="638" y="111"/>
                </a:lnTo>
                <a:lnTo>
                  <a:pt x="642" y="121"/>
                </a:lnTo>
                <a:lnTo>
                  <a:pt x="649" y="134"/>
                </a:lnTo>
                <a:lnTo>
                  <a:pt x="658" y="151"/>
                </a:lnTo>
                <a:lnTo>
                  <a:pt x="667" y="169"/>
                </a:lnTo>
                <a:lnTo>
                  <a:pt x="678" y="186"/>
                </a:lnTo>
                <a:lnTo>
                  <a:pt x="689" y="202"/>
                </a:lnTo>
                <a:lnTo>
                  <a:pt x="695" y="209"/>
                </a:lnTo>
                <a:lnTo>
                  <a:pt x="700" y="215"/>
                </a:lnTo>
                <a:lnTo>
                  <a:pt x="706" y="219"/>
                </a:lnTo>
                <a:lnTo>
                  <a:pt x="711" y="222"/>
                </a:lnTo>
                <a:lnTo>
                  <a:pt x="738" y="222"/>
                </a:lnTo>
                <a:lnTo>
                  <a:pt x="738" y="217"/>
                </a:lnTo>
                <a:lnTo>
                  <a:pt x="739" y="211"/>
                </a:lnTo>
                <a:lnTo>
                  <a:pt x="741" y="206"/>
                </a:lnTo>
                <a:lnTo>
                  <a:pt x="743" y="202"/>
                </a:lnTo>
                <a:lnTo>
                  <a:pt x="747" y="196"/>
                </a:lnTo>
                <a:lnTo>
                  <a:pt x="750" y="192"/>
                </a:lnTo>
                <a:lnTo>
                  <a:pt x="754" y="189"/>
                </a:lnTo>
                <a:lnTo>
                  <a:pt x="759" y="185"/>
                </a:lnTo>
                <a:lnTo>
                  <a:pt x="768" y="180"/>
                </a:lnTo>
                <a:lnTo>
                  <a:pt x="779" y="176"/>
                </a:lnTo>
                <a:lnTo>
                  <a:pt x="792" y="173"/>
                </a:lnTo>
                <a:lnTo>
                  <a:pt x="805" y="173"/>
                </a:lnTo>
                <a:lnTo>
                  <a:pt x="810" y="173"/>
                </a:lnTo>
                <a:lnTo>
                  <a:pt x="816" y="174"/>
                </a:lnTo>
                <a:lnTo>
                  <a:pt x="822" y="176"/>
                </a:lnTo>
                <a:lnTo>
                  <a:pt x="828" y="178"/>
                </a:lnTo>
                <a:lnTo>
                  <a:pt x="833" y="181"/>
                </a:lnTo>
                <a:lnTo>
                  <a:pt x="838" y="185"/>
                </a:lnTo>
                <a:lnTo>
                  <a:pt x="843" y="189"/>
                </a:lnTo>
                <a:lnTo>
                  <a:pt x="848" y="193"/>
                </a:lnTo>
                <a:lnTo>
                  <a:pt x="856" y="205"/>
                </a:lnTo>
                <a:lnTo>
                  <a:pt x="865" y="217"/>
                </a:lnTo>
                <a:lnTo>
                  <a:pt x="872" y="230"/>
                </a:lnTo>
                <a:lnTo>
                  <a:pt x="879" y="244"/>
                </a:lnTo>
                <a:lnTo>
                  <a:pt x="885" y="260"/>
                </a:lnTo>
                <a:lnTo>
                  <a:pt x="889" y="275"/>
                </a:lnTo>
                <a:lnTo>
                  <a:pt x="894" y="290"/>
                </a:lnTo>
                <a:lnTo>
                  <a:pt x="898" y="305"/>
                </a:lnTo>
                <a:lnTo>
                  <a:pt x="900" y="320"/>
                </a:lnTo>
                <a:lnTo>
                  <a:pt x="902" y="334"/>
                </a:lnTo>
                <a:lnTo>
                  <a:pt x="904" y="346"/>
                </a:lnTo>
                <a:lnTo>
                  <a:pt x="904" y="357"/>
                </a:lnTo>
                <a:lnTo>
                  <a:pt x="905" y="362"/>
                </a:lnTo>
                <a:lnTo>
                  <a:pt x="906" y="367"/>
                </a:lnTo>
                <a:lnTo>
                  <a:pt x="908" y="372"/>
                </a:lnTo>
                <a:lnTo>
                  <a:pt x="910" y="376"/>
                </a:lnTo>
                <a:lnTo>
                  <a:pt x="918" y="384"/>
                </a:lnTo>
                <a:lnTo>
                  <a:pt x="928" y="391"/>
                </a:lnTo>
                <a:lnTo>
                  <a:pt x="939" y="398"/>
                </a:lnTo>
                <a:lnTo>
                  <a:pt x="952" y="402"/>
                </a:lnTo>
                <a:lnTo>
                  <a:pt x="957" y="404"/>
                </a:lnTo>
                <a:lnTo>
                  <a:pt x="964" y="405"/>
                </a:lnTo>
                <a:lnTo>
                  <a:pt x="971" y="406"/>
                </a:lnTo>
                <a:lnTo>
                  <a:pt x="977" y="407"/>
                </a:lnTo>
                <a:lnTo>
                  <a:pt x="977" y="394"/>
                </a:lnTo>
                <a:lnTo>
                  <a:pt x="976" y="414"/>
                </a:lnTo>
                <a:lnTo>
                  <a:pt x="975" y="430"/>
                </a:lnTo>
                <a:lnTo>
                  <a:pt x="974" y="437"/>
                </a:lnTo>
                <a:lnTo>
                  <a:pt x="974" y="443"/>
                </a:lnTo>
                <a:lnTo>
                  <a:pt x="975" y="449"/>
                </a:lnTo>
                <a:lnTo>
                  <a:pt x="977" y="456"/>
                </a:lnTo>
                <a:lnTo>
                  <a:pt x="971" y="457"/>
                </a:lnTo>
                <a:lnTo>
                  <a:pt x="964" y="458"/>
                </a:lnTo>
                <a:lnTo>
                  <a:pt x="958" y="461"/>
                </a:lnTo>
                <a:lnTo>
                  <a:pt x="953" y="464"/>
                </a:lnTo>
                <a:lnTo>
                  <a:pt x="949" y="467"/>
                </a:lnTo>
                <a:lnTo>
                  <a:pt x="944" y="471"/>
                </a:lnTo>
                <a:lnTo>
                  <a:pt x="940" y="475"/>
                </a:lnTo>
                <a:lnTo>
                  <a:pt x="936" y="481"/>
                </a:lnTo>
                <a:lnTo>
                  <a:pt x="931" y="492"/>
                </a:lnTo>
                <a:lnTo>
                  <a:pt x="926" y="504"/>
                </a:lnTo>
                <a:lnTo>
                  <a:pt x="922" y="517"/>
                </a:lnTo>
                <a:lnTo>
                  <a:pt x="920" y="531"/>
                </a:lnTo>
                <a:lnTo>
                  <a:pt x="918" y="546"/>
                </a:lnTo>
                <a:lnTo>
                  <a:pt x="917" y="561"/>
                </a:lnTo>
                <a:lnTo>
                  <a:pt x="917" y="575"/>
                </a:lnTo>
                <a:lnTo>
                  <a:pt x="917" y="590"/>
                </a:lnTo>
                <a:lnTo>
                  <a:pt x="917" y="615"/>
                </a:lnTo>
                <a:lnTo>
                  <a:pt x="917" y="634"/>
                </a:lnTo>
                <a:lnTo>
                  <a:pt x="917" y="654"/>
                </a:lnTo>
                <a:lnTo>
                  <a:pt x="918" y="685"/>
                </a:lnTo>
                <a:lnTo>
                  <a:pt x="919" y="702"/>
                </a:lnTo>
                <a:lnTo>
                  <a:pt x="920" y="717"/>
                </a:lnTo>
                <a:lnTo>
                  <a:pt x="921" y="730"/>
                </a:lnTo>
                <a:lnTo>
                  <a:pt x="923" y="739"/>
                </a:lnTo>
                <a:lnTo>
                  <a:pt x="933" y="758"/>
                </a:lnTo>
                <a:lnTo>
                  <a:pt x="947" y="780"/>
                </a:lnTo>
                <a:lnTo>
                  <a:pt x="956" y="791"/>
                </a:lnTo>
                <a:lnTo>
                  <a:pt x="965" y="803"/>
                </a:lnTo>
                <a:lnTo>
                  <a:pt x="975" y="816"/>
                </a:lnTo>
                <a:lnTo>
                  <a:pt x="985" y="827"/>
                </a:lnTo>
                <a:lnTo>
                  <a:pt x="996" y="838"/>
                </a:lnTo>
                <a:lnTo>
                  <a:pt x="1007" y="848"/>
                </a:lnTo>
                <a:lnTo>
                  <a:pt x="1019" y="857"/>
                </a:lnTo>
                <a:lnTo>
                  <a:pt x="1030" y="865"/>
                </a:lnTo>
                <a:lnTo>
                  <a:pt x="1042" y="872"/>
                </a:lnTo>
                <a:lnTo>
                  <a:pt x="1054" y="877"/>
                </a:lnTo>
                <a:lnTo>
                  <a:pt x="1065" y="880"/>
                </a:lnTo>
                <a:lnTo>
                  <a:pt x="1077" y="881"/>
                </a:lnTo>
                <a:lnTo>
                  <a:pt x="1090" y="877"/>
                </a:lnTo>
                <a:lnTo>
                  <a:pt x="1114" y="865"/>
                </a:lnTo>
                <a:lnTo>
                  <a:pt x="1126" y="860"/>
                </a:lnTo>
                <a:lnTo>
                  <a:pt x="1140" y="855"/>
                </a:lnTo>
                <a:lnTo>
                  <a:pt x="1149" y="852"/>
                </a:lnTo>
                <a:lnTo>
                  <a:pt x="1156" y="850"/>
                </a:lnTo>
                <a:lnTo>
                  <a:pt x="1166" y="849"/>
                </a:lnTo>
                <a:lnTo>
                  <a:pt x="1178" y="849"/>
                </a:lnTo>
                <a:lnTo>
                  <a:pt x="1192" y="851"/>
                </a:lnTo>
                <a:lnTo>
                  <a:pt x="1208" y="852"/>
                </a:lnTo>
                <a:lnTo>
                  <a:pt x="1222" y="854"/>
                </a:lnTo>
                <a:lnTo>
                  <a:pt x="1235" y="854"/>
                </a:lnTo>
                <a:lnTo>
                  <a:pt x="1240" y="854"/>
                </a:lnTo>
                <a:lnTo>
                  <a:pt x="1244" y="853"/>
                </a:lnTo>
                <a:lnTo>
                  <a:pt x="1247" y="852"/>
                </a:lnTo>
                <a:lnTo>
                  <a:pt x="1249" y="850"/>
                </a:lnTo>
                <a:lnTo>
                  <a:pt x="1257" y="842"/>
                </a:lnTo>
                <a:lnTo>
                  <a:pt x="1264" y="834"/>
                </a:lnTo>
                <a:lnTo>
                  <a:pt x="1269" y="826"/>
                </a:lnTo>
                <a:lnTo>
                  <a:pt x="1274" y="818"/>
                </a:lnTo>
                <a:lnTo>
                  <a:pt x="1280" y="801"/>
                </a:lnTo>
                <a:lnTo>
                  <a:pt x="1285" y="785"/>
                </a:lnTo>
                <a:lnTo>
                  <a:pt x="1288" y="768"/>
                </a:lnTo>
                <a:lnTo>
                  <a:pt x="1292" y="750"/>
                </a:lnTo>
                <a:lnTo>
                  <a:pt x="1296" y="742"/>
                </a:lnTo>
                <a:lnTo>
                  <a:pt x="1299" y="733"/>
                </a:lnTo>
                <a:lnTo>
                  <a:pt x="1303" y="724"/>
                </a:lnTo>
                <a:lnTo>
                  <a:pt x="1309" y="715"/>
                </a:lnTo>
                <a:lnTo>
                  <a:pt x="1311" y="712"/>
                </a:lnTo>
                <a:lnTo>
                  <a:pt x="1313" y="709"/>
                </a:lnTo>
                <a:lnTo>
                  <a:pt x="1315" y="706"/>
                </a:lnTo>
                <a:lnTo>
                  <a:pt x="1319" y="703"/>
                </a:lnTo>
                <a:lnTo>
                  <a:pt x="1326" y="697"/>
                </a:lnTo>
                <a:lnTo>
                  <a:pt x="1336" y="693"/>
                </a:lnTo>
                <a:lnTo>
                  <a:pt x="1347" y="690"/>
                </a:lnTo>
                <a:lnTo>
                  <a:pt x="1359" y="687"/>
                </a:lnTo>
                <a:lnTo>
                  <a:pt x="1373" y="684"/>
                </a:lnTo>
                <a:lnTo>
                  <a:pt x="1387" y="682"/>
                </a:lnTo>
                <a:lnTo>
                  <a:pt x="1416" y="680"/>
                </a:lnTo>
                <a:lnTo>
                  <a:pt x="1446" y="678"/>
                </a:lnTo>
                <a:lnTo>
                  <a:pt x="1472" y="678"/>
                </a:lnTo>
                <a:lnTo>
                  <a:pt x="1495" y="678"/>
                </a:lnTo>
                <a:lnTo>
                  <a:pt x="1506" y="678"/>
                </a:lnTo>
                <a:lnTo>
                  <a:pt x="1522" y="678"/>
                </a:lnTo>
                <a:lnTo>
                  <a:pt x="1524" y="684"/>
                </a:lnTo>
                <a:lnTo>
                  <a:pt x="1528" y="693"/>
                </a:lnTo>
                <a:lnTo>
                  <a:pt x="1533" y="703"/>
                </a:lnTo>
                <a:lnTo>
                  <a:pt x="1535" y="709"/>
                </a:lnTo>
                <a:lnTo>
                  <a:pt x="1526" y="714"/>
                </a:lnTo>
                <a:lnTo>
                  <a:pt x="1515" y="720"/>
                </a:lnTo>
                <a:lnTo>
                  <a:pt x="1510" y="724"/>
                </a:lnTo>
                <a:lnTo>
                  <a:pt x="1503" y="729"/>
                </a:lnTo>
                <a:lnTo>
                  <a:pt x="1498" y="735"/>
                </a:lnTo>
                <a:lnTo>
                  <a:pt x="1492" y="741"/>
                </a:lnTo>
                <a:lnTo>
                  <a:pt x="1487" y="748"/>
                </a:lnTo>
                <a:lnTo>
                  <a:pt x="1481" y="758"/>
                </a:lnTo>
                <a:lnTo>
                  <a:pt x="1477" y="767"/>
                </a:lnTo>
                <a:lnTo>
                  <a:pt x="1473" y="778"/>
                </a:lnTo>
                <a:lnTo>
                  <a:pt x="1470" y="791"/>
                </a:lnTo>
                <a:lnTo>
                  <a:pt x="1469" y="804"/>
                </a:lnTo>
                <a:lnTo>
                  <a:pt x="1468" y="821"/>
                </a:lnTo>
                <a:lnTo>
                  <a:pt x="1469" y="838"/>
                </a:lnTo>
                <a:lnTo>
                  <a:pt x="1455" y="854"/>
                </a:lnTo>
                <a:lnTo>
                  <a:pt x="1444" y="868"/>
                </a:lnTo>
                <a:lnTo>
                  <a:pt x="1435" y="878"/>
                </a:lnTo>
                <a:lnTo>
                  <a:pt x="1428" y="888"/>
                </a:lnTo>
                <a:lnTo>
                  <a:pt x="1414" y="888"/>
                </a:lnTo>
                <a:lnTo>
                  <a:pt x="1401" y="888"/>
                </a:lnTo>
                <a:lnTo>
                  <a:pt x="1387" y="888"/>
                </a:lnTo>
                <a:lnTo>
                  <a:pt x="1369" y="888"/>
                </a:lnTo>
                <a:lnTo>
                  <a:pt x="1367" y="888"/>
                </a:lnTo>
                <a:lnTo>
                  <a:pt x="1359" y="888"/>
                </a:lnTo>
                <a:lnTo>
                  <a:pt x="1349" y="888"/>
                </a:lnTo>
                <a:lnTo>
                  <a:pt x="1336" y="88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242" name="Freeform 194"/>
          <p:cNvSpPr>
            <a:spLocks/>
          </p:cNvSpPr>
          <p:nvPr>
            <p:custDataLst>
              <p:tags r:id="rId121"/>
            </p:custDataLst>
          </p:nvPr>
        </p:nvSpPr>
        <p:spPr bwMode="auto">
          <a:xfrm>
            <a:off x="2486029" y="3212315"/>
            <a:ext cx="211138" cy="198835"/>
          </a:xfrm>
          <a:custGeom>
            <a:avLst/>
            <a:gdLst/>
            <a:ahLst/>
            <a:cxnLst>
              <a:cxn ang="0">
                <a:pos x="14" y="176"/>
              </a:cxn>
              <a:cxn ang="0">
                <a:pos x="31" y="198"/>
              </a:cxn>
              <a:cxn ang="0">
                <a:pos x="51" y="232"/>
              </a:cxn>
              <a:cxn ang="0">
                <a:pos x="82" y="266"/>
              </a:cxn>
              <a:cxn ang="0">
                <a:pos x="126" y="293"/>
              </a:cxn>
              <a:cxn ang="0">
                <a:pos x="170" y="310"/>
              </a:cxn>
              <a:cxn ang="0">
                <a:pos x="246" y="328"/>
              </a:cxn>
              <a:cxn ang="0">
                <a:pos x="295" y="344"/>
              </a:cxn>
              <a:cxn ang="0">
                <a:pos x="299" y="381"/>
              </a:cxn>
              <a:cxn ang="0">
                <a:pos x="277" y="418"/>
              </a:cxn>
              <a:cxn ang="0">
                <a:pos x="267" y="443"/>
              </a:cxn>
              <a:cxn ang="0">
                <a:pos x="266" y="463"/>
              </a:cxn>
              <a:cxn ang="0">
                <a:pos x="278" y="482"/>
              </a:cxn>
              <a:cxn ang="0">
                <a:pos x="299" y="494"/>
              </a:cxn>
              <a:cxn ang="0">
                <a:pos x="344" y="504"/>
              </a:cxn>
              <a:cxn ang="0">
                <a:pos x="387" y="504"/>
              </a:cxn>
              <a:cxn ang="0">
                <a:pos x="415" y="494"/>
              </a:cxn>
              <a:cxn ang="0">
                <a:pos x="446" y="474"/>
              </a:cxn>
              <a:cxn ang="0">
                <a:pos x="473" y="447"/>
              </a:cxn>
              <a:cxn ang="0">
                <a:pos x="485" y="418"/>
              </a:cxn>
              <a:cxn ang="0">
                <a:pos x="484" y="397"/>
              </a:cxn>
              <a:cxn ang="0">
                <a:pos x="478" y="358"/>
              </a:cxn>
              <a:cxn ang="0">
                <a:pos x="471" y="316"/>
              </a:cxn>
              <a:cxn ang="0">
                <a:pos x="465" y="270"/>
              </a:cxn>
              <a:cxn ang="0">
                <a:pos x="456" y="252"/>
              </a:cxn>
              <a:cxn ang="0">
                <a:pos x="439" y="239"/>
              </a:cxn>
              <a:cxn ang="0">
                <a:pos x="413" y="232"/>
              </a:cxn>
              <a:cxn ang="0">
                <a:pos x="392" y="222"/>
              </a:cxn>
              <a:cxn ang="0">
                <a:pos x="370" y="207"/>
              </a:cxn>
              <a:cxn ang="0">
                <a:pos x="330" y="188"/>
              </a:cxn>
              <a:cxn ang="0">
                <a:pos x="290" y="172"/>
              </a:cxn>
              <a:cxn ang="0">
                <a:pos x="273" y="160"/>
              </a:cxn>
              <a:cxn ang="0">
                <a:pos x="264" y="151"/>
              </a:cxn>
              <a:cxn ang="0">
                <a:pos x="261" y="125"/>
              </a:cxn>
              <a:cxn ang="0">
                <a:pos x="261" y="90"/>
              </a:cxn>
              <a:cxn ang="0">
                <a:pos x="255" y="71"/>
              </a:cxn>
              <a:cxn ang="0">
                <a:pos x="241" y="55"/>
              </a:cxn>
              <a:cxn ang="0">
                <a:pos x="234" y="37"/>
              </a:cxn>
              <a:cxn ang="0">
                <a:pos x="199" y="12"/>
              </a:cxn>
              <a:cxn ang="0">
                <a:pos x="186" y="8"/>
              </a:cxn>
              <a:cxn ang="0">
                <a:pos x="173" y="2"/>
              </a:cxn>
              <a:cxn ang="0">
                <a:pos x="139" y="1"/>
              </a:cxn>
              <a:cxn ang="0">
                <a:pos x="70" y="11"/>
              </a:cxn>
              <a:cxn ang="0">
                <a:pos x="42" y="21"/>
              </a:cxn>
              <a:cxn ang="0">
                <a:pos x="24" y="37"/>
              </a:cxn>
              <a:cxn ang="0">
                <a:pos x="20" y="64"/>
              </a:cxn>
            </a:cxnLst>
            <a:rect l="0" t="0" r="r" b="b"/>
            <a:pathLst>
              <a:path w="486" h="505">
                <a:moveTo>
                  <a:pt x="0" y="166"/>
                </a:moveTo>
                <a:lnTo>
                  <a:pt x="7" y="171"/>
                </a:lnTo>
                <a:lnTo>
                  <a:pt x="14" y="176"/>
                </a:lnTo>
                <a:lnTo>
                  <a:pt x="19" y="181"/>
                </a:lnTo>
                <a:lnTo>
                  <a:pt x="24" y="186"/>
                </a:lnTo>
                <a:lnTo>
                  <a:pt x="31" y="198"/>
                </a:lnTo>
                <a:lnTo>
                  <a:pt x="39" y="210"/>
                </a:lnTo>
                <a:lnTo>
                  <a:pt x="44" y="221"/>
                </a:lnTo>
                <a:lnTo>
                  <a:pt x="51" y="232"/>
                </a:lnTo>
                <a:lnTo>
                  <a:pt x="58" y="242"/>
                </a:lnTo>
                <a:lnTo>
                  <a:pt x="66" y="253"/>
                </a:lnTo>
                <a:lnTo>
                  <a:pt x="82" y="266"/>
                </a:lnTo>
                <a:lnTo>
                  <a:pt x="96" y="276"/>
                </a:lnTo>
                <a:lnTo>
                  <a:pt x="111" y="285"/>
                </a:lnTo>
                <a:lnTo>
                  <a:pt x="126" y="293"/>
                </a:lnTo>
                <a:lnTo>
                  <a:pt x="140" y="299"/>
                </a:lnTo>
                <a:lnTo>
                  <a:pt x="155" y="305"/>
                </a:lnTo>
                <a:lnTo>
                  <a:pt x="170" y="310"/>
                </a:lnTo>
                <a:lnTo>
                  <a:pt x="185" y="314"/>
                </a:lnTo>
                <a:lnTo>
                  <a:pt x="215" y="321"/>
                </a:lnTo>
                <a:lnTo>
                  <a:pt x="246" y="328"/>
                </a:lnTo>
                <a:lnTo>
                  <a:pt x="262" y="332"/>
                </a:lnTo>
                <a:lnTo>
                  <a:pt x="278" y="338"/>
                </a:lnTo>
                <a:lnTo>
                  <a:pt x="295" y="344"/>
                </a:lnTo>
                <a:lnTo>
                  <a:pt x="312" y="351"/>
                </a:lnTo>
                <a:lnTo>
                  <a:pt x="307" y="367"/>
                </a:lnTo>
                <a:lnTo>
                  <a:pt x="299" y="381"/>
                </a:lnTo>
                <a:lnTo>
                  <a:pt x="291" y="394"/>
                </a:lnTo>
                <a:lnTo>
                  <a:pt x="284" y="406"/>
                </a:lnTo>
                <a:lnTo>
                  <a:pt x="277" y="418"/>
                </a:lnTo>
                <a:lnTo>
                  <a:pt x="272" y="430"/>
                </a:lnTo>
                <a:lnTo>
                  <a:pt x="269" y="436"/>
                </a:lnTo>
                <a:lnTo>
                  <a:pt x="267" y="443"/>
                </a:lnTo>
                <a:lnTo>
                  <a:pt x="266" y="449"/>
                </a:lnTo>
                <a:lnTo>
                  <a:pt x="266" y="456"/>
                </a:lnTo>
                <a:lnTo>
                  <a:pt x="266" y="463"/>
                </a:lnTo>
                <a:lnTo>
                  <a:pt x="269" y="471"/>
                </a:lnTo>
                <a:lnTo>
                  <a:pt x="273" y="477"/>
                </a:lnTo>
                <a:lnTo>
                  <a:pt x="278" y="482"/>
                </a:lnTo>
                <a:lnTo>
                  <a:pt x="284" y="487"/>
                </a:lnTo>
                <a:lnTo>
                  <a:pt x="291" y="491"/>
                </a:lnTo>
                <a:lnTo>
                  <a:pt x="299" y="494"/>
                </a:lnTo>
                <a:lnTo>
                  <a:pt x="308" y="497"/>
                </a:lnTo>
                <a:lnTo>
                  <a:pt x="325" y="501"/>
                </a:lnTo>
                <a:lnTo>
                  <a:pt x="344" y="504"/>
                </a:lnTo>
                <a:lnTo>
                  <a:pt x="363" y="505"/>
                </a:lnTo>
                <a:lnTo>
                  <a:pt x="379" y="505"/>
                </a:lnTo>
                <a:lnTo>
                  <a:pt x="387" y="504"/>
                </a:lnTo>
                <a:lnTo>
                  <a:pt x="396" y="502"/>
                </a:lnTo>
                <a:lnTo>
                  <a:pt x="406" y="499"/>
                </a:lnTo>
                <a:lnTo>
                  <a:pt x="415" y="494"/>
                </a:lnTo>
                <a:lnTo>
                  <a:pt x="426" y="488"/>
                </a:lnTo>
                <a:lnTo>
                  <a:pt x="436" y="482"/>
                </a:lnTo>
                <a:lnTo>
                  <a:pt x="446" y="474"/>
                </a:lnTo>
                <a:lnTo>
                  <a:pt x="456" y="465"/>
                </a:lnTo>
                <a:lnTo>
                  <a:pt x="465" y="456"/>
                </a:lnTo>
                <a:lnTo>
                  <a:pt x="473" y="447"/>
                </a:lnTo>
                <a:lnTo>
                  <a:pt x="478" y="437"/>
                </a:lnTo>
                <a:lnTo>
                  <a:pt x="482" y="428"/>
                </a:lnTo>
                <a:lnTo>
                  <a:pt x="485" y="418"/>
                </a:lnTo>
                <a:lnTo>
                  <a:pt x="486" y="407"/>
                </a:lnTo>
                <a:lnTo>
                  <a:pt x="485" y="402"/>
                </a:lnTo>
                <a:lnTo>
                  <a:pt x="484" y="397"/>
                </a:lnTo>
                <a:lnTo>
                  <a:pt x="481" y="393"/>
                </a:lnTo>
                <a:lnTo>
                  <a:pt x="478" y="388"/>
                </a:lnTo>
                <a:lnTo>
                  <a:pt x="478" y="358"/>
                </a:lnTo>
                <a:lnTo>
                  <a:pt x="475" y="345"/>
                </a:lnTo>
                <a:lnTo>
                  <a:pt x="473" y="331"/>
                </a:lnTo>
                <a:lnTo>
                  <a:pt x="471" y="316"/>
                </a:lnTo>
                <a:lnTo>
                  <a:pt x="470" y="299"/>
                </a:lnTo>
                <a:lnTo>
                  <a:pt x="468" y="284"/>
                </a:lnTo>
                <a:lnTo>
                  <a:pt x="465" y="270"/>
                </a:lnTo>
                <a:lnTo>
                  <a:pt x="463" y="263"/>
                </a:lnTo>
                <a:lnTo>
                  <a:pt x="461" y="257"/>
                </a:lnTo>
                <a:lnTo>
                  <a:pt x="456" y="252"/>
                </a:lnTo>
                <a:lnTo>
                  <a:pt x="452" y="247"/>
                </a:lnTo>
                <a:lnTo>
                  <a:pt x="446" y="242"/>
                </a:lnTo>
                <a:lnTo>
                  <a:pt x="439" y="239"/>
                </a:lnTo>
                <a:lnTo>
                  <a:pt x="431" y="236"/>
                </a:lnTo>
                <a:lnTo>
                  <a:pt x="422" y="234"/>
                </a:lnTo>
                <a:lnTo>
                  <a:pt x="413" y="232"/>
                </a:lnTo>
                <a:lnTo>
                  <a:pt x="406" y="229"/>
                </a:lnTo>
                <a:lnTo>
                  <a:pt x="398" y="226"/>
                </a:lnTo>
                <a:lnTo>
                  <a:pt x="392" y="222"/>
                </a:lnTo>
                <a:lnTo>
                  <a:pt x="386" y="216"/>
                </a:lnTo>
                <a:lnTo>
                  <a:pt x="378" y="212"/>
                </a:lnTo>
                <a:lnTo>
                  <a:pt x="370" y="207"/>
                </a:lnTo>
                <a:lnTo>
                  <a:pt x="363" y="203"/>
                </a:lnTo>
                <a:lnTo>
                  <a:pt x="346" y="196"/>
                </a:lnTo>
                <a:lnTo>
                  <a:pt x="330" y="188"/>
                </a:lnTo>
                <a:lnTo>
                  <a:pt x="313" y="182"/>
                </a:lnTo>
                <a:lnTo>
                  <a:pt x="298" y="176"/>
                </a:lnTo>
                <a:lnTo>
                  <a:pt x="290" y="172"/>
                </a:lnTo>
                <a:lnTo>
                  <a:pt x="284" y="169"/>
                </a:lnTo>
                <a:lnTo>
                  <a:pt x="278" y="165"/>
                </a:lnTo>
                <a:lnTo>
                  <a:pt x="273" y="160"/>
                </a:lnTo>
                <a:lnTo>
                  <a:pt x="269" y="158"/>
                </a:lnTo>
                <a:lnTo>
                  <a:pt x="266" y="154"/>
                </a:lnTo>
                <a:lnTo>
                  <a:pt x="264" y="151"/>
                </a:lnTo>
                <a:lnTo>
                  <a:pt x="263" y="146"/>
                </a:lnTo>
                <a:lnTo>
                  <a:pt x="262" y="136"/>
                </a:lnTo>
                <a:lnTo>
                  <a:pt x="261" y="125"/>
                </a:lnTo>
                <a:lnTo>
                  <a:pt x="261" y="113"/>
                </a:lnTo>
                <a:lnTo>
                  <a:pt x="262" y="101"/>
                </a:lnTo>
                <a:lnTo>
                  <a:pt x="261" y="90"/>
                </a:lnTo>
                <a:lnTo>
                  <a:pt x="260" y="81"/>
                </a:lnTo>
                <a:lnTo>
                  <a:pt x="258" y="75"/>
                </a:lnTo>
                <a:lnTo>
                  <a:pt x="255" y="71"/>
                </a:lnTo>
                <a:lnTo>
                  <a:pt x="251" y="67"/>
                </a:lnTo>
                <a:lnTo>
                  <a:pt x="246" y="61"/>
                </a:lnTo>
                <a:lnTo>
                  <a:pt x="241" y="55"/>
                </a:lnTo>
                <a:lnTo>
                  <a:pt x="237" y="47"/>
                </a:lnTo>
                <a:lnTo>
                  <a:pt x="235" y="43"/>
                </a:lnTo>
                <a:lnTo>
                  <a:pt x="234" y="37"/>
                </a:lnTo>
                <a:lnTo>
                  <a:pt x="233" y="32"/>
                </a:lnTo>
                <a:lnTo>
                  <a:pt x="233" y="25"/>
                </a:lnTo>
                <a:lnTo>
                  <a:pt x="199" y="12"/>
                </a:lnTo>
                <a:lnTo>
                  <a:pt x="195" y="12"/>
                </a:lnTo>
                <a:lnTo>
                  <a:pt x="190" y="10"/>
                </a:lnTo>
                <a:lnTo>
                  <a:pt x="186" y="8"/>
                </a:lnTo>
                <a:lnTo>
                  <a:pt x="182" y="6"/>
                </a:lnTo>
                <a:lnTo>
                  <a:pt x="177" y="4"/>
                </a:lnTo>
                <a:lnTo>
                  <a:pt x="173" y="2"/>
                </a:lnTo>
                <a:lnTo>
                  <a:pt x="166" y="0"/>
                </a:lnTo>
                <a:lnTo>
                  <a:pt x="160" y="0"/>
                </a:lnTo>
                <a:lnTo>
                  <a:pt x="139" y="1"/>
                </a:lnTo>
                <a:lnTo>
                  <a:pt x="116" y="2"/>
                </a:lnTo>
                <a:lnTo>
                  <a:pt x="92" y="6"/>
                </a:lnTo>
                <a:lnTo>
                  <a:pt x="70" y="11"/>
                </a:lnTo>
                <a:lnTo>
                  <a:pt x="60" y="14"/>
                </a:lnTo>
                <a:lnTo>
                  <a:pt x="50" y="17"/>
                </a:lnTo>
                <a:lnTo>
                  <a:pt x="42" y="21"/>
                </a:lnTo>
                <a:lnTo>
                  <a:pt x="34" y="27"/>
                </a:lnTo>
                <a:lnTo>
                  <a:pt x="28" y="31"/>
                </a:lnTo>
                <a:lnTo>
                  <a:pt x="24" y="37"/>
                </a:lnTo>
                <a:lnTo>
                  <a:pt x="21" y="43"/>
                </a:lnTo>
                <a:lnTo>
                  <a:pt x="20" y="49"/>
                </a:lnTo>
                <a:lnTo>
                  <a:pt x="20" y="64"/>
                </a:lnTo>
                <a:lnTo>
                  <a:pt x="20" y="74"/>
                </a:lnTo>
                <a:lnTo>
                  <a:pt x="0" y="16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243" name="Freeform 195"/>
          <p:cNvSpPr>
            <a:spLocks/>
          </p:cNvSpPr>
          <p:nvPr>
            <p:custDataLst>
              <p:tags r:id="rId122"/>
            </p:custDataLst>
          </p:nvPr>
        </p:nvSpPr>
        <p:spPr bwMode="auto">
          <a:xfrm>
            <a:off x="2655892" y="2615807"/>
            <a:ext cx="73025" cy="82153"/>
          </a:xfrm>
          <a:custGeom>
            <a:avLst/>
            <a:gdLst/>
            <a:ahLst/>
            <a:cxnLst>
              <a:cxn ang="0">
                <a:pos x="7" y="183"/>
              </a:cxn>
              <a:cxn ang="0">
                <a:pos x="79" y="208"/>
              </a:cxn>
              <a:cxn ang="0">
                <a:pos x="85" y="207"/>
              </a:cxn>
              <a:cxn ang="0">
                <a:pos x="90" y="204"/>
              </a:cxn>
              <a:cxn ang="0">
                <a:pos x="97" y="198"/>
              </a:cxn>
              <a:cxn ang="0">
                <a:pos x="104" y="192"/>
              </a:cxn>
              <a:cxn ang="0">
                <a:pos x="117" y="176"/>
              </a:cxn>
              <a:cxn ang="0">
                <a:pos x="130" y="158"/>
              </a:cxn>
              <a:cxn ang="0">
                <a:pos x="154" y="122"/>
              </a:cxn>
              <a:cxn ang="0">
                <a:pos x="166" y="103"/>
              </a:cxn>
              <a:cxn ang="0">
                <a:pos x="144" y="94"/>
              </a:cxn>
              <a:cxn ang="0">
                <a:pos x="126" y="84"/>
              </a:cxn>
              <a:cxn ang="0">
                <a:pos x="108" y="74"/>
              </a:cxn>
              <a:cxn ang="0">
                <a:pos x="93" y="64"/>
              </a:cxn>
              <a:cxn ang="0">
                <a:pos x="86" y="58"/>
              </a:cxn>
              <a:cxn ang="0">
                <a:pos x="81" y="53"/>
              </a:cxn>
              <a:cxn ang="0">
                <a:pos x="75" y="47"/>
              </a:cxn>
              <a:cxn ang="0">
                <a:pos x="71" y="40"/>
              </a:cxn>
              <a:cxn ang="0">
                <a:pos x="67" y="33"/>
              </a:cxn>
              <a:cxn ang="0">
                <a:pos x="64" y="26"/>
              </a:cxn>
              <a:cxn ang="0">
                <a:pos x="62" y="18"/>
              </a:cxn>
              <a:cxn ang="0">
                <a:pos x="60" y="11"/>
              </a:cxn>
              <a:cxn ang="0">
                <a:pos x="50" y="10"/>
              </a:cxn>
              <a:cxn ang="0">
                <a:pos x="43" y="8"/>
              </a:cxn>
              <a:cxn ang="0">
                <a:pos x="40" y="5"/>
              </a:cxn>
              <a:cxn ang="0">
                <a:pos x="39" y="3"/>
              </a:cxn>
              <a:cxn ang="0">
                <a:pos x="38" y="1"/>
              </a:cxn>
              <a:cxn ang="0">
                <a:pos x="36" y="0"/>
              </a:cxn>
              <a:cxn ang="0">
                <a:pos x="32" y="1"/>
              </a:cxn>
              <a:cxn ang="0">
                <a:pos x="27" y="5"/>
              </a:cxn>
              <a:cxn ang="0">
                <a:pos x="20" y="11"/>
              </a:cxn>
              <a:cxn ang="0">
                <a:pos x="11" y="22"/>
              </a:cxn>
              <a:cxn ang="0">
                <a:pos x="7" y="29"/>
              </a:cxn>
              <a:cxn ang="0">
                <a:pos x="4" y="37"/>
              </a:cxn>
              <a:cxn ang="0">
                <a:pos x="2" y="45"/>
              </a:cxn>
              <a:cxn ang="0">
                <a:pos x="0" y="54"/>
              </a:cxn>
              <a:cxn ang="0">
                <a:pos x="0" y="60"/>
              </a:cxn>
              <a:cxn ang="0">
                <a:pos x="2" y="65"/>
              </a:cxn>
              <a:cxn ang="0">
                <a:pos x="3" y="70"/>
              </a:cxn>
              <a:cxn ang="0">
                <a:pos x="5" y="76"/>
              </a:cxn>
              <a:cxn ang="0">
                <a:pos x="10" y="86"/>
              </a:cxn>
              <a:cxn ang="0">
                <a:pos x="17" y="98"/>
              </a:cxn>
              <a:cxn ang="0">
                <a:pos x="22" y="109"/>
              </a:cxn>
              <a:cxn ang="0">
                <a:pos x="28" y="120"/>
              </a:cxn>
              <a:cxn ang="0">
                <a:pos x="30" y="126"/>
              </a:cxn>
              <a:cxn ang="0">
                <a:pos x="32" y="133"/>
              </a:cxn>
              <a:cxn ang="0">
                <a:pos x="33" y="139"/>
              </a:cxn>
              <a:cxn ang="0">
                <a:pos x="33" y="147"/>
              </a:cxn>
              <a:cxn ang="0">
                <a:pos x="32" y="153"/>
              </a:cxn>
              <a:cxn ang="0">
                <a:pos x="31" y="159"/>
              </a:cxn>
              <a:cxn ang="0">
                <a:pos x="28" y="165"/>
              </a:cxn>
              <a:cxn ang="0">
                <a:pos x="25" y="169"/>
              </a:cxn>
              <a:cxn ang="0">
                <a:pos x="21" y="174"/>
              </a:cxn>
              <a:cxn ang="0">
                <a:pos x="17" y="177"/>
              </a:cxn>
              <a:cxn ang="0">
                <a:pos x="11" y="180"/>
              </a:cxn>
              <a:cxn ang="0">
                <a:pos x="7" y="183"/>
              </a:cxn>
            </a:cxnLst>
            <a:rect l="0" t="0" r="r" b="b"/>
            <a:pathLst>
              <a:path w="166" h="208">
                <a:moveTo>
                  <a:pt x="7" y="183"/>
                </a:moveTo>
                <a:lnTo>
                  <a:pt x="79" y="208"/>
                </a:lnTo>
                <a:lnTo>
                  <a:pt x="85" y="207"/>
                </a:lnTo>
                <a:lnTo>
                  <a:pt x="90" y="204"/>
                </a:lnTo>
                <a:lnTo>
                  <a:pt x="97" y="198"/>
                </a:lnTo>
                <a:lnTo>
                  <a:pt x="104" y="192"/>
                </a:lnTo>
                <a:lnTo>
                  <a:pt x="117" y="176"/>
                </a:lnTo>
                <a:lnTo>
                  <a:pt x="130" y="158"/>
                </a:lnTo>
                <a:lnTo>
                  <a:pt x="154" y="122"/>
                </a:lnTo>
                <a:lnTo>
                  <a:pt x="166" y="103"/>
                </a:lnTo>
                <a:lnTo>
                  <a:pt x="144" y="94"/>
                </a:lnTo>
                <a:lnTo>
                  <a:pt x="126" y="84"/>
                </a:lnTo>
                <a:lnTo>
                  <a:pt x="108" y="74"/>
                </a:lnTo>
                <a:lnTo>
                  <a:pt x="93" y="64"/>
                </a:lnTo>
                <a:lnTo>
                  <a:pt x="86" y="58"/>
                </a:lnTo>
                <a:lnTo>
                  <a:pt x="81" y="53"/>
                </a:lnTo>
                <a:lnTo>
                  <a:pt x="75" y="47"/>
                </a:lnTo>
                <a:lnTo>
                  <a:pt x="71" y="40"/>
                </a:lnTo>
                <a:lnTo>
                  <a:pt x="67" y="33"/>
                </a:lnTo>
                <a:lnTo>
                  <a:pt x="64" y="26"/>
                </a:lnTo>
                <a:lnTo>
                  <a:pt x="62" y="18"/>
                </a:lnTo>
                <a:lnTo>
                  <a:pt x="60" y="11"/>
                </a:lnTo>
                <a:lnTo>
                  <a:pt x="50" y="10"/>
                </a:lnTo>
                <a:lnTo>
                  <a:pt x="43" y="8"/>
                </a:lnTo>
                <a:lnTo>
                  <a:pt x="40" y="5"/>
                </a:lnTo>
                <a:lnTo>
                  <a:pt x="39" y="3"/>
                </a:lnTo>
                <a:lnTo>
                  <a:pt x="38" y="1"/>
                </a:lnTo>
                <a:lnTo>
                  <a:pt x="36" y="0"/>
                </a:lnTo>
                <a:lnTo>
                  <a:pt x="32" y="1"/>
                </a:lnTo>
                <a:lnTo>
                  <a:pt x="27" y="5"/>
                </a:lnTo>
                <a:lnTo>
                  <a:pt x="20" y="11"/>
                </a:lnTo>
                <a:lnTo>
                  <a:pt x="11" y="22"/>
                </a:lnTo>
                <a:lnTo>
                  <a:pt x="7" y="29"/>
                </a:lnTo>
                <a:lnTo>
                  <a:pt x="4" y="37"/>
                </a:lnTo>
                <a:lnTo>
                  <a:pt x="2" y="45"/>
                </a:lnTo>
                <a:lnTo>
                  <a:pt x="0" y="54"/>
                </a:lnTo>
                <a:lnTo>
                  <a:pt x="0" y="60"/>
                </a:lnTo>
                <a:lnTo>
                  <a:pt x="2" y="65"/>
                </a:lnTo>
                <a:lnTo>
                  <a:pt x="3" y="70"/>
                </a:lnTo>
                <a:lnTo>
                  <a:pt x="5" y="76"/>
                </a:lnTo>
                <a:lnTo>
                  <a:pt x="10" y="86"/>
                </a:lnTo>
                <a:lnTo>
                  <a:pt x="17" y="98"/>
                </a:lnTo>
                <a:lnTo>
                  <a:pt x="22" y="109"/>
                </a:lnTo>
                <a:lnTo>
                  <a:pt x="28" y="120"/>
                </a:lnTo>
                <a:lnTo>
                  <a:pt x="30" y="126"/>
                </a:lnTo>
                <a:lnTo>
                  <a:pt x="32" y="133"/>
                </a:lnTo>
                <a:lnTo>
                  <a:pt x="33" y="139"/>
                </a:lnTo>
                <a:lnTo>
                  <a:pt x="33" y="147"/>
                </a:lnTo>
                <a:lnTo>
                  <a:pt x="32" y="153"/>
                </a:lnTo>
                <a:lnTo>
                  <a:pt x="31" y="159"/>
                </a:lnTo>
                <a:lnTo>
                  <a:pt x="28" y="165"/>
                </a:lnTo>
                <a:lnTo>
                  <a:pt x="25" y="169"/>
                </a:lnTo>
                <a:lnTo>
                  <a:pt x="21" y="174"/>
                </a:lnTo>
                <a:lnTo>
                  <a:pt x="17" y="177"/>
                </a:lnTo>
                <a:lnTo>
                  <a:pt x="11" y="180"/>
                </a:lnTo>
                <a:lnTo>
                  <a:pt x="7" y="18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244" name="Freeform 196"/>
          <p:cNvSpPr>
            <a:spLocks/>
          </p:cNvSpPr>
          <p:nvPr>
            <p:custDataLst>
              <p:tags r:id="rId123"/>
            </p:custDataLst>
          </p:nvPr>
        </p:nvSpPr>
        <p:spPr bwMode="auto">
          <a:xfrm>
            <a:off x="2170117" y="2284818"/>
            <a:ext cx="69850" cy="44053"/>
          </a:xfrm>
          <a:custGeom>
            <a:avLst/>
            <a:gdLst/>
            <a:ahLst/>
            <a:cxnLst>
              <a:cxn ang="0">
                <a:pos x="153" y="104"/>
              </a:cxn>
              <a:cxn ang="0">
                <a:pos x="134" y="102"/>
              </a:cxn>
              <a:cxn ang="0">
                <a:pos x="110" y="97"/>
              </a:cxn>
              <a:cxn ang="0">
                <a:pos x="96" y="94"/>
              </a:cxn>
              <a:cxn ang="0">
                <a:pos x="80" y="93"/>
              </a:cxn>
              <a:cxn ang="0">
                <a:pos x="73" y="93"/>
              </a:cxn>
              <a:cxn ang="0">
                <a:pos x="64" y="94"/>
              </a:cxn>
              <a:cxn ang="0">
                <a:pos x="55" y="96"/>
              </a:cxn>
              <a:cxn ang="0">
                <a:pos x="47" y="98"/>
              </a:cxn>
              <a:cxn ang="0">
                <a:pos x="41" y="100"/>
              </a:cxn>
              <a:cxn ang="0">
                <a:pos x="34" y="100"/>
              </a:cxn>
              <a:cxn ang="0">
                <a:pos x="27" y="99"/>
              </a:cxn>
              <a:cxn ang="0">
                <a:pos x="19" y="96"/>
              </a:cxn>
              <a:cxn ang="0">
                <a:pos x="11" y="92"/>
              </a:cxn>
              <a:cxn ang="0">
                <a:pos x="6" y="88"/>
              </a:cxn>
              <a:cxn ang="0">
                <a:pos x="3" y="86"/>
              </a:cxn>
              <a:cxn ang="0">
                <a:pos x="1" y="84"/>
              </a:cxn>
              <a:cxn ang="0">
                <a:pos x="0" y="81"/>
              </a:cxn>
              <a:cxn ang="0">
                <a:pos x="0" y="79"/>
              </a:cxn>
              <a:cxn ang="0">
                <a:pos x="0" y="76"/>
              </a:cxn>
              <a:cxn ang="0">
                <a:pos x="1" y="74"/>
              </a:cxn>
              <a:cxn ang="0">
                <a:pos x="3" y="71"/>
              </a:cxn>
              <a:cxn ang="0">
                <a:pos x="6" y="70"/>
              </a:cxn>
              <a:cxn ang="0">
                <a:pos x="12" y="67"/>
              </a:cxn>
              <a:cxn ang="0">
                <a:pos x="20" y="66"/>
              </a:cxn>
              <a:cxn ang="0">
                <a:pos x="40" y="66"/>
              </a:cxn>
              <a:cxn ang="0">
                <a:pos x="61" y="67"/>
              </a:cxn>
              <a:cxn ang="0">
                <a:pos x="70" y="67"/>
              </a:cxn>
              <a:cxn ang="0">
                <a:pos x="79" y="67"/>
              </a:cxn>
              <a:cxn ang="0">
                <a:pos x="87" y="67"/>
              </a:cxn>
              <a:cxn ang="0">
                <a:pos x="94" y="67"/>
              </a:cxn>
              <a:cxn ang="0">
                <a:pos x="94" y="56"/>
              </a:cxn>
              <a:cxn ang="0">
                <a:pos x="94" y="43"/>
              </a:cxn>
              <a:cxn ang="0">
                <a:pos x="94" y="29"/>
              </a:cxn>
              <a:cxn ang="0">
                <a:pos x="94" y="18"/>
              </a:cxn>
              <a:cxn ang="0">
                <a:pos x="79" y="17"/>
              </a:cxn>
              <a:cxn ang="0">
                <a:pos x="67" y="15"/>
              </a:cxn>
              <a:cxn ang="0">
                <a:pos x="62" y="13"/>
              </a:cxn>
              <a:cxn ang="0">
                <a:pos x="57" y="10"/>
              </a:cxn>
              <a:cxn ang="0">
                <a:pos x="52" y="6"/>
              </a:cxn>
              <a:cxn ang="0">
                <a:pos x="47" y="0"/>
              </a:cxn>
              <a:cxn ang="0">
                <a:pos x="146" y="0"/>
              </a:cxn>
              <a:cxn ang="0">
                <a:pos x="147" y="6"/>
              </a:cxn>
              <a:cxn ang="0">
                <a:pos x="148" y="13"/>
              </a:cxn>
              <a:cxn ang="0">
                <a:pos x="150" y="19"/>
              </a:cxn>
              <a:cxn ang="0">
                <a:pos x="152" y="25"/>
              </a:cxn>
              <a:cxn ang="0">
                <a:pos x="156" y="35"/>
              </a:cxn>
              <a:cxn ang="0">
                <a:pos x="159" y="46"/>
              </a:cxn>
              <a:cxn ang="0">
                <a:pos x="163" y="54"/>
              </a:cxn>
              <a:cxn ang="0">
                <a:pos x="164" y="62"/>
              </a:cxn>
              <a:cxn ang="0">
                <a:pos x="163" y="65"/>
              </a:cxn>
              <a:cxn ang="0">
                <a:pos x="160" y="68"/>
              </a:cxn>
              <a:cxn ang="0">
                <a:pos x="157" y="71"/>
              </a:cxn>
              <a:cxn ang="0">
                <a:pos x="153" y="73"/>
              </a:cxn>
              <a:cxn ang="0">
                <a:pos x="153" y="104"/>
              </a:cxn>
            </a:cxnLst>
            <a:rect l="0" t="0" r="r" b="b"/>
            <a:pathLst>
              <a:path w="164" h="104">
                <a:moveTo>
                  <a:pt x="153" y="104"/>
                </a:moveTo>
                <a:lnTo>
                  <a:pt x="134" y="102"/>
                </a:lnTo>
                <a:lnTo>
                  <a:pt x="110" y="97"/>
                </a:lnTo>
                <a:lnTo>
                  <a:pt x="96" y="94"/>
                </a:lnTo>
                <a:lnTo>
                  <a:pt x="80" y="93"/>
                </a:lnTo>
                <a:lnTo>
                  <a:pt x="73" y="93"/>
                </a:lnTo>
                <a:lnTo>
                  <a:pt x="64" y="94"/>
                </a:lnTo>
                <a:lnTo>
                  <a:pt x="55" y="96"/>
                </a:lnTo>
                <a:lnTo>
                  <a:pt x="47" y="98"/>
                </a:lnTo>
                <a:lnTo>
                  <a:pt x="41" y="100"/>
                </a:lnTo>
                <a:lnTo>
                  <a:pt x="34" y="100"/>
                </a:lnTo>
                <a:lnTo>
                  <a:pt x="27" y="99"/>
                </a:lnTo>
                <a:lnTo>
                  <a:pt x="19" y="96"/>
                </a:lnTo>
                <a:lnTo>
                  <a:pt x="11" y="92"/>
                </a:lnTo>
                <a:lnTo>
                  <a:pt x="6" y="88"/>
                </a:lnTo>
                <a:lnTo>
                  <a:pt x="3" y="86"/>
                </a:lnTo>
                <a:lnTo>
                  <a:pt x="1" y="84"/>
                </a:lnTo>
                <a:lnTo>
                  <a:pt x="0" y="81"/>
                </a:lnTo>
                <a:lnTo>
                  <a:pt x="0" y="79"/>
                </a:lnTo>
                <a:lnTo>
                  <a:pt x="0" y="76"/>
                </a:lnTo>
                <a:lnTo>
                  <a:pt x="1" y="74"/>
                </a:lnTo>
                <a:lnTo>
                  <a:pt x="3" y="71"/>
                </a:lnTo>
                <a:lnTo>
                  <a:pt x="6" y="70"/>
                </a:lnTo>
                <a:lnTo>
                  <a:pt x="12" y="67"/>
                </a:lnTo>
                <a:lnTo>
                  <a:pt x="20" y="66"/>
                </a:lnTo>
                <a:lnTo>
                  <a:pt x="40" y="66"/>
                </a:lnTo>
                <a:lnTo>
                  <a:pt x="61" y="67"/>
                </a:lnTo>
                <a:lnTo>
                  <a:pt x="70" y="67"/>
                </a:lnTo>
                <a:lnTo>
                  <a:pt x="79" y="67"/>
                </a:lnTo>
                <a:lnTo>
                  <a:pt x="87" y="67"/>
                </a:lnTo>
                <a:lnTo>
                  <a:pt x="94" y="67"/>
                </a:lnTo>
                <a:lnTo>
                  <a:pt x="94" y="56"/>
                </a:lnTo>
                <a:lnTo>
                  <a:pt x="94" y="43"/>
                </a:lnTo>
                <a:lnTo>
                  <a:pt x="94" y="29"/>
                </a:lnTo>
                <a:lnTo>
                  <a:pt x="94" y="18"/>
                </a:lnTo>
                <a:lnTo>
                  <a:pt x="79" y="17"/>
                </a:lnTo>
                <a:lnTo>
                  <a:pt x="67" y="15"/>
                </a:lnTo>
                <a:lnTo>
                  <a:pt x="62" y="13"/>
                </a:lnTo>
                <a:lnTo>
                  <a:pt x="57" y="10"/>
                </a:lnTo>
                <a:lnTo>
                  <a:pt x="52" y="6"/>
                </a:lnTo>
                <a:lnTo>
                  <a:pt x="47" y="0"/>
                </a:lnTo>
                <a:lnTo>
                  <a:pt x="146" y="0"/>
                </a:lnTo>
                <a:lnTo>
                  <a:pt x="147" y="6"/>
                </a:lnTo>
                <a:lnTo>
                  <a:pt x="148" y="13"/>
                </a:lnTo>
                <a:lnTo>
                  <a:pt x="150" y="19"/>
                </a:lnTo>
                <a:lnTo>
                  <a:pt x="152" y="25"/>
                </a:lnTo>
                <a:lnTo>
                  <a:pt x="156" y="35"/>
                </a:lnTo>
                <a:lnTo>
                  <a:pt x="159" y="46"/>
                </a:lnTo>
                <a:lnTo>
                  <a:pt x="163" y="54"/>
                </a:lnTo>
                <a:lnTo>
                  <a:pt x="164" y="62"/>
                </a:lnTo>
                <a:lnTo>
                  <a:pt x="163" y="65"/>
                </a:lnTo>
                <a:lnTo>
                  <a:pt x="160" y="68"/>
                </a:lnTo>
                <a:lnTo>
                  <a:pt x="157" y="71"/>
                </a:lnTo>
                <a:lnTo>
                  <a:pt x="153" y="73"/>
                </a:lnTo>
                <a:lnTo>
                  <a:pt x="153" y="10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245" name="Freeform 197"/>
          <p:cNvSpPr>
            <a:spLocks/>
          </p:cNvSpPr>
          <p:nvPr>
            <p:custDataLst>
              <p:tags r:id="rId124"/>
            </p:custDataLst>
          </p:nvPr>
        </p:nvSpPr>
        <p:spPr bwMode="auto">
          <a:xfrm>
            <a:off x="2536832" y="4050511"/>
            <a:ext cx="23813" cy="42863"/>
          </a:xfrm>
          <a:custGeom>
            <a:avLst/>
            <a:gdLst/>
            <a:ahLst/>
            <a:cxnLst>
              <a:cxn ang="0">
                <a:pos x="0" y="8"/>
              </a:cxn>
              <a:cxn ang="0">
                <a:pos x="7" y="13"/>
              </a:cxn>
              <a:cxn ang="0">
                <a:pos x="14" y="17"/>
              </a:cxn>
              <a:cxn ang="0">
                <a:pos x="22" y="19"/>
              </a:cxn>
              <a:cxn ang="0">
                <a:pos x="29" y="19"/>
              </a:cxn>
              <a:cxn ang="0">
                <a:pos x="35" y="18"/>
              </a:cxn>
              <a:cxn ang="0">
                <a:pos x="42" y="15"/>
              </a:cxn>
              <a:cxn ang="0">
                <a:pos x="47" y="12"/>
              </a:cxn>
              <a:cxn ang="0">
                <a:pos x="53" y="8"/>
              </a:cxn>
              <a:cxn ang="0">
                <a:pos x="47" y="5"/>
              </a:cxn>
              <a:cxn ang="0">
                <a:pos x="42" y="2"/>
              </a:cxn>
              <a:cxn ang="0">
                <a:pos x="35" y="1"/>
              </a:cxn>
              <a:cxn ang="0">
                <a:pos x="29" y="0"/>
              </a:cxn>
              <a:cxn ang="0">
                <a:pos x="22" y="0"/>
              </a:cxn>
              <a:cxn ang="0">
                <a:pos x="14" y="1"/>
              </a:cxn>
              <a:cxn ang="0">
                <a:pos x="7" y="3"/>
              </a:cxn>
              <a:cxn ang="0">
                <a:pos x="0" y="8"/>
              </a:cxn>
            </a:cxnLst>
            <a:rect l="0" t="0" r="r" b="b"/>
            <a:pathLst>
              <a:path w="53" h="19">
                <a:moveTo>
                  <a:pt x="0" y="8"/>
                </a:moveTo>
                <a:lnTo>
                  <a:pt x="7" y="13"/>
                </a:lnTo>
                <a:lnTo>
                  <a:pt x="14" y="17"/>
                </a:lnTo>
                <a:lnTo>
                  <a:pt x="22" y="19"/>
                </a:lnTo>
                <a:lnTo>
                  <a:pt x="29" y="19"/>
                </a:lnTo>
                <a:lnTo>
                  <a:pt x="35" y="18"/>
                </a:lnTo>
                <a:lnTo>
                  <a:pt x="42" y="15"/>
                </a:lnTo>
                <a:lnTo>
                  <a:pt x="47" y="12"/>
                </a:lnTo>
                <a:lnTo>
                  <a:pt x="53" y="8"/>
                </a:lnTo>
                <a:lnTo>
                  <a:pt x="47" y="5"/>
                </a:lnTo>
                <a:lnTo>
                  <a:pt x="42" y="2"/>
                </a:lnTo>
                <a:lnTo>
                  <a:pt x="35" y="1"/>
                </a:lnTo>
                <a:lnTo>
                  <a:pt x="29" y="0"/>
                </a:lnTo>
                <a:lnTo>
                  <a:pt x="22" y="0"/>
                </a:lnTo>
                <a:lnTo>
                  <a:pt x="14" y="1"/>
                </a:lnTo>
                <a:lnTo>
                  <a:pt x="7" y="3"/>
                </a:lnTo>
                <a:lnTo>
                  <a:pt x="0" y="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246" name="Freeform 198"/>
          <p:cNvSpPr>
            <a:spLocks/>
          </p:cNvSpPr>
          <p:nvPr>
            <p:custDataLst>
              <p:tags r:id="rId125"/>
            </p:custDataLst>
          </p:nvPr>
        </p:nvSpPr>
        <p:spPr bwMode="auto">
          <a:xfrm>
            <a:off x="2501907" y="4035038"/>
            <a:ext cx="34925" cy="4405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" y="6"/>
              </a:cxn>
              <a:cxn ang="0">
                <a:pos x="5" y="12"/>
              </a:cxn>
              <a:cxn ang="0">
                <a:pos x="8" y="14"/>
              </a:cxn>
              <a:cxn ang="0">
                <a:pos x="11" y="16"/>
              </a:cxn>
              <a:cxn ang="0">
                <a:pos x="15" y="18"/>
              </a:cxn>
              <a:cxn ang="0">
                <a:pos x="20" y="18"/>
              </a:cxn>
              <a:cxn ang="0">
                <a:pos x="22" y="15"/>
              </a:cxn>
              <a:cxn ang="0">
                <a:pos x="24" y="13"/>
              </a:cxn>
              <a:cxn ang="0">
                <a:pos x="26" y="11"/>
              </a:cxn>
              <a:cxn ang="0">
                <a:pos x="31" y="10"/>
              </a:cxn>
              <a:cxn ang="0">
                <a:pos x="38" y="8"/>
              </a:cxn>
              <a:cxn ang="0">
                <a:pos x="47" y="7"/>
              </a:cxn>
              <a:cxn ang="0">
                <a:pos x="57" y="7"/>
              </a:cxn>
              <a:cxn ang="0">
                <a:pos x="66" y="6"/>
              </a:cxn>
              <a:cxn ang="0">
                <a:pos x="70" y="5"/>
              </a:cxn>
              <a:cxn ang="0">
                <a:pos x="74" y="4"/>
              </a:cxn>
              <a:cxn ang="0">
                <a:pos x="77" y="2"/>
              </a:cxn>
              <a:cxn ang="0">
                <a:pos x="80" y="0"/>
              </a:cxn>
              <a:cxn ang="0">
                <a:pos x="0" y="0"/>
              </a:cxn>
            </a:cxnLst>
            <a:rect l="0" t="0" r="r" b="b"/>
            <a:pathLst>
              <a:path w="80" h="18">
                <a:moveTo>
                  <a:pt x="0" y="0"/>
                </a:moveTo>
                <a:lnTo>
                  <a:pt x="1" y="6"/>
                </a:lnTo>
                <a:lnTo>
                  <a:pt x="5" y="12"/>
                </a:lnTo>
                <a:lnTo>
                  <a:pt x="8" y="14"/>
                </a:lnTo>
                <a:lnTo>
                  <a:pt x="11" y="16"/>
                </a:lnTo>
                <a:lnTo>
                  <a:pt x="15" y="18"/>
                </a:lnTo>
                <a:lnTo>
                  <a:pt x="20" y="18"/>
                </a:lnTo>
                <a:lnTo>
                  <a:pt x="22" y="15"/>
                </a:lnTo>
                <a:lnTo>
                  <a:pt x="24" y="13"/>
                </a:lnTo>
                <a:lnTo>
                  <a:pt x="26" y="11"/>
                </a:lnTo>
                <a:lnTo>
                  <a:pt x="31" y="10"/>
                </a:lnTo>
                <a:lnTo>
                  <a:pt x="38" y="8"/>
                </a:lnTo>
                <a:lnTo>
                  <a:pt x="47" y="7"/>
                </a:lnTo>
                <a:lnTo>
                  <a:pt x="57" y="7"/>
                </a:lnTo>
                <a:lnTo>
                  <a:pt x="66" y="6"/>
                </a:lnTo>
                <a:lnTo>
                  <a:pt x="70" y="5"/>
                </a:lnTo>
                <a:lnTo>
                  <a:pt x="74" y="4"/>
                </a:lnTo>
                <a:lnTo>
                  <a:pt x="77" y="2"/>
                </a:lnTo>
                <a:lnTo>
                  <a:pt x="8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247" name="Freeform 199"/>
          <p:cNvSpPr>
            <a:spLocks/>
          </p:cNvSpPr>
          <p:nvPr>
            <p:custDataLst>
              <p:tags r:id="rId126"/>
            </p:custDataLst>
          </p:nvPr>
        </p:nvSpPr>
        <p:spPr bwMode="auto">
          <a:xfrm>
            <a:off x="2501907" y="4019558"/>
            <a:ext cx="22225" cy="45244"/>
          </a:xfrm>
          <a:custGeom>
            <a:avLst/>
            <a:gdLst/>
            <a:ahLst/>
            <a:cxnLst>
              <a:cxn ang="0">
                <a:pos x="20" y="0"/>
              </a:cxn>
              <a:cxn ang="0">
                <a:pos x="0" y="18"/>
              </a:cxn>
              <a:cxn ang="0">
                <a:pos x="9" y="22"/>
              </a:cxn>
              <a:cxn ang="0">
                <a:pos x="16" y="25"/>
              </a:cxn>
              <a:cxn ang="0">
                <a:pos x="23" y="27"/>
              </a:cxn>
              <a:cxn ang="0">
                <a:pos x="29" y="27"/>
              </a:cxn>
              <a:cxn ang="0">
                <a:pos x="33" y="27"/>
              </a:cxn>
              <a:cxn ang="0">
                <a:pos x="37" y="25"/>
              </a:cxn>
              <a:cxn ang="0">
                <a:pos x="42" y="22"/>
              </a:cxn>
              <a:cxn ang="0">
                <a:pos x="46" y="18"/>
              </a:cxn>
              <a:cxn ang="0">
                <a:pos x="41" y="16"/>
              </a:cxn>
              <a:cxn ang="0">
                <a:pos x="33" y="11"/>
              </a:cxn>
              <a:cxn ang="0">
                <a:pos x="26" y="5"/>
              </a:cxn>
              <a:cxn ang="0">
                <a:pos x="20" y="0"/>
              </a:cxn>
            </a:cxnLst>
            <a:rect l="0" t="0" r="r" b="b"/>
            <a:pathLst>
              <a:path w="46" h="27">
                <a:moveTo>
                  <a:pt x="20" y="0"/>
                </a:moveTo>
                <a:lnTo>
                  <a:pt x="0" y="18"/>
                </a:lnTo>
                <a:lnTo>
                  <a:pt x="9" y="22"/>
                </a:lnTo>
                <a:lnTo>
                  <a:pt x="16" y="25"/>
                </a:lnTo>
                <a:lnTo>
                  <a:pt x="23" y="27"/>
                </a:lnTo>
                <a:lnTo>
                  <a:pt x="29" y="27"/>
                </a:lnTo>
                <a:lnTo>
                  <a:pt x="33" y="27"/>
                </a:lnTo>
                <a:lnTo>
                  <a:pt x="37" y="25"/>
                </a:lnTo>
                <a:lnTo>
                  <a:pt x="42" y="22"/>
                </a:lnTo>
                <a:lnTo>
                  <a:pt x="46" y="18"/>
                </a:lnTo>
                <a:lnTo>
                  <a:pt x="41" y="16"/>
                </a:lnTo>
                <a:lnTo>
                  <a:pt x="33" y="11"/>
                </a:lnTo>
                <a:lnTo>
                  <a:pt x="26" y="5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248" name="Freeform 200"/>
          <p:cNvSpPr>
            <a:spLocks/>
          </p:cNvSpPr>
          <p:nvPr>
            <p:custDataLst>
              <p:tags r:id="rId127"/>
            </p:custDataLst>
          </p:nvPr>
        </p:nvSpPr>
        <p:spPr bwMode="auto">
          <a:xfrm>
            <a:off x="2471738" y="4014794"/>
            <a:ext cx="25400" cy="45244"/>
          </a:xfrm>
          <a:custGeom>
            <a:avLst/>
            <a:gdLst/>
            <a:ahLst/>
            <a:cxnLst>
              <a:cxn ang="0">
                <a:pos x="34" y="0"/>
              </a:cxn>
              <a:cxn ang="0">
                <a:pos x="20" y="4"/>
              </a:cxn>
              <a:cxn ang="0">
                <a:pos x="10" y="10"/>
              </a:cxn>
              <a:cxn ang="0">
                <a:pos x="6" y="13"/>
              </a:cxn>
              <a:cxn ang="0">
                <a:pos x="4" y="16"/>
              </a:cxn>
              <a:cxn ang="0">
                <a:pos x="2" y="20"/>
              </a:cxn>
              <a:cxn ang="0">
                <a:pos x="0" y="24"/>
              </a:cxn>
              <a:cxn ang="0">
                <a:pos x="2" y="28"/>
              </a:cxn>
              <a:cxn ang="0">
                <a:pos x="3" y="32"/>
              </a:cxn>
              <a:cxn ang="0">
                <a:pos x="5" y="35"/>
              </a:cxn>
              <a:cxn ang="0">
                <a:pos x="8" y="37"/>
              </a:cxn>
              <a:cxn ang="0">
                <a:pos x="11" y="38"/>
              </a:cxn>
              <a:cxn ang="0">
                <a:pos x="16" y="39"/>
              </a:cxn>
              <a:cxn ang="0">
                <a:pos x="20" y="39"/>
              </a:cxn>
              <a:cxn ang="0">
                <a:pos x="25" y="39"/>
              </a:cxn>
              <a:cxn ang="0">
                <a:pos x="30" y="38"/>
              </a:cxn>
              <a:cxn ang="0">
                <a:pos x="34" y="37"/>
              </a:cxn>
              <a:cxn ang="0">
                <a:pos x="39" y="35"/>
              </a:cxn>
              <a:cxn ang="0">
                <a:pos x="43" y="33"/>
              </a:cxn>
              <a:cxn ang="0">
                <a:pos x="47" y="30"/>
              </a:cxn>
              <a:cxn ang="0">
                <a:pos x="50" y="26"/>
              </a:cxn>
              <a:cxn ang="0">
                <a:pos x="52" y="22"/>
              </a:cxn>
              <a:cxn ang="0">
                <a:pos x="54" y="18"/>
              </a:cxn>
              <a:cxn ang="0">
                <a:pos x="51" y="17"/>
              </a:cxn>
              <a:cxn ang="0">
                <a:pos x="48" y="16"/>
              </a:cxn>
              <a:cxn ang="0">
                <a:pos x="44" y="14"/>
              </a:cxn>
              <a:cxn ang="0">
                <a:pos x="42" y="11"/>
              </a:cxn>
              <a:cxn ang="0">
                <a:pos x="39" y="8"/>
              </a:cxn>
              <a:cxn ang="0">
                <a:pos x="37" y="5"/>
              </a:cxn>
              <a:cxn ang="0">
                <a:pos x="34" y="2"/>
              </a:cxn>
              <a:cxn ang="0">
                <a:pos x="34" y="0"/>
              </a:cxn>
            </a:cxnLst>
            <a:rect l="0" t="0" r="r" b="b"/>
            <a:pathLst>
              <a:path w="54" h="39">
                <a:moveTo>
                  <a:pt x="34" y="0"/>
                </a:moveTo>
                <a:lnTo>
                  <a:pt x="20" y="4"/>
                </a:lnTo>
                <a:lnTo>
                  <a:pt x="10" y="10"/>
                </a:lnTo>
                <a:lnTo>
                  <a:pt x="6" y="13"/>
                </a:lnTo>
                <a:lnTo>
                  <a:pt x="4" y="16"/>
                </a:lnTo>
                <a:lnTo>
                  <a:pt x="2" y="20"/>
                </a:lnTo>
                <a:lnTo>
                  <a:pt x="0" y="24"/>
                </a:lnTo>
                <a:lnTo>
                  <a:pt x="2" y="28"/>
                </a:lnTo>
                <a:lnTo>
                  <a:pt x="3" y="32"/>
                </a:lnTo>
                <a:lnTo>
                  <a:pt x="5" y="35"/>
                </a:lnTo>
                <a:lnTo>
                  <a:pt x="8" y="37"/>
                </a:lnTo>
                <a:lnTo>
                  <a:pt x="11" y="38"/>
                </a:lnTo>
                <a:lnTo>
                  <a:pt x="16" y="39"/>
                </a:lnTo>
                <a:lnTo>
                  <a:pt x="20" y="39"/>
                </a:lnTo>
                <a:lnTo>
                  <a:pt x="25" y="39"/>
                </a:lnTo>
                <a:lnTo>
                  <a:pt x="30" y="38"/>
                </a:lnTo>
                <a:lnTo>
                  <a:pt x="34" y="37"/>
                </a:lnTo>
                <a:lnTo>
                  <a:pt x="39" y="35"/>
                </a:lnTo>
                <a:lnTo>
                  <a:pt x="43" y="33"/>
                </a:lnTo>
                <a:lnTo>
                  <a:pt x="47" y="30"/>
                </a:lnTo>
                <a:lnTo>
                  <a:pt x="50" y="26"/>
                </a:lnTo>
                <a:lnTo>
                  <a:pt x="52" y="22"/>
                </a:lnTo>
                <a:lnTo>
                  <a:pt x="54" y="18"/>
                </a:lnTo>
                <a:lnTo>
                  <a:pt x="51" y="17"/>
                </a:lnTo>
                <a:lnTo>
                  <a:pt x="48" y="16"/>
                </a:lnTo>
                <a:lnTo>
                  <a:pt x="44" y="14"/>
                </a:lnTo>
                <a:lnTo>
                  <a:pt x="42" y="11"/>
                </a:lnTo>
                <a:lnTo>
                  <a:pt x="39" y="8"/>
                </a:lnTo>
                <a:lnTo>
                  <a:pt x="37" y="5"/>
                </a:lnTo>
                <a:lnTo>
                  <a:pt x="34" y="2"/>
                </a:lnTo>
                <a:lnTo>
                  <a:pt x="3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249" name="Freeform 201"/>
          <p:cNvSpPr>
            <a:spLocks/>
          </p:cNvSpPr>
          <p:nvPr>
            <p:custDataLst>
              <p:tags r:id="rId128"/>
            </p:custDataLst>
          </p:nvPr>
        </p:nvSpPr>
        <p:spPr bwMode="auto">
          <a:xfrm>
            <a:off x="2446338" y="4007646"/>
            <a:ext cx="28575" cy="44054"/>
          </a:xfrm>
          <a:custGeom>
            <a:avLst/>
            <a:gdLst/>
            <a:ahLst/>
            <a:cxnLst>
              <a:cxn ang="0">
                <a:pos x="0" y="11"/>
              </a:cxn>
              <a:cxn ang="0">
                <a:pos x="10" y="13"/>
              </a:cxn>
              <a:cxn ang="0">
                <a:pos x="18" y="14"/>
              </a:cxn>
              <a:cxn ang="0">
                <a:pos x="27" y="15"/>
              </a:cxn>
              <a:cxn ang="0">
                <a:pos x="35" y="15"/>
              </a:cxn>
              <a:cxn ang="0">
                <a:pos x="41" y="14"/>
              </a:cxn>
              <a:cxn ang="0">
                <a:pos x="48" y="12"/>
              </a:cxn>
              <a:cxn ang="0">
                <a:pos x="55" y="9"/>
              </a:cxn>
              <a:cxn ang="0">
                <a:pos x="60" y="5"/>
              </a:cxn>
              <a:cxn ang="0">
                <a:pos x="57" y="3"/>
              </a:cxn>
              <a:cxn ang="0">
                <a:pos x="54" y="0"/>
              </a:cxn>
              <a:cxn ang="0">
                <a:pos x="51" y="0"/>
              </a:cxn>
              <a:cxn ang="0">
                <a:pos x="47" y="0"/>
              </a:cxn>
              <a:cxn ang="0">
                <a:pos x="40" y="0"/>
              </a:cxn>
              <a:cxn ang="0">
                <a:pos x="33" y="3"/>
              </a:cxn>
              <a:cxn ang="0">
                <a:pos x="24" y="6"/>
              </a:cxn>
              <a:cxn ang="0">
                <a:pos x="16" y="8"/>
              </a:cxn>
              <a:cxn ang="0">
                <a:pos x="7" y="10"/>
              </a:cxn>
              <a:cxn ang="0">
                <a:pos x="0" y="11"/>
              </a:cxn>
            </a:cxnLst>
            <a:rect l="0" t="0" r="r" b="b"/>
            <a:pathLst>
              <a:path w="60" h="15">
                <a:moveTo>
                  <a:pt x="0" y="11"/>
                </a:moveTo>
                <a:lnTo>
                  <a:pt x="10" y="13"/>
                </a:lnTo>
                <a:lnTo>
                  <a:pt x="18" y="14"/>
                </a:lnTo>
                <a:lnTo>
                  <a:pt x="27" y="15"/>
                </a:lnTo>
                <a:lnTo>
                  <a:pt x="35" y="15"/>
                </a:lnTo>
                <a:lnTo>
                  <a:pt x="41" y="14"/>
                </a:lnTo>
                <a:lnTo>
                  <a:pt x="48" y="12"/>
                </a:lnTo>
                <a:lnTo>
                  <a:pt x="55" y="9"/>
                </a:lnTo>
                <a:lnTo>
                  <a:pt x="60" y="5"/>
                </a:lnTo>
                <a:lnTo>
                  <a:pt x="57" y="3"/>
                </a:lnTo>
                <a:lnTo>
                  <a:pt x="54" y="0"/>
                </a:lnTo>
                <a:lnTo>
                  <a:pt x="51" y="0"/>
                </a:lnTo>
                <a:lnTo>
                  <a:pt x="47" y="0"/>
                </a:lnTo>
                <a:lnTo>
                  <a:pt x="40" y="0"/>
                </a:lnTo>
                <a:lnTo>
                  <a:pt x="33" y="3"/>
                </a:lnTo>
                <a:lnTo>
                  <a:pt x="24" y="6"/>
                </a:lnTo>
                <a:lnTo>
                  <a:pt x="16" y="8"/>
                </a:lnTo>
                <a:lnTo>
                  <a:pt x="7" y="10"/>
                </a:lnTo>
                <a:lnTo>
                  <a:pt x="0" y="1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250" name="Freeform 202"/>
          <p:cNvSpPr>
            <a:spLocks/>
          </p:cNvSpPr>
          <p:nvPr>
            <p:custDataLst>
              <p:tags r:id="rId129"/>
            </p:custDataLst>
          </p:nvPr>
        </p:nvSpPr>
        <p:spPr bwMode="auto">
          <a:xfrm>
            <a:off x="2422525" y="3998124"/>
            <a:ext cx="33338" cy="42863"/>
          </a:xfrm>
          <a:custGeom>
            <a:avLst/>
            <a:gdLst/>
            <a:ahLst/>
            <a:cxnLst>
              <a:cxn ang="0">
                <a:pos x="40" y="0"/>
              </a:cxn>
              <a:cxn ang="0">
                <a:pos x="34" y="1"/>
              </a:cxn>
              <a:cxn ang="0">
                <a:pos x="30" y="2"/>
              </a:cxn>
              <a:cxn ang="0">
                <a:pos x="25" y="4"/>
              </a:cxn>
              <a:cxn ang="0">
                <a:pos x="20" y="6"/>
              </a:cxn>
              <a:cxn ang="0">
                <a:pos x="15" y="9"/>
              </a:cxn>
              <a:cxn ang="0">
                <a:pos x="10" y="11"/>
              </a:cxn>
              <a:cxn ang="0">
                <a:pos x="5" y="12"/>
              </a:cxn>
              <a:cxn ang="0">
                <a:pos x="0" y="13"/>
              </a:cxn>
              <a:cxn ang="0">
                <a:pos x="5" y="21"/>
              </a:cxn>
              <a:cxn ang="0">
                <a:pos x="10" y="26"/>
              </a:cxn>
              <a:cxn ang="0">
                <a:pos x="12" y="29"/>
              </a:cxn>
              <a:cxn ang="0">
                <a:pos x="15" y="31"/>
              </a:cxn>
              <a:cxn ang="0">
                <a:pos x="18" y="31"/>
              </a:cxn>
              <a:cxn ang="0">
                <a:pos x="20" y="32"/>
              </a:cxn>
              <a:cxn ang="0">
                <a:pos x="27" y="31"/>
              </a:cxn>
              <a:cxn ang="0">
                <a:pos x="34" y="30"/>
              </a:cxn>
              <a:cxn ang="0">
                <a:pos x="41" y="27"/>
              </a:cxn>
              <a:cxn ang="0">
                <a:pos x="48" y="24"/>
              </a:cxn>
              <a:cxn ang="0">
                <a:pos x="62" y="18"/>
              </a:cxn>
              <a:cxn ang="0">
                <a:pos x="79" y="13"/>
              </a:cxn>
              <a:cxn ang="0">
                <a:pos x="67" y="6"/>
              </a:cxn>
              <a:cxn ang="0">
                <a:pos x="58" y="2"/>
              </a:cxn>
              <a:cxn ang="0">
                <a:pos x="49" y="1"/>
              </a:cxn>
              <a:cxn ang="0">
                <a:pos x="40" y="0"/>
              </a:cxn>
            </a:cxnLst>
            <a:rect l="0" t="0" r="r" b="b"/>
            <a:pathLst>
              <a:path w="79" h="32">
                <a:moveTo>
                  <a:pt x="40" y="0"/>
                </a:moveTo>
                <a:lnTo>
                  <a:pt x="34" y="1"/>
                </a:lnTo>
                <a:lnTo>
                  <a:pt x="30" y="2"/>
                </a:lnTo>
                <a:lnTo>
                  <a:pt x="25" y="4"/>
                </a:lnTo>
                <a:lnTo>
                  <a:pt x="20" y="6"/>
                </a:lnTo>
                <a:lnTo>
                  <a:pt x="15" y="9"/>
                </a:lnTo>
                <a:lnTo>
                  <a:pt x="10" y="11"/>
                </a:lnTo>
                <a:lnTo>
                  <a:pt x="5" y="12"/>
                </a:lnTo>
                <a:lnTo>
                  <a:pt x="0" y="13"/>
                </a:lnTo>
                <a:lnTo>
                  <a:pt x="5" y="21"/>
                </a:lnTo>
                <a:lnTo>
                  <a:pt x="10" y="26"/>
                </a:lnTo>
                <a:lnTo>
                  <a:pt x="12" y="29"/>
                </a:lnTo>
                <a:lnTo>
                  <a:pt x="15" y="31"/>
                </a:lnTo>
                <a:lnTo>
                  <a:pt x="18" y="31"/>
                </a:lnTo>
                <a:lnTo>
                  <a:pt x="20" y="32"/>
                </a:lnTo>
                <a:lnTo>
                  <a:pt x="27" y="31"/>
                </a:lnTo>
                <a:lnTo>
                  <a:pt x="34" y="30"/>
                </a:lnTo>
                <a:lnTo>
                  <a:pt x="41" y="27"/>
                </a:lnTo>
                <a:lnTo>
                  <a:pt x="48" y="24"/>
                </a:lnTo>
                <a:lnTo>
                  <a:pt x="62" y="18"/>
                </a:lnTo>
                <a:lnTo>
                  <a:pt x="79" y="13"/>
                </a:lnTo>
                <a:lnTo>
                  <a:pt x="67" y="6"/>
                </a:lnTo>
                <a:lnTo>
                  <a:pt x="58" y="2"/>
                </a:lnTo>
                <a:lnTo>
                  <a:pt x="49" y="1"/>
                </a:lnTo>
                <a:lnTo>
                  <a:pt x="4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251" name="Freeform 203"/>
          <p:cNvSpPr>
            <a:spLocks/>
          </p:cNvSpPr>
          <p:nvPr>
            <p:custDataLst>
              <p:tags r:id="rId130"/>
            </p:custDataLst>
          </p:nvPr>
        </p:nvSpPr>
        <p:spPr bwMode="auto">
          <a:xfrm>
            <a:off x="2416182" y="3983836"/>
            <a:ext cx="30163" cy="42863"/>
          </a:xfrm>
          <a:custGeom>
            <a:avLst/>
            <a:gdLst/>
            <a:ahLst/>
            <a:cxnLst>
              <a:cxn ang="0">
                <a:pos x="33" y="0"/>
              </a:cxn>
              <a:cxn ang="0">
                <a:pos x="25" y="1"/>
              </a:cxn>
              <a:cxn ang="0">
                <a:pos x="19" y="2"/>
              </a:cxn>
              <a:cxn ang="0">
                <a:pos x="13" y="4"/>
              </a:cxn>
              <a:cxn ang="0">
                <a:pos x="9" y="7"/>
              </a:cxn>
              <a:cxn ang="0">
                <a:pos x="5" y="11"/>
              </a:cxn>
              <a:cxn ang="0">
                <a:pos x="2" y="14"/>
              </a:cxn>
              <a:cxn ang="0">
                <a:pos x="0" y="17"/>
              </a:cxn>
              <a:cxn ang="0">
                <a:pos x="0" y="19"/>
              </a:cxn>
              <a:cxn ang="0">
                <a:pos x="19" y="19"/>
              </a:cxn>
              <a:cxn ang="0">
                <a:pos x="38" y="19"/>
              </a:cxn>
              <a:cxn ang="0">
                <a:pos x="46" y="18"/>
              </a:cxn>
              <a:cxn ang="0">
                <a:pos x="54" y="17"/>
              </a:cxn>
              <a:cxn ang="0">
                <a:pos x="61" y="15"/>
              </a:cxn>
              <a:cxn ang="0">
                <a:pos x="66" y="13"/>
              </a:cxn>
              <a:cxn ang="0">
                <a:pos x="57" y="8"/>
              </a:cxn>
              <a:cxn ang="0">
                <a:pos x="50" y="4"/>
              </a:cxn>
              <a:cxn ang="0">
                <a:pos x="42" y="1"/>
              </a:cxn>
              <a:cxn ang="0">
                <a:pos x="33" y="0"/>
              </a:cxn>
            </a:cxnLst>
            <a:rect l="0" t="0" r="r" b="b"/>
            <a:pathLst>
              <a:path w="66" h="19">
                <a:moveTo>
                  <a:pt x="33" y="0"/>
                </a:moveTo>
                <a:lnTo>
                  <a:pt x="25" y="1"/>
                </a:lnTo>
                <a:lnTo>
                  <a:pt x="19" y="2"/>
                </a:lnTo>
                <a:lnTo>
                  <a:pt x="13" y="4"/>
                </a:lnTo>
                <a:lnTo>
                  <a:pt x="9" y="7"/>
                </a:lnTo>
                <a:lnTo>
                  <a:pt x="5" y="11"/>
                </a:lnTo>
                <a:lnTo>
                  <a:pt x="2" y="14"/>
                </a:lnTo>
                <a:lnTo>
                  <a:pt x="0" y="17"/>
                </a:lnTo>
                <a:lnTo>
                  <a:pt x="0" y="19"/>
                </a:lnTo>
                <a:lnTo>
                  <a:pt x="19" y="19"/>
                </a:lnTo>
                <a:lnTo>
                  <a:pt x="38" y="19"/>
                </a:lnTo>
                <a:lnTo>
                  <a:pt x="46" y="18"/>
                </a:lnTo>
                <a:lnTo>
                  <a:pt x="54" y="17"/>
                </a:lnTo>
                <a:lnTo>
                  <a:pt x="61" y="15"/>
                </a:lnTo>
                <a:lnTo>
                  <a:pt x="66" y="13"/>
                </a:lnTo>
                <a:lnTo>
                  <a:pt x="57" y="8"/>
                </a:lnTo>
                <a:lnTo>
                  <a:pt x="50" y="4"/>
                </a:lnTo>
                <a:lnTo>
                  <a:pt x="42" y="1"/>
                </a:lnTo>
                <a:lnTo>
                  <a:pt x="3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252" name="Freeform 204"/>
          <p:cNvSpPr>
            <a:spLocks/>
          </p:cNvSpPr>
          <p:nvPr>
            <p:custDataLst>
              <p:tags r:id="rId131"/>
            </p:custDataLst>
          </p:nvPr>
        </p:nvSpPr>
        <p:spPr bwMode="auto">
          <a:xfrm>
            <a:off x="2316163" y="3751667"/>
            <a:ext cx="25400" cy="45244"/>
          </a:xfrm>
          <a:custGeom>
            <a:avLst/>
            <a:gdLst/>
            <a:ahLst/>
            <a:cxnLst>
              <a:cxn ang="0">
                <a:pos x="13" y="0"/>
              </a:cxn>
              <a:cxn ang="0">
                <a:pos x="8" y="5"/>
              </a:cxn>
              <a:cxn ang="0">
                <a:pos x="4" y="10"/>
              </a:cxn>
              <a:cxn ang="0">
                <a:pos x="2" y="13"/>
              </a:cxn>
              <a:cxn ang="0">
                <a:pos x="1" y="16"/>
              </a:cxn>
              <a:cxn ang="0">
                <a:pos x="0" y="20"/>
              </a:cxn>
              <a:cxn ang="0">
                <a:pos x="0" y="25"/>
              </a:cxn>
              <a:cxn ang="0">
                <a:pos x="0" y="30"/>
              </a:cxn>
              <a:cxn ang="0">
                <a:pos x="2" y="39"/>
              </a:cxn>
              <a:cxn ang="0">
                <a:pos x="6" y="48"/>
              </a:cxn>
              <a:cxn ang="0">
                <a:pos x="9" y="57"/>
              </a:cxn>
              <a:cxn ang="0">
                <a:pos x="13" y="66"/>
              </a:cxn>
              <a:cxn ang="0">
                <a:pos x="20" y="73"/>
              </a:cxn>
              <a:cxn ang="0">
                <a:pos x="22" y="76"/>
              </a:cxn>
              <a:cxn ang="0">
                <a:pos x="26" y="78"/>
              </a:cxn>
              <a:cxn ang="0">
                <a:pos x="30" y="80"/>
              </a:cxn>
              <a:cxn ang="0">
                <a:pos x="33" y="80"/>
              </a:cxn>
              <a:cxn ang="0">
                <a:pos x="36" y="79"/>
              </a:cxn>
              <a:cxn ang="0">
                <a:pos x="38" y="78"/>
              </a:cxn>
              <a:cxn ang="0">
                <a:pos x="42" y="76"/>
              </a:cxn>
              <a:cxn ang="0">
                <a:pos x="45" y="73"/>
              </a:cxn>
              <a:cxn ang="0">
                <a:pos x="48" y="70"/>
              </a:cxn>
              <a:cxn ang="0">
                <a:pos x="51" y="67"/>
              </a:cxn>
              <a:cxn ang="0">
                <a:pos x="53" y="64"/>
              </a:cxn>
              <a:cxn ang="0">
                <a:pos x="53" y="62"/>
              </a:cxn>
              <a:cxn ang="0">
                <a:pos x="52" y="54"/>
              </a:cxn>
              <a:cxn ang="0">
                <a:pos x="49" y="47"/>
              </a:cxn>
              <a:cxn ang="0">
                <a:pos x="46" y="42"/>
              </a:cxn>
              <a:cxn ang="0">
                <a:pos x="43" y="37"/>
              </a:cxn>
              <a:cxn ang="0">
                <a:pos x="40" y="32"/>
              </a:cxn>
              <a:cxn ang="0">
                <a:pos x="36" y="27"/>
              </a:cxn>
              <a:cxn ang="0">
                <a:pos x="34" y="20"/>
              </a:cxn>
              <a:cxn ang="0">
                <a:pos x="33" y="12"/>
              </a:cxn>
              <a:cxn ang="0">
                <a:pos x="33" y="10"/>
              </a:cxn>
              <a:cxn ang="0">
                <a:pos x="31" y="8"/>
              </a:cxn>
              <a:cxn ang="0">
                <a:pos x="29" y="6"/>
              </a:cxn>
              <a:cxn ang="0">
                <a:pos x="25" y="4"/>
              </a:cxn>
              <a:cxn ang="0">
                <a:pos x="19" y="1"/>
              </a:cxn>
              <a:cxn ang="0">
                <a:pos x="13" y="0"/>
              </a:cxn>
            </a:cxnLst>
            <a:rect l="0" t="0" r="r" b="b"/>
            <a:pathLst>
              <a:path w="53" h="80">
                <a:moveTo>
                  <a:pt x="13" y="0"/>
                </a:moveTo>
                <a:lnTo>
                  <a:pt x="8" y="5"/>
                </a:lnTo>
                <a:lnTo>
                  <a:pt x="4" y="10"/>
                </a:lnTo>
                <a:lnTo>
                  <a:pt x="2" y="13"/>
                </a:lnTo>
                <a:lnTo>
                  <a:pt x="1" y="16"/>
                </a:lnTo>
                <a:lnTo>
                  <a:pt x="0" y="20"/>
                </a:lnTo>
                <a:lnTo>
                  <a:pt x="0" y="25"/>
                </a:lnTo>
                <a:lnTo>
                  <a:pt x="0" y="30"/>
                </a:lnTo>
                <a:lnTo>
                  <a:pt x="2" y="39"/>
                </a:lnTo>
                <a:lnTo>
                  <a:pt x="6" y="48"/>
                </a:lnTo>
                <a:lnTo>
                  <a:pt x="9" y="57"/>
                </a:lnTo>
                <a:lnTo>
                  <a:pt x="13" y="66"/>
                </a:lnTo>
                <a:lnTo>
                  <a:pt x="20" y="73"/>
                </a:lnTo>
                <a:lnTo>
                  <a:pt x="22" y="76"/>
                </a:lnTo>
                <a:lnTo>
                  <a:pt x="26" y="78"/>
                </a:lnTo>
                <a:lnTo>
                  <a:pt x="30" y="80"/>
                </a:lnTo>
                <a:lnTo>
                  <a:pt x="33" y="80"/>
                </a:lnTo>
                <a:lnTo>
                  <a:pt x="36" y="79"/>
                </a:lnTo>
                <a:lnTo>
                  <a:pt x="38" y="78"/>
                </a:lnTo>
                <a:lnTo>
                  <a:pt x="42" y="76"/>
                </a:lnTo>
                <a:lnTo>
                  <a:pt x="45" y="73"/>
                </a:lnTo>
                <a:lnTo>
                  <a:pt x="48" y="70"/>
                </a:lnTo>
                <a:lnTo>
                  <a:pt x="51" y="67"/>
                </a:lnTo>
                <a:lnTo>
                  <a:pt x="53" y="64"/>
                </a:lnTo>
                <a:lnTo>
                  <a:pt x="53" y="62"/>
                </a:lnTo>
                <a:lnTo>
                  <a:pt x="52" y="54"/>
                </a:lnTo>
                <a:lnTo>
                  <a:pt x="49" y="47"/>
                </a:lnTo>
                <a:lnTo>
                  <a:pt x="46" y="42"/>
                </a:lnTo>
                <a:lnTo>
                  <a:pt x="43" y="37"/>
                </a:lnTo>
                <a:lnTo>
                  <a:pt x="40" y="32"/>
                </a:lnTo>
                <a:lnTo>
                  <a:pt x="36" y="27"/>
                </a:lnTo>
                <a:lnTo>
                  <a:pt x="34" y="20"/>
                </a:lnTo>
                <a:lnTo>
                  <a:pt x="33" y="12"/>
                </a:lnTo>
                <a:lnTo>
                  <a:pt x="33" y="10"/>
                </a:lnTo>
                <a:lnTo>
                  <a:pt x="31" y="8"/>
                </a:lnTo>
                <a:lnTo>
                  <a:pt x="29" y="6"/>
                </a:lnTo>
                <a:lnTo>
                  <a:pt x="25" y="4"/>
                </a:lnTo>
                <a:lnTo>
                  <a:pt x="19" y="1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253" name="Freeform 205"/>
          <p:cNvSpPr>
            <a:spLocks/>
          </p:cNvSpPr>
          <p:nvPr>
            <p:custDataLst>
              <p:tags r:id="rId132"/>
            </p:custDataLst>
          </p:nvPr>
        </p:nvSpPr>
        <p:spPr bwMode="auto">
          <a:xfrm>
            <a:off x="2346329" y="3823107"/>
            <a:ext cx="17463" cy="40481"/>
          </a:xfrm>
          <a:custGeom>
            <a:avLst/>
            <a:gdLst/>
            <a:ahLst/>
            <a:cxnLst>
              <a:cxn ang="0">
                <a:pos x="0" y="43"/>
              </a:cxn>
              <a:cxn ang="0">
                <a:pos x="27" y="43"/>
              </a:cxn>
              <a:cxn ang="0">
                <a:pos x="41" y="24"/>
              </a:cxn>
              <a:cxn ang="0">
                <a:pos x="38" y="12"/>
              </a:cxn>
              <a:cxn ang="0">
                <a:pos x="34" y="0"/>
              </a:cxn>
              <a:cxn ang="0">
                <a:pos x="27" y="4"/>
              </a:cxn>
              <a:cxn ang="0">
                <a:pos x="20" y="9"/>
              </a:cxn>
              <a:cxn ang="0">
                <a:pos x="15" y="14"/>
              </a:cxn>
              <a:cxn ang="0">
                <a:pos x="10" y="19"/>
              </a:cxn>
              <a:cxn ang="0">
                <a:pos x="6" y="24"/>
              </a:cxn>
              <a:cxn ang="0">
                <a:pos x="3" y="30"/>
              </a:cxn>
              <a:cxn ang="0">
                <a:pos x="1" y="37"/>
              </a:cxn>
              <a:cxn ang="0">
                <a:pos x="0" y="43"/>
              </a:cxn>
            </a:cxnLst>
            <a:rect l="0" t="0" r="r" b="b"/>
            <a:pathLst>
              <a:path w="41" h="43">
                <a:moveTo>
                  <a:pt x="0" y="43"/>
                </a:moveTo>
                <a:lnTo>
                  <a:pt x="27" y="43"/>
                </a:lnTo>
                <a:lnTo>
                  <a:pt x="41" y="24"/>
                </a:lnTo>
                <a:lnTo>
                  <a:pt x="38" y="12"/>
                </a:lnTo>
                <a:lnTo>
                  <a:pt x="34" y="0"/>
                </a:lnTo>
                <a:lnTo>
                  <a:pt x="27" y="4"/>
                </a:lnTo>
                <a:lnTo>
                  <a:pt x="20" y="9"/>
                </a:lnTo>
                <a:lnTo>
                  <a:pt x="15" y="14"/>
                </a:lnTo>
                <a:lnTo>
                  <a:pt x="10" y="19"/>
                </a:lnTo>
                <a:lnTo>
                  <a:pt x="6" y="24"/>
                </a:lnTo>
                <a:lnTo>
                  <a:pt x="3" y="30"/>
                </a:lnTo>
                <a:lnTo>
                  <a:pt x="1" y="37"/>
                </a:lnTo>
                <a:lnTo>
                  <a:pt x="0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254" name="Freeform 206"/>
          <p:cNvSpPr>
            <a:spLocks/>
          </p:cNvSpPr>
          <p:nvPr>
            <p:custDataLst>
              <p:tags r:id="rId133"/>
            </p:custDataLst>
          </p:nvPr>
        </p:nvSpPr>
        <p:spPr bwMode="auto">
          <a:xfrm>
            <a:off x="2351092" y="3839775"/>
            <a:ext cx="7937" cy="44053"/>
          </a:xfrm>
          <a:custGeom>
            <a:avLst/>
            <a:gdLst/>
            <a:ahLst/>
            <a:cxnLst>
              <a:cxn ang="0">
                <a:pos x="20" y="0"/>
              </a:cxn>
              <a:cxn ang="0">
                <a:pos x="0" y="0"/>
              </a:cxn>
              <a:cxn ang="0">
                <a:pos x="1" y="5"/>
              </a:cxn>
              <a:cxn ang="0">
                <a:pos x="2" y="9"/>
              </a:cxn>
              <a:cxn ang="0">
                <a:pos x="4" y="13"/>
              </a:cxn>
              <a:cxn ang="0">
                <a:pos x="7" y="17"/>
              </a:cxn>
              <a:cxn ang="0">
                <a:pos x="10" y="20"/>
              </a:cxn>
              <a:cxn ang="0">
                <a:pos x="14" y="22"/>
              </a:cxn>
              <a:cxn ang="0">
                <a:pos x="17" y="24"/>
              </a:cxn>
              <a:cxn ang="0">
                <a:pos x="20" y="24"/>
              </a:cxn>
              <a:cxn ang="0">
                <a:pos x="20" y="0"/>
              </a:cxn>
            </a:cxnLst>
            <a:rect l="0" t="0" r="r" b="b"/>
            <a:pathLst>
              <a:path w="20" h="24">
                <a:moveTo>
                  <a:pt x="20" y="0"/>
                </a:moveTo>
                <a:lnTo>
                  <a:pt x="0" y="0"/>
                </a:lnTo>
                <a:lnTo>
                  <a:pt x="1" y="5"/>
                </a:lnTo>
                <a:lnTo>
                  <a:pt x="2" y="9"/>
                </a:lnTo>
                <a:lnTo>
                  <a:pt x="4" y="13"/>
                </a:lnTo>
                <a:lnTo>
                  <a:pt x="7" y="17"/>
                </a:lnTo>
                <a:lnTo>
                  <a:pt x="10" y="20"/>
                </a:lnTo>
                <a:lnTo>
                  <a:pt x="14" y="22"/>
                </a:lnTo>
                <a:lnTo>
                  <a:pt x="17" y="24"/>
                </a:lnTo>
                <a:lnTo>
                  <a:pt x="20" y="24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255" name="Freeform 207"/>
          <p:cNvSpPr>
            <a:spLocks/>
          </p:cNvSpPr>
          <p:nvPr>
            <p:custDataLst>
              <p:tags r:id="rId134"/>
            </p:custDataLst>
          </p:nvPr>
        </p:nvSpPr>
        <p:spPr bwMode="auto">
          <a:xfrm>
            <a:off x="2365375" y="3886207"/>
            <a:ext cx="17463" cy="45244"/>
          </a:xfrm>
          <a:custGeom>
            <a:avLst/>
            <a:gdLst/>
            <a:ahLst/>
            <a:cxnLst>
              <a:cxn ang="0">
                <a:pos x="0" y="12"/>
              </a:cxn>
              <a:cxn ang="0">
                <a:pos x="2" y="17"/>
              </a:cxn>
              <a:cxn ang="0">
                <a:pos x="6" y="22"/>
              </a:cxn>
              <a:cxn ang="0">
                <a:pos x="12" y="27"/>
              </a:cxn>
              <a:cxn ang="0">
                <a:pos x="16" y="32"/>
              </a:cxn>
              <a:cxn ang="0">
                <a:pos x="23" y="37"/>
              </a:cxn>
              <a:cxn ang="0">
                <a:pos x="28" y="40"/>
              </a:cxn>
              <a:cxn ang="0">
                <a:pos x="34" y="43"/>
              </a:cxn>
              <a:cxn ang="0">
                <a:pos x="39" y="43"/>
              </a:cxn>
              <a:cxn ang="0">
                <a:pos x="38" y="32"/>
              </a:cxn>
              <a:cxn ang="0">
                <a:pos x="36" y="19"/>
              </a:cxn>
              <a:cxn ang="0">
                <a:pos x="34" y="8"/>
              </a:cxn>
              <a:cxn ang="0">
                <a:pos x="32" y="0"/>
              </a:cxn>
              <a:cxn ang="0">
                <a:pos x="19" y="3"/>
              </a:cxn>
              <a:cxn ang="0">
                <a:pos x="6" y="6"/>
              </a:cxn>
              <a:cxn ang="0">
                <a:pos x="0" y="12"/>
              </a:cxn>
            </a:cxnLst>
            <a:rect l="0" t="0" r="r" b="b"/>
            <a:pathLst>
              <a:path w="39" h="43">
                <a:moveTo>
                  <a:pt x="0" y="12"/>
                </a:moveTo>
                <a:lnTo>
                  <a:pt x="2" y="17"/>
                </a:lnTo>
                <a:lnTo>
                  <a:pt x="6" y="22"/>
                </a:lnTo>
                <a:lnTo>
                  <a:pt x="12" y="27"/>
                </a:lnTo>
                <a:lnTo>
                  <a:pt x="16" y="32"/>
                </a:lnTo>
                <a:lnTo>
                  <a:pt x="23" y="37"/>
                </a:lnTo>
                <a:lnTo>
                  <a:pt x="28" y="40"/>
                </a:lnTo>
                <a:lnTo>
                  <a:pt x="34" y="43"/>
                </a:lnTo>
                <a:lnTo>
                  <a:pt x="39" y="43"/>
                </a:lnTo>
                <a:lnTo>
                  <a:pt x="38" y="32"/>
                </a:lnTo>
                <a:lnTo>
                  <a:pt x="36" y="19"/>
                </a:lnTo>
                <a:lnTo>
                  <a:pt x="34" y="8"/>
                </a:lnTo>
                <a:lnTo>
                  <a:pt x="32" y="0"/>
                </a:lnTo>
                <a:lnTo>
                  <a:pt x="19" y="3"/>
                </a:lnTo>
                <a:lnTo>
                  <a:pt x="6" y="6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256" name="Freeform 208"/>
          <p:cNvSpPr>
            <a:spLocks/>
          </p:cNvSpPr>
          <p:nvPr>
            <p:custDataLst>
              <p:tags r:id="rId135"/>
            </p:custDataLst>
          </p:nvPr>
        </p:nvSpPr>
        <p:spPr bwMode="auto">
          <a:xfrm>
            <a:off x="2352675" y="3895728"/>
            <a:ext cx="26988" cy="44054"/>
          </a:xfrm>
          <a:custGeom>
            <a:avLst/>
            <a:gdLst/>
            <a:ahLst/>
            <a:cxnLst>
              <a:cxn ang="0">
                <a:pos x="29" y="26"/>
              </a:cxn>
              <a:cxn ang="0">
                <a:pos x="8" y="0"/>
              </a:cxn>
              <a:cxn ang="0">
                <a:pos x="4" y="5"/>
              </a:cxn>
              <a:cxn ang="0">
                <a:pos x="1" y="11"/>
              </a:cxn>
              <a:cxn ang="0">
                <a:pos x="0" y="16"/>
              </a:cxn>
              <a:cxn ang="0">
                <a:pos x="0" y="21"/>
              </a:cxn>
              <a:cxn ang="0">
                <a:pos x="2" y="26"/>
              </a:cxn>
              <a:cxn ang="0">
                <a:pos x="4" y="31"/>
              </a:cxn>
              <a:cxn ang="0">
                <a:pos x="8" y="36"/>
              </a:cxn>
              <a:cxn ang="0">
                <a:pos x="11" y="41"/>
              </a:cxn>
              <a:cxn ang="0">
                <a:pos x="16" y="45"/>
              </a:cxn>
              <a:cxn ang="0">
                <a:pos x="21" y="49"/>
              </a:cxn>
              <a:cxn ang="0">
                <a:pos x="26" y="53"/>
              </a:cxn>
              <a:cxn ang="0">
                <a:pos x="33" y="56"/>
              </a:cxn>
              <a:cxn ang="0">
                <a:pos x="38" y="58"/>
              </a:cxn>
              <a:cxn ang="0">
                <a:pos x="44" y="60"/>
              </a:cxn>
              <a:cxn ang="0">
                <a:pos x="49" y="61"/>
              </a:cxn>
              <a:cxn ang="0">
                <a:pos x="55" y="62"/>
              </a:cxn>
              <a:cxn ang="0">
                <a:pos x="54" y="53"/>
              </a:cxn>
              <a:cxn ang="0">
                <a:pos x="53" y="46"/>
              </a:cxn>
              <a:cxn ang="0">
                <a:pos x="49" y="40"/>
              </a:cxn>
              <a:cxn ang="0">
                <a:pos x="46" y="35"/>
              </a:cxn>
              <a:cxn ang="0">
                <a:pos x="43" y="31"/>
              </a:cxn>
              <a:cxn ang="0">
                <a:pos x="38" y="28"/>
              </a:cxn>
              <a:cxn ang="0">
                <a:pos x="33" y="26"/>
              </a:cxn>
              <a:cxn ang="0">
                <a:pos x="29" y="26"/>
              </a:cxn>
            </a:cxnLst>
            <a:rect l="0" t="0" r="r" b="b"/>
            <a:pathLst>
              <a:path w="55" h="62">
                <a:moveTo>
                  <a:pt x="29" y="26"/>
                </a:moveTo>
                <a:lnTo>
                  <a:pt x="8" y="0"/>
                </a:lnTo>
                <a:lnTo>
                  <a:pt x="4" y="5"/>
                </a:lnTo>
                <a:lnTo>
                  <a:pt x="1" y="11"/>
                </a:lnTo>
                <a:lnTo>
                  <a:pt x="0" y="16"/>
                </a:lnTo>
                <a:lnTo>
                  <a:pt x="0" y="21"/>
                </a:lnTo>
                <a:lnTo>
                  <a:pt x="2" y="26"/>
                </a:lnTo>
                <a:lnTo>
                  <a:pt x="4" y="31"/>
                </a:lnTo>
                <a:lnTo>
                  <a:pt x="8" y="36"/>
                </a:lnTo>
                <a:lnTo>
                  <a:pt x="11" y="41"/>
                </a:lnTo>
                <a:lnTo>
                  <a:pt x="16" y="45"/>
                </a:lnTo>
                <a:lnTo>
                  <a:pt x="21" y="49"/>
                </a:lnTo>
                <a:lnTo>
                  <a:pt x="26" y="53"/>
                </a:lnTo>
                <a:lnTo>
                  <a:pt x="33" y="56"/>
                </a:lnTo>
                <a:lnTo>
                  <a:pt x="38" y="58"/>
                </a:lnTo>
                <a:lnTo>
                  <a:pt x="44" y="60"/>
                </a:lnTo>
                <a:lnTo>
                  <a:pt x="49" y="61"/>
                </a:lnTo>
                <a:lnTo>
                  <a:pt x="55" y="62"/>
                </a:lnTo>
                <a:lnTo>
                  <a:pt x="54" y="53"/>
                </a:lnTo>
                <a:lnTo>
                  <a:pt x="53" y="46"/>
                </a:lnTo>
                <a:lnTo>
                  <a:pt x="49" y="40"/>
                </a:lnTo>
                <a:lnTo>
                  <a:pt x="46" y="35"/>
                </a:lnTo>
                <a:lnTo>
                  <a:pt x="43" y="31"/>
                </a:lnTo>
                <a:lnTo>
                  <a:pt x="38" y="28"/>
                </a:lnTo>
                <a:lnTo>
                  <a:pt x="33" y="26"/>
                </a:lnTo>
                <a:lnTo>
                  <a:pt x="29" y="2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257" name="Freeform 209"/>
          <p:cNvSpPr>
            <a:spLocks/>
          </p:cNvSpPr>
          <p:nvPr>
            <p:custDataLst>
              <p:tags r:id="rId136"/>
            </p:custDataLst>
          </p:nvPr>
        </p:nvSpPr>
        <p:spPr bwMode="auto">
          <a:xfrm>
            <a:off x="2382838" y="3920736"/>
            <a:ext cx="11112" cy="44053"/>
          </a:xfrm>
          <a:custGeom>
            <a:avLst/>
            <a:gdLst/>
            <a:ahLst/>
            <a:cxnLst>
              <a:cxn ang="0">
                <a:pos x="33" y="13"/>
              </a:cxn>
              <a:cxn ang="0">
                <a:pos x="7" y="0"/>
              </a:cxn>
              <a:cxn ang="0">
                <a:pos x="4" y="8"/>
              </a:cxn>
              <a:cxn ang="0">
                <a:pos x="0" y="19"/>
              </a:cxn>
              <a:cxn ang="0">
                <a:pos x="2" y="28"/>
              </a:cxn>
              <a:cxn ang="0">
                <a:pos x="5" y="36"/>
              </a:cxn>
              <a:cxn ang="0">
                <a:pos x="6" y="39"/>
              </a:cxn>
              <a:cxn ang="0">
                <a:pos x="8" y="41"/>
              </a:cxn>
              <a:cxn ang="0">
                <a:pos x="11" y="43"/>
              </a:cxn>
              <a:cxn ang="0">
                <a:pos x="14" y="43"/>
              </a:cxn>
              <a:cxn ang="0">
                <a:pos x="18" y="43"/>
              </a:cxn>
              <a:cxn ang="0">
                <a:pos x="22" y="42"/>
              </a:cxn>
              <a:cxn ang="0">
                <a:pos x="26" y="41"/>
              </a:cxn>
              <a:cxn ang="0">
                <a:pos x="28" y="39"/>
              </a:cxn>
              <a:cxn ang="0">
                <a:pos x="31" y="35"/>
              </a:cxn>
              <a:cxn ang="0">
                <a:pos x="33" y="30"/>
              </a:cxn>
              <a:cxn ang="0">
                <a:pos x="35" y="20"/>
              </a:cxn>
              <a:cxn ang="0">
                <a:pos x="33" y="13"/>
              </a:cxn>
            </a:cxnLst>
            <a:rect l="0" t="0" r="r" b="b"/>
            <a:pathLst>
              <a:path w="35" h="43">
                <a:moveTo>
                  <a:pt x="33" y="13"/>
                </a:moveTo>
                <a:lnTo>
                  <a:pt x="7" y="0"/>
                </a:lnTo>
                <a:lnTo>
                  <a:pt x="4" y="8"/>
                </a:lnTo>
                <a:lnTo>
                  <a:pt x="0" y="19"/>
                </a:lnTo>
                <a:lnTo>
                  <a:pt x="2" y="28"/>
                </a:lnTo>
                <a:lnTo>
                  <a:pt x="5" y="36"/>
                </a:lnTo>
                <a:lnTo>
                  <a:pt x="6" y="39"/>
                </a:lnTo>
                <a:lnTo>
                  <a:pt x="8" y="41"/>
                </a:lnTo>
                <a:lnTo>
                  <a:pt x="11" y="43"/>
                </a:lnTo>
                <a:lnTo>
                  <a:pt x="14" y="43"/>
                </a:lnTo>
                <a:lnTo>
                  <a:pt x="18" y="43"/>
                </a:lnTo>
                <a:lnTo>
                  <a:pt x="22" y="42"/>
                </a:lnTo>
                <a:lnTo>
                  <a:pt x="26" y="41"/>
                </a:lnTo>
                <a:lnTo>
                  <a:pt x="28" y="39"/>
                </a:lnTo>
                <a:lnTo>
                  <a:pt x="31" y="35"/>
                </a:lnTo>
                <a:lnTo>
                  <a:pt x="33" y="30"/>
                </a:lnTo>
                <a:lnTo>
                  <a:pt x="35" y="20"/>
                </a:lnTo>
                <a:lnTo>
                  <a:pt x="33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258" name="Freeform 210"/>
          <p:cNvSpPr>
            <a:spLocks/>
          </p:cNvSpPr>
          <p:nvPr>
            <p:custDataLst>
              <p:tags r:id="rId137"/>
            </p:custDataLst>
          </p:nvPr>
        </p:nvSpPr>
        <p:spPr bwMode="auto">
          <a:xfrm>
            <a:off x="2379670" y="3945738"/>
            <a:ext cx="20637" cy="41672"/>
          </a:xfrm>
          <a:custGeom>
            <a:avLst/>
            <a:gdLst/>
            <a:ahLst/>
            <a:cxnLst>
              <a:cxn ang="0">
                <a:pos x="53" y="0"/>
              </a:cxn>
              <a:cxn ang="0">
                <a:pos x="41" y="1"/>
              </a:cxn>
              <a:cxn ang="0">
                <a:pos x="32" y="2"/>
              </a:cxn>
              <a:cxn ang="0">
                <a:pos x="25" y="5"/>
              </a:cxn>
              <a:cxn ang="0">
                <a:pos x="21" y="7"/>
              </a:cxn>
              <a:cxn ang="0">
                <a:pos x="17" y="10"/>
              </a:cxn>
              <a:cxn ang="0">
                <a:pos x="13" y="13"/>
              </a:cxn>
              <a:cxn ang="0">
                <a:pos x="8" y="16"/>
              </a:cxn>
              <a:cxn ang="0">
                <a:pos x="0" y="18"/>
              </a:cxn>
              <a:cxn ang="0">
                <a:pos x="5" y="20"/>
              </a:cxn>
              <a:cxn ang="0">
                <a:pos x="11" y="21"/>
              </a:cxn>
              <a:cxn ang="0">
                <a:pos x="17" y="21"/>
              </a:cxn>
              <a:cxn ang="0">
                <a:pos x="24" y="21"/>
              </a:cxn>
              <a:cxn ang="0">
                <a:pos x="38" y="19"/>
              </a:cxn>
              <a:cxn ang="0">
                <a:pos x="53" y="18"/>
              </a:cxn>
              <a:cxn ang="0">
                <a:pos x="53" y="0"/>
              </a:cxn>
            </a:cxnLst>
            <a:rect l="0" t="0" r="r" b="b"/>
            <a:pathLst>
              <a:path w="53" h="21">
                <a:moveTo>
                  <a:pt x="53" y="0"/>
                </a:moveTo>
                <a:lnTo>
                  <a:pt x="41" y="1"/>
                </a:lnTo>
                <a:lnTo>
                  <a:pt x="32" y="2"/>
                </a:lnTo>
                <a:lnTo>
                  <a:pt x="25" y="5"/>
                </a:lnTo>
                <a:lnTo>
                  <a:pt x="21" y="7"/>
                </a:lnTo>
                <a:lnTo>
                  <a:pt x="17" y="10"/>
                </a:lnTo>
                <a:lnTo>
                  <a:pt x="13" y="13"/>
                </a:lnTo>
                <a:lnTo>
                  <a:pt x="8" y="16"/>
                </a:lnTo>
                <a:lnTo>
                  <a:pt x="0" y="18"/>
                </a:lnTo>
                <a:lnTo>
                  <a:pt x="5" y="20"/>
                </a:lnTo>
                <a:lnTo>
                  <a:pt x="11" y="21"/>
                </a:lnTo>
                <a:lnTo>
                  <a:pt x="17" y="21"/>
                </a:lnTo>
                <a:lnTo>
                  <a:pt x="24" y="21"/>
                </a:lnTo>
                <a:lnTo>
                  <a:pt x="38" y="19"/>
                </a:lnTo>
                <a:lnTo>
                  <a:pt x="53" y="18"/>
                </a:lnTo>
                <a:lnTo>
                  <a:pt x="5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259" name="Freeform 211"/>
          <p:cNvSpPr>
            <a:spLocks/>
          </p:cNvSpPr>
          <p:nvPr>
            <p:custDataLst>
              <p:tags r:id="rId138"/>
            </p:custDataLst>
          </p:nvPr>
        </p:nvSpPr>
        <p:spPr bwMode="auto">
          <a:xfrm>
            <a:off x="2403475" y="3956452"/>
            <a:ext cx="17463" cy="42863"/>
          </a:xfrm>
          <a:custGeom>
            <a:avLst/>
            <a:gdLst/>
            <a:ahLst/>
            <a:cxnLst>
              <a:cxn ang="0">
                <a:pos x="22" y="0"/>
              </a:cxn>
              <a:cxn ang="0">
                <a:pos x="12" y="0"/>
              </a:cxn>
              <a:cxn ang="0">
                <a:pos x="2" y="0"/>
              </a:cxn>
              <a:cxn ang="0">
                <a:pos x="1" y="0"/>
              </a:cxn>
              <a:cxn ang="0">
                <a:pos x="0" y="1"/>
              </a:cxn>
              <a:cxn ang="0">
                <a:pos x="0" y="3"/>
              </a:cxn>
              <a:cxn ang="0">
                <a:pos x="0" y="6"/>
              </a:cxn>
              <a:cxn ang="0">
                <a:pos x="1" y="10"/>
              </a:cxn>
              <a:cxn ang="0">
                <a:pos x="2" y="12"/>
              </a:cxn>
              <a:cxn ang="0">
                <a:pos x="3" y="18"/>
              </a:cxn>
              <a:cxn ang="0">
                <a:pos x="5" y="25"/>
              </a:cxn>
              <a:cxn ang="0">
                <a:pos x="10" y="30"/>
              </a:cxn>
              <a:cxn ang="0">
                <a:pos x="15" y="34"/>
              </a:cxn>
              <a:cxn ang="0">
                <a:pos x="21" y="37"/>
              </a:cxn>
              <a:cxn ang="0">
                <a:pos x="27" y="38"/>
              </a:cxn>
              <a:cxn ang="0">
                <a:pos x="35" y="38"/>
              </a:cxn>
              <a:cxn ang="0">
                <a:pos x="43" y="37"/>
              </a:cxn>
              <a:cxn ang="0">
                <a:pos x="40" y="29"/>
              </a:cxn>
              <a:cxn ang="0">
                <a:pos x="36" y="23"/>
              </a:cxn>
              <a:cxn ang="0">
                <a:pos x="33" y="17"/>
              </a:cxn>
              <a:cxn ang="0">
                <a:pos x="30" y="13"/>
              </a:cxn>
              <a:cxn ang="0">
                <a:pos x="27" y="10"/>
              </a:cxn>
              <a:cxn ang="0">
                <a:pos x="24" y="7"/>
              </a:cxn>
              <a:cxn ang="0">
                <a:pos x="23" y="4"/>
              </a:cxn>
              <a:cxn ang="0">
                <a:pos x="22" y="0"/>
              </a:cxn>
            </a:cxnLst>
            <a:rect l="0" t="0" r="r" b="b"/>
            <a:pathLst>
              <a:path w="43" h="38">
                <a:moveTo>
                  <a:pt x="22" y="0"/>
                </a:moveTo>
                <a:lnTo>
                  <a:pt x="12" y="0"/>
                </a:lnTo>
                <a:lnTo>
                  <a:pt x="2" y="0"/>
                </a:lnTo>
                <a:lnTo>
                  <a:pt x="1" y="0"/>
                </a:lnTo>
                <a:lnTo>
                  <a:pt x="0" y="1"/>
                </a:lnTo>
                <a:lnTo>
                  <a:pt x="0" y="3"/>
                </a:lnTo>
                <a:lnTo>
                  <a:pt x="0" y="6"/>
                </a:lnTo>
                <a:lnTo>
                  <a:pt x="1" y="10"/>
                </a:lnTo>
                <a:lnTo>
                  <a:pt x="2" y="12"/>
                </a:lnTo>
                <a:lnTo>
                  <a:pt x="3" y="18"/>
                </a:lnTo>
                <a:lnTo>
                  <a:pt x="5" y="25"/>
                </a:lnTo>
                <a:lnTo>
                  <a:pt x="10" y="30"/>
                </a:lnTo>
                <a:lnTo>
                  <a:pt x="15" y="34"/>
                </a:lnTo>
                <a:lnTo>
                  <a:pt x="21" y="37"/>
                </a:lnTo>
                <a:lnTo>
                  <a:pt x="27" y="38"/>
                </a:lnTo>
                <a:lnTo>
                  <a:pt x="35" y="38"/>
                </a:lnTo>
                <a:lnTo>
                  <a:pt x="43" y="37"/>
                </a:lnTo>
                <a:lnTo>
                  <a:pt x="40" y="29"/>
                </a:lnTo>
                <a:lnTo>
                  <a:pt x="36" y="23"/>
                </a:lnTo>
                <a:lnTo>
                  <a:pt x="33" y="17"/>
                </a:lnTo>
                <a:lnTo>
                  <a:pt x="30" y="13"/>
                </a:lnTo>
                <a:lnTo>
                  <a:pt x="27" y="10"/>
                </a:lnTo>
                <a:lnTo>
                  <a:pt x="24" y="7"/>
                </a:lnTo>
                <a:lnTo>
                  <a:pt x="23" y="4"/>
                </a:lnTo>
                <a:lnTo>
                  <a:pt x="22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260" name="Freeform 212"/>
          <p:cNvSpPr>
            <a:spLocks/>
          </p:cNvSpPr>
          <p:nvPr>
            <p:custDataLst>
              <p:tags r:id="rId139"/>
            </p:custDataLst>
          </p:nvPr>
        </p:nvSpPr>
        <p:spPr bwMode="auto">
          <a:xfrm>
            <a:off x="2405063" y="3977883"/>
            <a:ext cx="6350" cy="4286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" y="2"/>
              </a:cxn>
              <a:cxn ang="0">
                <a:pos x="2" y="3"/>
              </a:cxn>
              <a:cxn ang="0">
                <a:pos x="4" y="4"/>
              </a:cxn>
              <a:cxn ang="0">
                <a:pos x="7" y="5"/>
              </a:cxn>
              <a:cxn ang="0">
                <a:pos x="11" y="4"/>
              </a:cxn>
              <a:cxn ang="0">
                <a:pos x="14" y="3"/>
              </a:cxn>
              <a:cxn ang="0">
                <a:pos x="17" y="2"/>
              </a:cxn>
              <a:cxn ang="0">
                <a:pos x="20" y="0"/>
              </a:cxn>
              <a:cxn ang="0">
                <a:pos x="0" y="0"/>
              </a:cxn>
            </a:cxnLst>
            <a:rect l="0" t="0" r="r" b="b"/>
            <a:pathLst>
              <a:path w="20" h="5">
                <a:moveTo>
                  <a:pt x="0" y="0"/>
                </a:moveTo>
                <a:lnTo>
                  <a:pt x="1" y="2"/>
                </a:lnTo>
                <a:lnTo>
                  <a:pt x="2" y="3"/>
                </a:lnTo>
                <a:lnTo>
                  <a:pt x="4" y="4"/>
                </a:lnTo>
                <a:lnTo>
                  <a:pt x="7" y="5"/>
                </a:lnTo>
                <a:lnTo>
                  <a:pt x="11" y="4"/>
                </a:lnTo>
                <a:lnTo>
                  <a:pt x="14" y="3"/>
                </a:lnTo>
                <a:lnTo>
                  <a:pt x="17" y="2"/>
                </a:lnTo>
                <a:lnTo>
                  <a:pt x="2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261" name="Freeform 213"/>
          <p:cNvSpPr>
            <a:spLocks/>
          </p:cNvSpPr>
          <p:nvPr>
            <p:custDataLst>
              <p:tags r:id="rId140"/>
            </p:custDataLst>
          </p:nvPr>
        </p:nvSpPr>
        <p:spPr bwMode="auto">
          <a:xfrm>
            <a:off x="2479682" y="4030270"/>
            <a:ext cx="34925" cy="42863"/>
          </a:xfrm>
          <a:custGeom>
            <a:avLst/>
            <a:gdLst/>
            <a:ahLst/>
            <a:cxnLst>
              <a:cxn ang="0">
                <a:pos x="40" y="0"/>
              </a:cxn>
              <a:cxn ang="0">
                <a:pos x="32" y="1"/>
              </a:cxn>
              <a:cxn ang="0">
                <a:pos x="26" y="2"/>
              </a:cxn>
              <a:cxn ang="0">
                <a:pos x="20" y="5"/>
              </a:cxn>
              <a:cxn ang="0">
                <a:pos x="15" y="8"/>
              </a:cxn>
              <a:cxn ang="0">
                <a:pos x="6" y="14"/>
              </a:cxn>
              <a:cxn ang="0">
                <a:pos x="0" y="19"/>
              </a:cxn>
              <a:cxn ang="0">
                <a:pos x="20" y="20"/>
              </a:cxn>
              <a:cxn ang="0">
                <a:pos x="39" y="22"/>
              </a:cxn>
              <a:cxn ang="0">
                <a:pos x="49" y="22"/>
              </a:cxn>
              <a:cxn ang="0">
                <a:pos x="57" y="22"/>
              </a:cxn>
              <a:cxn ang="0">
                <a:pos x="65" y="21"/>
              </a:cxn>
              <a:cxn ang="0">
                <a:pos x="73" y="19"/>
              </a:cxn>
              <a:cxn ang="0">
                <a:pos x="64" y="14"/>
              </a:cxn>
              <a:cxn ang="0">
                <a:pos x="56" y="8"/>
              </a:cxn>
              <a:cxn ang="0">
                <a:pos x="53" y="5"/>
              </a:cxn>
              <a:cxn ang="0">
                <a:pos x="49" y="2"/>
              </a:cxn>
              <a:cxn ang="0">
                <a:pos x="44" y="1"/>
              </a:cxn>
              <a:cxn ang="0">
                <a:pos x="40" y="0"/>
              </a:cxn>
            </a:cxnLst>
            <a:rect l="0" t="0" r="r" b="b"/>
            <a:pathLst>
              <a:path w="73" h="22">
                <a:moveTo>
                  <a:pt x="40" y="0"/>
                </a:moveTo>
                <a:lnTo>
                  <a:pt x="32" y="1"/>
                </a:lnTo>
                <a:lnTo>
                  <a:pt x="26" y="2"/>
                </a:lnTo>
                <a:lnTo>
                  <a:pt x="20" y="5"/>
                </a:lnTo>
                <a:lnTo>
                  <a:pt x="15" y="8"/>
                </a:lnTo>
                <a:lnTo>
                  <a:pt x="6" y="14"/>
                </a:lnTo>
                <a:lnTo>
                  <a:pt x="0" y="19"/>
                </a:lnTo>
                <a:lnTo>
                  <a:pt x="20" y="20"/>
                </a:lnTo>
                <a:lnTo>
                  <a:pt x="39" y="22"/>
                </a:lnTo>
                <a:lnTo>
                  <a:pt x="49" y="22"/>
                </a:lnTo>
                <a:lnTo>
                  <a:pt x="57" y="22"/>
                </a:lnTo>
                <a:lnTo>
                  <a:pt x="65" y="21"/>
                </a:lnTo>
                <a:lnTo>
                  <a:pt x="73" y="19"/>
                </a:lnTo>
                <a:lnTo>
                  <a:pt x="64" y="14"/>
                </a:lnTo>
                <a:lnTo>
                  <a:pt x="56" y="8"/>
                </a:lnTo>
                <a:lnTo>
                  <a:pt x="53" y="5"/>
                </a:lnTo>
                <a:lnTo>
                  <a:pt x="49" y="2"/>
                </a:lnTo>
                <a:lnTo>
                  <a:pt x="44" y="1"/>
                </a:lnTo>
                <a:lnTo>
                  <a:pt x="4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262" name="Freeform 214"/>
          <p:cNvSpPr>
            <a:spLocks/>
          </p:cNvSpPr>
          <p:nvPr>
            <p:custDataLst>
              <p:tags r:id="rId141"/>
            </p:custDataLst>
          </p:nvPr>
        </p:nvSpPr>
        <p:spPr bwMode="auto">
          <a:xfrm>
            <a:off x="2517776" y="3986219"/>
            <a:ext cx="123825" cy="75010"/>
          </a:xfrm>
          <a:custGeom>
            <a:avLst/>
            <a:gdLst/>
            <a:ahLst/>
            <a:cxnLst>
              <a:cxn ang="0">
                <a:pos x="235" y="168"/>
              </a:cxn>
              <a:cxn ang="0">
                <a:pos x="188" y="171"/>
              </a:cxn>
              <a:cxn ang="0">
                <a:pos x="168" y="168"/>
              </a:cxn>
              <a:cxn ang="0">
                <a:pos x="155" y="164"/>
              </a:cxn>
              <a:cxn ang="0">
                <a:pos x="130" y="135"/>
              </a:cxn>
              <a:cxn ang="0">
                <a:pos x="104" y="94"/>
              </a:cxn>
              <a:cxn ang="0">
                <a:pos x="94" y="74"/>
              </a:cxn>
              <a:cxn ang="0">
                <a:pos x="87" y="51"/>
              </a:cxn>
              <a:cxn ang="0">
                <a:pos x="83" y="27"/>
              </a:cxn>
              <a:cxn ang="0">
                <a:pos x="43" y="0"/>
              </a:cxn>
              <a:cxn ang="0">
                <a:pos x="28" y="52"/>
              </a:cxn>
              <a:cxn ang="0">
                <a:pos x="18" y="61"/>
              </a:cxn>
              <a:cxn ang="0">
                <a:pos x="6" y="69"/>
              </a:cxn>
              <a:cxn ang="0">
                <a:pos x="0" y="73"/>
              </a:cxn>
              <a:cxn ang="0">
                <a:pos x="1" y="75"/>
              </a:cxn>
              <a:cxn ang="0">
                <a:pos x="9" y="81"/>
              </a:cxn>
              <a:cxn ang="0">
                <a:pos x="37" y="111"/>
              </a:cxn>
              <a:cxn ang="0">
                <a:pos x="45" y="122"/>
              </a:cxn>
              <a:cxn ang="0">
                <a:pos x="53" y="129"/>
              </a:cxn>
              <a:cxn ang="0">
                <a:pos x="62" y="134"/>
              </a:cxn>
              <a:cxn ang="0">
                <a:pos x="71" y="136"/>
              </a:cxn>
              <a:cxn ang="0">
                <a:pos x="76" y="141"/>
              </a:cxn>
              <a:cxn ang="0">
                <a:pos x="79" y="148"/>
              </a:cxn>
              <a:cxn ang="0">
                <a:pos x="86" y="153"/>
              </a:cxn>
              <a:cxn ang="0">
                <a:pos x="99" y="154"/>
              </a:cxn>
              <a:cxn ang="0">
                <a:pos x="106" y="157"/>
              </a:cxn>
              <a:cxn ang="0">
                <a:pos x="109" y="163"/>
              </a:cxn>
              <a:cxn ang="0">
                <a:pos x="109" y="179"/>
              </a:cxn>
              <a:cxn ang="0">
                <a:pos x="111" y="189"/>
              </a:cxn>
              <a:cxn ang="0">
                <a:pos x="115" y="193"/>
              </a:cxn>
              <a:cxn ang="0">
                <a:pos x="129" y="193"/>
              </a:cxn>
              <a:cxn ang="0">
                <a:pos x="164" y="191"/>
              </a:cxn>
              <a:cxn ang="0">
                <a:pos x="180" y="189"/>
              </a:cxn>
              <a:cxn ang="0">
                <a:pos x="192" y="186"/>
              </a:cxn>
              <a:cxn ang="0">
                <a:pos x="212" y="188"/>
              </a:cxn>
              <a:cxn ang="0">
                <a:pos x="281" y="167"/>
              </a:cxn>
            </a:cxnLst>
            <a:rect l="0" t="0" r="r" b="b"/>
            <a:pathLst>
              <a:path w="281" h="193">
                <a:moveTo>
                  <a:pt x="275" y="167"/>
                </a:moveTo>
                <a:lnTo>
                  <a:pt x="235" y="168"/>
                </a:lnTo>
                <a:lnTo>
                  <a:pt x="202" y="171"/>
                </a:lnTo>
                <a:lnTo>
                  <a:pt x="188" y="171"/>
                </a:lnTo>
                <a:lnTo>
                  <a:pt x="175" y="169"/>
                </a:lnTo>
                <a:lnTo>
                  <a:pt x="168" y="168"/>
                </a:lnTo>
                <a:lnTo>
                  <a:pt x="162" y="166"/>
                </a:lnTo>
                <a:lnTo>
                  <a:pt x="155" y="164"/>
                </a:lnTo>
                <a:lnTo>
                  <a:pt x="149" y="161"/>
                </a:lnTo>
                <a:lnTo>
                  <a:pt x="130" y="135"/>
                </a:lnTo>
                <a:lnTo>
                  <a:pt x="108" y="103"/>
                </a:lnTo>
                <a:lnTo>
                  <a:pt x="104" y="94"/>
                </a:lnTo>
                <a:lnTo>
                  <a:pt x="98" y="84"/>
                </a:lnTo>
                <a:lnTo>
                  <a:pt x="94" y="74"/>
                </a:lnTo>
                <a:lnTo>
                  <a:pt x="90" y="63"/>
                </a:lnTo>
                <a:lnTo>
                  <a:pt x="87" y="51"/>
                </a:lnTo>
                <a:lnTo>
                  <a:pt x="85" y="39"/>
                </a:lnTo>
                <a:lnTo>
                  <a:pt x="83" y="27"/>
                </a:lnTo>
                <a:lnTo>
                  <a:pt x="83" y="13"/>
                </a:lnTo>
                <a:lnTo>
                  <a:pt x="43" y="0"/>
                </a:lnTo>
                <a:lnTo>
                  <a:pt x="30" y="50"/>
                </a:lnTo>
                <a:lnTo>
                  <a:pt x="28" y="52"/>
                </a:lnTo>
                <a:lnTo>
                  <a:pt x="23" y="56"/>
                </a:lnTo>
                <a:lnTo>
                  <a:pt x="18" y="61"/>
                </a:lnTo>
                <a:lnTo>
                  <a:pt x="11" y="65"/>
                </a:lnTo>
                <a:lnTo>
                  <a:pt x="6" y="69"/>
                </a:lnTo>
                <a:lnTo>
                  <a:pt x="1" y="72"/>
                </a:lnTo>
                <a:lnTo>
                  <a:pt x="0" y="73"/>
                </a:lnTo>
                <a:lnTo>
                  <a:pt x="0" y="74"/>
                </a:lnTo>
                <a:lnTo>
                  <a:pt x="1" y="75"/>
                </a:lnTo>
                <a:lnTo>
                  <a:pt x="3" y="75"/>
                </a:lnTo>
                <a:lnTo>
                  <a:pt x="9" y="81"/>
                </a:lnTo>
                <a:lnTo>
                  <a:pt x="23" y="96"/>
                </a:lnTo>
                <a:lnTo>
                  <a:pt x="37" y="111"/>
                </a:lnTo>
                <a:lnTo>
                  <a:pt x="43" y="118"/>
                </a:lnTo>
                <a:lnTo>
                  <a:pt x="45" y="122"/>
                </a:lnTo>
                <a:lnTo>
                  <a:pt x="49" y="126"/>
                </a:lnTo>
                <a:lnTo>
                  <a:pt x="53" y="129"/>
                </a:lnTo>
                <a:lnTo>
                  <a:pt x="57" y="132"/>
                </a:lnTo>
                <a:lnTo>
                  <a:pt x="62" y="134"/>
                </a:lnTo>
                <a:lnTo>
                  <a:pt x="66" y="135"/>
                </a:lnTo>
                <a:lnTo>
                  <a:pt x="71" y="136"/>
                </a:lnTo>
                <a:lnTo>
                  <a:pt x="76" y="136"/>
                </a:lnTo>
                <a:lnTo>
                  <a:pt x="76" y="141"/>
                </a:lnTo>
                <a:lnTo>
                  <a:pt x="77" y="145"/>
                </a:lnTo>
                <a:lnTo>
                  <a:pt x="79" y="148"/>
                </a:lnTo>
                <a:lnTo>
                  <a:pt x="82" y="150"/>
                </a:lnTo>
                <a:lnTo>
                  <a:pt x="86" y="153"/>
                </a:lnTo>
                <a:lnTo>
                  <a:pt x="93" y="154"/>
                </a:lnTo>
                <a:lnTo>
                  <a:pt x="99" y="154"/>
                </a:lnTo>
                <a:lnTo>
                  <a:pt x="104" y="156"/>
                </a:lnTo>
                <a:lnTo>
                  <a:pt x="106" y="157"/>
                </a:lnTo>
                <a:lnTo>
                  <a:pt x="108" y="160"/>
                </a:lnTo>
                <a:lnTo>
                  <a:pt x="109" y="163"/>
                </a:lnTo>
                <a:lnTo>
                  <a:pt x="109" y="167"/>
                </a:lnTo>
                <a:lnTo>
                  <a:pt x="109" y="179"/>
                </a:lnTo>
                <a:lnTo>
                  <a:pt x="111" y="187"/>
                </a:lnTo>
                <a:lnTo>
                  <a:pt x="111" y="189"/>
                </a:lnTo>
                <a:lnTo>
                  <a:pt x="113" y="191"/>
                </a:lnTo>
                <a:lnTo>
                  <a:pt x="115" y="193"/>
                </a:lnTo>
                <a:lnTo>
                  <a:pt x="117" y="193"/>
                </a:lnTo>
                <a:lnTo>
                  <a:pt x="129" y="193"/>
                </a:lnTo>
                <a:lnTo>
                  <a:pt x="149" y="192"/>
                </a:lnTo>
                <a:lnTo>
                  <a:pt x="164" y="191"/>
                </a:lnTo>
                <a:lnTo>
                  <a:pt x="174" y="190"/>
                </a:lnTo>
                <a:lnTo>
                  <a:pt x="180" y="189"/>
                </a:lnTo>
                <a:lnTo>
                  <a:pt x="186" y="187"/>
                </a:lnTo>
                <a:lnTo>
                  <a:pt x="192" y="186"/>
                </a:lnTo>
                <a:lnTo>
                  <a:pt x="200" y="187"/>
                </a:lnTo>
                <a:lnTo>
                  <a:pt x="212" y="188"/>
                </a:lnTo>
                <a:lnTo>
                  <a:pt x="229" y="192"/>
                </a:lnTo>
                <a:lnTo>
                  <a:pt x="281" y="167"/>
                </a:lnTo>
                <a:lnTo>
                  <a:pt x="275" y="16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263" name="Freeform 215"/>
          <p:cNvSpPr>
            <a:spLocks/>
          </p:cNvSpPr>
          <p:nvPr>
            <p:custDataLst>
              <p:tags r:id="rId142"/>
            </p:custDataLst>
          </p:nvPr>
        </p:nvSpPr>
        <p:spPr bwMode="auto">
          <a:xfrm>
            <a:off x="2070100" y="2311013"/>
            <a:ext cx="52388" cy="44053"/>
          </a:xfrm>
          <a:custGeom>
            <a:avLst/>
            <a:gdLst/>
            <a:ahLst/>
            <a:cxnLst>
              <a:cxn ang="0">
                <a:pos x="0" y="18"/>
              </a:cxn>
              <a:cxn ang="0">
                <a:pos x="4" y="26"/>
              </a:cxn>
              <a:cxn ang="0">
                <a:pos x="10" y="33"/>
              </a:cxn>
              <a:cxn ang="0">
                <a:pos x="15" y="37"/>
              </a:cxn>
              <a:cxn ang="0">
                <a:pos x="21" y="41"/>
              </a:cxn>
              <a:cxn ang="0">
                <a:pos x="27" y="44"/>
              </a:cxn>
              <a:cxn ang="0">
                <a:pos x="35" y="46"/>
              </a:cxn>
              <a:cxn ang="0">
                <a:pos x="43" y="48"/>
              </a:cxn>
              <a:cxn ang="0">
                <a:pos x="51" y="49"/>
              </a:cxn>
              <a:cxn ang="0">
                <a:pos x="67" y="50"/>
              </a:cxn>
              <a:cxn ang="0">
                <a:pos x="85" y="51"/>
              </a:cxn>
              <a:cxn ang="0">
                <a:pos x="102" y="52"/>
              </a:cxn>
              <a:cxn ang="0">
                <a:pos x="120" y="56"/>
              </a:cxn>
              <a:cxn ang="0">
                <a:pos x="120" y="37"/>
              </a:cxn>
              <a:cxn ang="0">
                <a:pos x="111" y="34"/>
              </a:cxn>
              <a:cxn ang="0">
                <a:pos x="102" y="30"/>
              </a:cxn>
              <a:cxn ang="0">
                <a:pos x="94" y="24"/>
              </a:cxn>
              <a:cxn ang="0">
                <a:pos x="88" y="18"/>
              </a:cxn>
              <a:cxn ang="0">
                <a:pos x="81" y="13"/>
              </a:cxn>
              <a:cxn ang="0">
                <a:pos x="75" y="7"/>
              </a:cxn>
              <a:cxn ang="0">
                <a:pos x="67" y="3"/>
              </a:cxn>
              <a:cxn ang="0">
                <a:pos x="60" y="0"/>
              </a:cxn>
              <a:cxn ang="0">
                <a:pos x="55" y="1"/>
              </a:cxn>
              <a:cxn ang="0">
                <a:pos x="48" y="3"/>
              </a:cxn>
              <a:cxn ang="0">
                <a:pos x="41" y="6"/>
              </a:cxn>
              <a:cxn ang="0">
                <a:pos x="33" y="9"/>
              </a:cxn>
              <a:cxn ang="0">
                <a:pos x="24" y="13"/>
              </a:cxn>
              <a:cxn ang="0">
                <a:pos x="16" y="15"/>
              </a:cxn>
              <a:cxn ang="0">
                <a:pos x="8" y="18"/>
              </a:cxn>
              <a:cxn ang="0">
                <a:pos x="0" y="18"/>
              </a:cxn>
            </a:cxnLst>
            <a:rect l="0" t="0" r="r" b="b"/>
            <a:pathLst>
              <a:path w="120" h="56">
                <a:moveTo>
                  <a:pt x="0" y="18"/>
                </a:moveTo>
                <a:lnTo>
                  <a:pt x="4" y="26"/>
                </a:lnTo>
                <a:lnTo>
                  <a:pt x="10" y="33"/>
                </a:lnTo>
                <a:lnTo>
                  <a:pt x="15" y="37"/>
                </a:lnTo>
                <a:lnTo>
                  <a:pt x="21" y="41"/>
                </a:lnTo>
                <a:lnTo>
                  <a:pt x="27" y="44"/>
                </a:lnTo>
                <a:lnTo>
                  <a:pt x="35" y="46"/>
                </a:lnTo>
                <a:lnTo>
                  <a:pt x="43" y="48"/>
                </a:lnTo>
                <a:lnTo>
                  <a:pt x="51" y="49"/>
                </a:lnTo>
                <a:lnTo>
                  <a:pt x="67" y="50"/>
                </a:lnTo>
                <a:lnTo>
                  <a:pt x="85" y="51"/>
                </a:lnTo>
                <a:lnTo>
                  <a:pt x="102" y="52"/>
                </a:lnTo>
                <a:lnTo>
                  <a:pt x="120" y="56"/>
                </a:lnTo>
                <a:lnTo>
                  <a:pt x="120" y="37"/>
                </a:lnTo>
                <a:lnTo>
                  <a:pt x="111" y="34"/>
                </a:lnTo>
                <a:lnTo>
                  <a:pt x="102" y="30"/>
                </a:lnTo>
                <a:lnTo>
                  <a:pt x="94" y="24"/>
                </a:lnTo>
                <a:lnTo>
                  <a:pt x="88" y="18"/>
                </a:lnTo>
                <a:lnTo>
                  <a:pt x="81" y="13"/>
                </a:lnTo>
                <a:lnTo>
                  <a:pt x="75" y="7"/>
                </a:lnTo>
                <a:lnTo>
                  <a:pt x="67" y="3"/>
                </a:lnTo>
                <a:lnTo>
                  <a:pt x="60" y="0"/>
                </a:lnTo>
                <a:lnTo>
                  <a:pt x="55" y="1"/>
                </a:lnTo>
                <a:lnTo>
                  <a:pt x="48" y="3"/>
                </a:lnTo>
                <a:lnTo>
                  <a:pt x="41" y="6"/>
                </a:lnTo>
                <a:lnTo>
                  <a:pt x="33" y="9"/>
                </a:lnTo>
                <a:lnTo>
                  <a:pt x="24" y="13"/>
                </a:lnTo>
                <a:lnTo>
                  <a:pt x="16" y="15"/>
                </a:lnTo>
                <a:lnTo>
                  <a:pt x="8" y="18"/>
                </a:lnTo>
                <a:lnTo>
                  <a:pt x="0" y="1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264" name="Freeform 216"/>
          <p:cNvSpPr>
            <a:spLocks/>
          </p:cNvSpPr>
          <p:nvPr>
            <p:custDataLst>
              <p:tags r:id="rId143"/>
            </p:custDataLst>
          </p:nvPr>
        </p:nvSpPr>
        <p:spPr bwMode="auto">
          <a:xfrm>
            <a:off x="1927232" y="2207421"/>
            <a:ext cx="250825" cy="82154"/>
          </a:xfrm>
          <a:custGeom>
            <a:avLst/>
            <a:gdLst/>
            <a:ahLst/>
            <a:cxnLst>
              <a:cxn ang="0">
                <a:pos x="127" y="1"/>
              </a:cxn>
              <a:cxn ang="0">
                <a:pos x="95" y="6"/>
              </a:cxn>
              <a:cxn ang="0">
                <a:pos x="66" y="16"/>
              </a:cxn>
              <a:cxn ang="0">
                <a:pos x="43" y="26"/>
              </a:cxn>
              <a:cxn ang="0">
                <a:pos x="30" y="35"/>
              </a:cxn>
              <a:cxn ang="0">
                <a:pos x="16" y="51"/>
              </a:cxn>
              <a:cxn ang="0">
                <a:pos x="4" y="71"/>
              </a:cxn>
              <a:cxn ang="0">
                <a:pos x="0" y="82"/>
              </a:cxn>
              <a:cxn ang="0">
                <a:pos x="1" y="86"/>
              </a:cxn>
              <a:cxn ang="0">
                <a:pos x="13" y="86"/>
              </a:cxn>
              <a:cxn ang="0">
                <a:pos x="29" y="83"/>
              </a:cxn>
              <a:cxn ang="0">
                <a:pos x="52" y="75"/>
              </a:cxn>
              <a:cxn ang="0">
                <a:pos x="80" y="58"/>
              </a:cxn>
              <a:cxn ang="0">
                <a:pos x="102" y="46"/>
              </a:cxn>
              <a:cxn ang="0">
                <a:pos x="119" y="40"/>
              </a:cxn>
              <a:cxn ang="0">
                <a:pos x="175" y="37"/>
              </a:cxn>
              <a:cxn ang="0">
                <a:pos x="176" y="48"/>
              </a:cxn>
              <a:cxn ang="0">
                <a:pos x="180" y="55"/>
              </a:cxn>
              <a:cxn ang="0">
                <a:pos x="184" y="59"/>
              </a:cxn>
              <a:cxn ang="0">
                <a:pos x="190" y="61"/>
              </a:cxn>
              <a:cxn ang="0">
                <a:pos x="229" y="61"/>
              </a:cxn>
              <a:cxn ang="0">
                <a:pos x="269" y="78"/>
              </a:cxn>
              <a:cxn ang="0">
                <a:pos x="302" y="95"/>
              </a:cxn>
              <a:cxn ang="0">
                <a:pos x="336" y="111"/>
              </a:cxn>
              <a:cxn ang="0">
                <a:pos x="375" y="123"/>
              </a:cxn>
              <a:cxn ang="0">
                <a:pos x="376" y="134"/>
              </a:cxn>
              <a:cxn ang="0">
                <a:pos x="382" y="142"/>
              </a:cxn>
              <a:cxn ang="0">
                <a:pos x="396" y="152"/>
              </a:cxn>
              <a:cxn ang="0">
                <a:pos x="428" y="166"/>
              </a:cxn>
              <a:cxn ang="0">
                <a:pos x="402" y="191"/>
              </a:cxn>
              <a:cxn ang="0">
                <a:pos x="407" y="197"/>
              </a:cxn>
              <a:cxn ang="0">
                <a:pos x="414" y="201"/>
              </a:cxn>
              <a:cxn ang="0">
                <a:pos x="429" y="204"/>
              </a:cxn>
              <a:cxn ang="0">
                <a:pos x="461" y="204"/>
              </a:cxn>
              <a:cxn ang="0">
                <a:pos x="555" y="189"/>
              </a:cxn>
              <a:cxn ang="0">
                <a:pos x="559" y="183"/>
              </a:cxn>
              <a:cxn ang="0">
                <a:pos x="565" y="177"/>
              </a:cxn>
              <a:cxn ang="0">
                <a:pos x="572" y="173"/>
              </a:cxn>
              <a:cxn ang="0">
                <a:pos x="574" y="161"/>
              </a:cxn>
              <a:cxn ang="0">
                <a:pos x="561" y="153"/>
              </a:cxn>
              <a:cxn ang="0">
                <a:pos x="532" y="148"/>
              </a:cxn>
              <a:cxn ang="0">
                <a:pos x="504" y="138"/>
              </a:cxn>
              <a:cxn ang="0">
                <a:pos x="475" y="124"/>
              </a:cxn>
              <a:cxn ang="0">
                <a:pos x="433" y="100"/>
              </a:cxn>
              <a:cxn ang="0">
                <a:pos x="383" y="68"/>
              </a:cxn>
              <a:cxn ang="0">
                <a:pos x="358" y="54"/>
              </a:cxn>
              <a:cxn ang="0">
                <a:pos x="348" y="52"/>
              </a:cxn>
              <a:cxn ang="0">
                <a:pos x="330" y="52"/>
              </a:cxn>
              <a:cxn ang="0">
                <a:pos x="312" y="51"/>
              </a:cxn>
              <a:cxn ang="0">
                <a:pos x="302" y="49"/>
              </a:cxn>
              <a:cxn ang="0">
                <a:pos x="294" y="43"/>
              </a:cxn>
              <a:cxn ang="0">
                <a:pos x="290" y="32"/>
              </a:cxn>
              <a:cxn ang="0">
                <a:pos x="142" y="0"/>
              </a:cxn>
            </a:cxnLst>
            <a:rect l="0" t="0" r="r" b="b"/>
            <a:pathLst>
              <a:path w="574" h="204">
                <a:moveTo>
                  <a:pt x="142" y="0"/>
                </a:moveTo>
                <a:lnTo>
                  <a:pt x="127" y="1"/>
                </a:lnTo>
                <a:lnTo>
                  <a:pt x="111" y="3"/>
                </a:lnTo>
                <a:lnTo>
                  <a:pt x="95" y="6"/>
                </a:lnTo>
                <a:lnTo>
                  <a:pt x="80" y="11"/>
                </a:lnTo>
                <a:lnTo>
                  <a:pt x="66" y="16"/>
                </a:lnTo>
                <a:lnTo>
                  <a:pt x="52" y="21"/>
                </a:lnTo>
                <a:lnTo>
                  <a:pt x="43" y="26"/>
                </a:lnTo>
                <a:lnTo>
                  <a:pt x="36" y="31"/>
                </a:lnTo>
                <a:lnTo>
                  <a:pt x="30" y="35"/>
                </a:lnTo>
                <a:lnTo>
                  <a:pt x="24" y="42"/>
                </a:lnTo>
                <a:lnTo>
                  <a:pt x="16" y="51"/>
                </a:lnTo>
                <a:lnTo>
                  <a:pt x="10" y="61"/>
                </a:lnTo>
                <a:lnTo>
                  <a:pt x="4" y="71"/>
                </a:lnTo>
                <a:lnTo>
                  <a:pt x="1" y="79"/>
                </a:lnTo>
                <a:lnTo>
                  <a:pt x="0" y="82"/>
                </a:lnTo>
                <a:lnTo>
                  <a:pt x="0" y="85"/>
                </a:lnTo>
                <a:lnTo>
                  <a:pt x="1" y="86"/>
                </a:lnTo>
                <a:lnTo>
                  <a:pt x="3" y="87"/>
                </a:lnTo>
                <a:lnTo>
                  <a:pt x="13" y="86"/>
                </a:lnTo>
                <a:lnTo>
                  <a:pt x="22" y="85"/>
                </a:lnTo>
                <a:lnTo>
                  <a:pt x="29" y="83"/>
                </a:lnTo>
                <a:lnTo>
                  <a:pt x="38" y="81"/>
                </a:lnTo>
                <a:lnTo>
                  <a:pt x="52" y="75"/>
                </a:lnTo>
                <a:lnTo>
                  <a:pt x="66" y="66"/>
                </a:lnTo>
                <a:lnTo>
                  <a:pt x="80" y="58"/>
                </a:lnTo>
                <a:lnTo>
                  <a:pt x="94" y="50"/>
                </a:lnTo>
                <a:lnTo>
                  <a:pt x="102" y="46"/>
                </a:lnTo>
                <a:lnTo>
                  <a:pt x="111" y="43"/>
                </a:lnTo>
                <a:lnTo>
                  <a:pt x="119" y="40"/>
                </a:lnTo>
                <a:lnTo>
                  <a:pt x="129" y="37"/>
                </a:lnTo>
                <a:lnTo>
                  <a:pt x="175" y="37"/>
                </a:lnTo>
                <a:lnTo>
                  <a:pt x="175" y="43"/>
                </a:lnTo>
                <a:lnTo>
                  <a:pt x="176" y="48"/>
                </a:lnTo>
                <a:lnTo>
                  <a:pt x="178" y="52"/>
                </a:lnTo>
                <a:lnTo>
                  <a:pt x="180" y="55"/>
                </a:lnTo>
                <a:lnTo>
                  <a:pt x="181" y="58"/>
                </a:lnTo>
                <a:lnTo>
                  <a:pt x="184" y="59"/>
                </a:lnTo>
                <a:lnTo>
                  <a:pt x="186" y="60"/>
                </a:lnTo>
                <a:lnTo>
                  <a:pt x="190" y="61"/>
                </a:lnTo>
                <a:lnTo>
                  <a:pt x="206" y="60"/>
                </a:lnTo>
                <a:lnTo>
                  <a:pt x="229" y="61"/>
                </a:lnTo>
                <a:lnTo>
                  <a:pt x="250" y="69"/>
                </a:lnTo>
                <a:lnTo>
                  <a:pt x="269" y="78"/>
                </a:lnTo>
                <a:lnTo>
                  <a:pt x="285" y="86"/>
                </a:lnTo>
                <a:lnTo>
                  <a:pt x="302" y="95"/>
                </a:lnTo>
                <a:lnTo>
                  <a:pt x="318" y="103"/>
                </a:lnTo>
                <a:lnTo>
                  <a:pt x="336" y="111"/>
                </a:lnTo>
                <a:lnTo>
                  <a:pt x="354" y="118"/>
                </a:lnTo>
                <a:lnTo>
                  <a:pt x="375" y="123"/>
                </a:lnTo>
                <a:lnTo>
                  <a:pt x="375" y="129"/>
                </a:lnTo>
                <a:lnTo>
                  <a:pt x="376" y="134"/>
                </a:lnTo>
                <a:lnTo>
                  <a:pt x="379" y="138"/>
                </a:lnTo>
                <a:lnTo>
                  <a:pt x="382" y="142"/>
                </a:lnTo>
                <a:lnTo>
                  <a:pt x="388" y="147"/>
                </a:lnTo>
                <a:lnTo>
                  <a:pt x="396" y="152"/>
                </a:lnTo>
                <a:lnTo>
                  <a:pt x="415" y="159"/>
                </a:lnTo>
                <a:lnTo>
                  <a:pt x="428" y="166"/>
                </a:lnTo>
                <a:lnTo>
                  <a:pt x="417" y="176"/>
                </a:lnTo>
                <a:lnTo>
                  <a:pt x="402" y="191"/>
                </a:lnTo>
                <a:lnTo>
                  <a:pt x="404" y="195"/>
                </a:lnTo>
                <a:lnTo>
                  <a:pt x="407" y="197"/>
                </a:lnTo>
                <a:lnTo>
                  <a:pt x="410" y="199"/>
                </a:lnTo>
                <a:lnTo>
                  <a:pt x="414" y="201"/>
                </a:lnTo>
                <a:lnTo>
                  <a:pt x="421" y="203"/>
                </a:lnTo>
                <a:lnTo>
                  <a:pt x="429" y="204"/>
                </a:lnTo>
                <a:lnTo>
                  <a:pt x="445" y="204"/>
                </a:lnTo>
                <a:lnTo>
                  <a:pt x="461" y="204"/>
                </a:lnTo>
                <a:lnTo>
                  <a:pt x="554" y="191"/>
                </a:lnTo>
                <a:lnTo>
                  <a:pt x="555" y="189"/>
                </a:lnTo>
                <a:lnTo>
                  <a:pt x="556" y="186"/>
                </a:lnTo>
                <a:lnTo>
                  <a:pt x="559" y="183"/>
                </a:lnTo>
                <a:lnTo>
                  <a:pt x="562" y="179"/>
                </a:lnTo>
                <a:lnTo>
                  <a:pt x="565" y="177"/>
                </a:lnTo>
                <a:lnTo>
                  <a:pt x="568" y="174"/>
                </a:lnTo>
                <a:lnTo>
                  <a:pt x="572" y="173"/>
                </a:lnTo>
                <a:lnTo>
                  <a:pt x="574" y="172"/>
                </a:lnTo>
                <a:lnTo>
                  <a:pt x="574" y="161"/>
                </a:lnTo>
                <a:lnTo>
                  <a:pt x="574" y="154"/>
                </a:lnTo>
                <a:lnTo>
                  <a:pt x="561" y="153"/>
                </a:lnTo>
                <a:lnTo>
                  <a:pt x="546" y="151"/>
                </a:lnTo>
                <a:lnTo>
                  <a:pt x="532" y="148"/>
                </a:lnTo>
                <a:lnTo>
                  <a:pt x="518" y="143"/>
                </a:lnTo>
                <a:lnTo>
                  <a:pt x="504" y="138"/>
                </a:lnTo>
                <a:lnTo>
                  <a:pt x="489" y="132"/>
                </a:lnTo>
                <a:lnTo>
                  <a:pt x="475" y="124"/>
                </a:lnTo>
                <a:lnTo>
                  <a:pt x="461" y="116"/>
                </a:lnTo>
                <a:lnTo>
                  <a:pt x="433" y="100"/>
                </a:lnTo>
                <a:lnTo>
                  <a:pt x="407" y="84"/>
                </a:lnTo>
                <a:lnTo>
                  <a:pt x="383" y="68"/>
                </a:lnTo>
                <a:lnTo>
                  <a:pt x="362" y="55"/>
                </a:lnTo>
                <a:lnTo>
                  <a:pt x="358" y="54"/>
                </a:lnTo>
                <a:lnTo>
                  <a:pt x="353" y="52"/>
                </a:lnTo>
                <a:lnTo>
                  <a:pt x="348" y="52"/>
                </a:lnTo>
                <a:lnTo>
                  <a:pt x="342" y="52"/>
                </a:lnTo>
                <a:lnTo>
                  <a:pt x="330" y="52"/>
                </a:lnTo>
                <a:lnTo>
                  <a:pt x="318" y="52"/>
                </a:lnTo>
                <a:lnTo>
                  <a:pt x="312" y="51"/>
                </a:lnTo>
                <a:lnTo>
                  <a:pt x="306" y="50"/>
                </a:lnTo>
                <a:lnTo>
                  <a:pt x="302" y="49"/>
                </a:lnTo>
                <a:lnTo>
                  <a:pt x="297" y="46"/>
                </a:lnTo>
                <a:lnTo>
                  <a:pt x="294" y="43"/>
                </a:lnTo>
                <a:lnTo>
                  <a:pt x="291" y="38"/>
                </a:lnTo>
                <a:lnTo>
                  <a:pt x="290" y="32"/>
                </a:lnTo>
                <a:lnTo>
                  <a:pt x="288" y="25"/>
                </a:lnTo>
                <a:lnTo>
                  <a:pt x="142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265" name="Freeform 217"/>
          <p:cNvSpPr>
            <a:spLocks/>
          </p:cNvSpPr>
          <p:nvPr>
            <p:custDataLst>
              <p:tags r:id="rId144"/>
            </p:custDataLst>
          </p:nvPr>
        </p:nvSpPr>
        <p:spPr bwMode="auto">
          <a:xfrm>
            <a:off x="2232025" y="2284812"/>
            <a:ext cx="88900" cy="52388"/>
          </a:xfrm>
          <a:custGeom>
            <a:avLst/>
            <a:gdLst/>
            <a:ahLst/>
            <a:cxnLst>
              <a:cxn ang="0">
                <a:pos x="41" y="129"/>
              </a:cxn>
              <a:cxn ang="0">
                <a:pos x="50" y="121"/>
              </a:cxn>
              <a:cxn ang="0">
                <a:pos x="60" y="115"/>
              </a:cxn>
              <a:cxn ang="0">
                <a:pos x="70" y="110"/>
              </a:cxn>
              <a:cxn ang="0">
                <a:pos x="81" y="105"/>
              </a:cxn>
              <a:cxn ang="0">
                <a:pos x="105" y="99"/>
              </a:cxn>
              <a:cxn ang="0">
                <a:pos x="129" y="92"/>
              </a:cxn>
              <a:cxn ang="0">
                <a:pos x="152" y="87"/>
              </a:cxn>
              <a:cxn ang="0">
                <a:pos x="173" y="81"/>
              </a:cxn>
              <a:cxn ang="0">
                <a:pos x="182" y="77"/>
              </a:cxn>
              <a:cxn ang="0">
                <a:pos x="191" y="73"/>
              </a:cxn>
              <a:cxn ang="0">
                <a:pos x="200" y="67"/>
              </a:cxn>
              <a:cxn ang="0">
                <a:pos x="207" y="61"/>
              </a:cxn>
              <a:cxn ang="0">
                <a:pos x="198" y="54"/>
              </a:cxn>
              <a:cxn ang="0">
                <a:pos x="188" y="47"/>
              </a:cxn>
              <a:cxn ang="0">
                <a:pos x="179" y="42"/>
              </a:cxn>
              <a:cxn ang="0">
                <a:pos x="169" y="36"/>
              </a:cxn>
              <a:cxn ang="0">
                <a:pos x="150" y="29"/>
              </a:cxn>
              <a:cxn ang="0">
                <a:pos x="129" y="23"/>
              </a:cxn>
              <a:cxn ang="0">
                <a:pos x="107" y="18"/>
              </a:cxn>
              <a:cxn ang="0">
                <a:pos x="85" y="13"/>
              </a:cxn>
              <a:cxn ang="0">
                <a:pos x="63" y="7"/>
              </a:cxn>
              <a:cxn ang="0">
                <a:pos x="41" y="0"/>
              </a:cxn>
              <a:cxn ang="0">
                <a:pos x="0" y="0"/>
              </a:cxn>
              <a:cxn ang="0">
                <a:pos x="1" y="6"/>
              </a:cxn>
              <a:cxn ang="0">
                <a:pos x="2" y="13"/>
              </a:cxn>
              <a:cxn ang="0">
                <a:pos x="4" y="19"/>
              </a:cxn>
              <a:cxn ang="0">
                <a:pos x="6" y="25"/>
              </a:cxn>
              <a:cxn ang="0">
                <a:pos x="10" y="35"/>
              </a:cxn>
              <a:cxn ang="0">
                <a:pos x="13" y="46"/>
              </a:cxn>
              <a:cxn ang="0">
                <a:pos x="17" y="54"/>
              </a:cxn>
              <a:cxn ang="0">
                <a:pos x="18" y="62"/>
              </a:cxn>
              <a:cxn ang="0">
                <a:pos x="17" y="65"/>
              </a:cxn>
              <a:cxn ang="0">
                <a:pos x="14" y="68"/>
              </a:cxn>
              <a:cxn ang="0">
                <a:pos x="11" y="71"/>
              </a:cxn>
              <a:cxn ang="0">
                <a:pos x="7" y="73"/>
              </a:cxn>
              <a:cxn ang="0">
                <a:pos x="0" y="104"/>
              </a:cxn>
              <a:cxn ang="0">
                <a:pos x="4" y="106"/>
              </a:cxn>
              <a:cxn ang="0">
                <a:pos x="13" y="110"/>
              </a:cxn>
              <a:cxn ang="0">
                <a:pos x="19" y="113"/>
              </a:cxn>
              <a:cxn ang="0">
                <a:pos x="25" y="117"/>
              </a:cxn>
              <a:cxn ang="0">
                <a:pos x="33" y="122"/>
              </a:cxn>
              <a:cxn ang="0">
                <a:pos x="41" y="129"/>
              </a:cxn>
            </a:cxnLst>
            <a:rect l="0" t="0" r="r" b="b"/>
            <a:pathLst>
              <a:path w="207" h="129">
                <a:moveTo>
                  <a:pt x="41" y="129"/>
                </a:moveTo>
                <a:lnTo>
                  <a:pt x="50" y="121"/>
                </a:lnTo>
                <a:lnTo>
                  <a:pt x="60" y="115"/>
                </a:lnTo>
                <a:lnTo>
                  <a:pt x="70" y="110"/>
                </a:lnTo>
                <a:lnTo>
                  <a:pt x="81" y="105"/>
                </a:lnTo>
                <a:lnTo>
                  <a:pt x="105" y="99"/>
                </a:lnTo>
                <a:lnTo>
                  <a:pt x="129" y="92"/>
                </a:lnTo>
                <a:lnTo>
                  <a:pt x="152" y="87"/>
                </a:lnTo>
                <a:lnTo>
                  <a:pt x="173" y="81"/>
                </a:lnTo>
                <a:lnTo>
                  <a:pt x="182" y="77"/>
                </a:lnTo>
                <a:lnTo>
                  <a:pt x="191" y="73"/>
                </a:lnTo>
                <a:lnTo>
                  <a:pt x="200" y="67"/>
                </a:lnTo>
                <a:lnTo>
                  <a:pt x="207" y="61"/>
                </a:lnTo>
                <a:lnTo>
                  <a:pt x="198" y="54"/>
                </a:lnTo>
                <a:lnTo>
                  <a:pt x="188" y="47"/>
                </a:lnTo>
                <a:lnTo>
                  <a:pt x="179" y="42"/>
                </a:lnTo>
                <a:lnTo>
                  <a:pt x="169" y="36"/>
                </a:lnTo>
                <a:lnTo>
                  <a:pt x="150" y="29"/>
                </a:lnTo>
                <a:lnTo>
                  <a:pt x="129" y="23"/>
                </a:lnTo>
                <a:lnTo>
                  <a:pt x="107" y="18"/>
                </a:lnTo>
                <a:lnTo>
                  <a:pt x="85" y="13"/>
                </a:lnTo>
                <a:lnTo>
                  <a:pt x="63" y="7"/>
                </a:lnTo>
                <a:lnTo>
                  <a:pt x="41" y="0"/>
                </a:lnTo>
                <a:lnTo>
                  <a:pt x="0" y="0"/>
                </a:lnTo>
                <a:lnTo>
                  <a:pt x="1" y="6"/>
                </a:lnTo>
                <a:lnTo>
                  <a:pt x="2" y="13"/>
                </a:lnTo>
                <a:lnTo>
                  <a:pt x="4" y="19"/>
                </a:lnTo>
                <a:lnTo>
                  <a:pt x="6" y="25"/>
                </a:lnTo>
                <a:lnTo>
                  <a:pt x="10" y="35"/>
                </a:lnTo>
                <a:lnTo>
                  <a:pt x="13" y="46"/>
                </a:lnTo>
                <a:lnTo>
                  <a:pt x="17" y="54"/>
                </a:lnTo>
                <a:lnTo>
                  <a:pt x="18" y="62"/>
                </a:lnTo>
                <a:lnTo>
                  <a:pt x="17" y="65"/>
                </a:lnTo>
                <a:lnTo>
                  <a:pt x="14" y="68"/>
                </a:lnTo>
                <a:lnTo>
                  <a:pt x="11" y="71"/>
                </a:lnTo>
                <a:lnTo>
                  <a:pt x="7" y="73"/>
                </a:lnTo>
                <a:lnTo>
                  <a:pt x="0" y="104"/>
                </a:lnTo>
                <a:lnTo>
                  <a:pt x="4" y="106"/>
                </a:lnTo>
                <a:lnTo>
                  <a:pt x="13" y="110"/>
                </a:lnTo>
                <a:lnTo>
                  <a:pt x="19" y="113"/>
                </a:lnTo>
                <a:lnTo>
                  <a:pt x="25" y="117"/>
                </a:lnTo>
                <a:lnTo>
                  <a:pt x="33" y="122"/>
                </a:lnTo>
                <a:lnTo>
                  <a:pt x="41" y="12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266" name="Freeform 218"/>
          <p:cNvSpPr>
            <a:spLocks/>
          </p:cNvSpPr>
          <p:nvPr>
            <p:custDataLst>
              <p:tags r:id="rId145"/>
            </p:custDataLst>
          </p:nvPr>
        </p:nvSpPr>
        <p:spPr bwMode="auto">
          <a:xfrm>
            <a:off x="1800225" y="2330063"/>
            <a:ext cx="33338" cy="63103"/>
          </a:xfrm>
          <a:custGeom>
            <a:avLst/>
            <a:gdLst/>
            <a:ahLst/>
            <a:cxnLst>
              <a:cxn ang="0">
                <a:pos x="72" y="0"/>
              </a:cxn>
              <a:cxn ang="0">
                <a:pos x="69" y="4"/>
              </a:cxn>
              <a:cxn ang="0">
                <a:pos x="67" y="9"/>
              </a:cxn>
              <a:cxn ang="0">
                <a:pos x="66" y="13"/>
              </a:cxn>
              <a:cxn ang="0">
                <a:pos x="66" y="18"/>
              </a:cxn>
              <a:cxn ang="0">
                <a:pos x="66" y="27"/>
              </a:cxn>
              <a:cxn ang="0">
                <a:pos x="66" y="37"/>
              </a:cxn>
              <a:cxn ang="0">
                <a:pos x="69" y="43"/>
              </a:cxn>
              <a:cxn ang="0">
                <a:pos x="71" y="50"/>
              </a:cxn>
              <a:cxn ang="0">
                <a:pos x="71" y="57"/>
              </a:cxn>
              <a:cxn ang="0">
                <a:pos x="71" y="65"/>
              </a:cxn>
              <a:cxn ang="0">
                <a:pos x="69" y="73"/>
              </a:cxn>
              <a:cxn ang="0">
                <a:pos x="67" y="82"/>
              </a:cxn>
              <a:cxn ang="0">
                <a:pos x="65" y="91"/>
              </a:cxn>
              <a:cxn ang="0">
                <a:pos x="61" y="100"/>
              </a:cxn>
              <a:cxn ang="0">
                <a:pos x="53" y="116"/>
              </a:cxn>
              <a:cxn ang="0">
                <a:pos x="44" y="131"/>
              </a:cxn>
              <a:cxn ang="0">
                <a:pos x="34" y="144"/>
              </a:cxn>
              <a:cxn ang="0">
                <a:pos x="26" y="154"/>
              </a:cxn>
              <a:cxn ang="0">
                <a:pos x="26" y="141"/>
              </a:cxn>
              <a:cxn ang="0">
                <a:pos x="15" y="144"/>
              </a:cxn>
              <a:cxn ang="0">
                <a:pos x="0" y="148"/>
              </a:cxn>
              <a:cxn ang="0">
                <a:pos x="3" y="129"/>
              </a:cxn>
              <a:cxn ang="0">
                <a:pos x="8" y="105"/>
              </a:cxn>
              <a:cxn ang="0">
                <a:pos x="9" y="92"/>
              </a:cxn>
              <a:cxn ang="0">
                <a:pos x="12" y="77"/>
              </a:cxn>
              <a:cxn ang="0">
                <a:pos x="15" y="63"/>
              </a:cxn>
              <a:cxn ang="0">
                <a:pos x="20" y="49"/>
              </a:cxn>
              <a:cxn ang="0">
                <a:pos x="20" y="0"/>
              </a:cxn>
              <a:cxn ang="0">
                <a:pos x="25" y="0"/>
              </a:cxn>
              <a:cxn ang="0">
                <a:pos x="38" y="0"/>
              </a:cxn>
              <a:cxn ang="0">
                <a:pos x="56" y="0"/>
              </a:cxn>
              <a:cxn ang="0">
                <a:pos x="72" y="0"/>
              </a:cxn>
            </a:cxnLst>
            <a:rect l="0" t="0" r="r" b="b"/>
            <a:pathLst>
              <a:path w="72" h="154">
                <a:moveTo>
                  <a:pt x="72" y="0"/>
                </a:moveTo>
                <a:lnTo>
                  <a:pt x="69" y="4"/>
                </a:lnTo>
                <a:lnTo>
                  <a:pt x="67" y="9"/>
                </a:lnTo>
                <a:lnTo>
                  <a:pt x="66" y="13"/>
                </a:lnTo>
                <a:lnTo>
                  <a:pt x="66" y="18"/>
                </a:lnTo>
                <a:lnTo>
                  <a:pt x="66" y="27"/>
                </a:lnTo>
                <a:lnTo>
                  <a:pt x="66" y="37"/>
                </a:lnTo>
                <a:lnTo>
                  <a:pt x="69" y="43"/>
                </a:lnTo>
                <a:lnTo>
                  <a:pt x="71" y="50"/>
                </a:lnTo>
                <a:lnTo>
                  <a:pt x="71" y="57"/>
                </a:lnTo>
                <a:lnTo>
                  <a:pt x="71" y="65"/>
                </a:lnTo>
                <a:lnTo>
                  <a:pt x="69" y="73"/>
                </a:lnTo>
                <a:lnTo>
                  <a:pt x="67" y="82"/>
                </a:lnTo>
                <a:lnTo>
                  <a:pt x="65" y="91"/>
                </a:lnTo>
                <a:lnTo>
                  <a:pt x="61" y="100"/>
                </a:lnTo>
                <a:lnTo>
                  <a:pt x="53" y="116"/>
                </a:lnTo>
                <a:lnTo>
                  <a:pt x="44" y="131"/>
                </a:lnTo>
                <a:lnTo>
                  <a:pt x="34" y="144"/>
                </a:lnTo>
                <a:lnTo>
                  <a:pt x="26" y="154"/>
                </a:lnTo>
                <a:lnTo>
                  <a:pt x="26" y="141"/>
                </a:lnTo>
                <a:lnTo>
                  <a:pt x="15" y="144"/>
                </a:lnTo>
                <a:lnTo>
                  <a:pt x="0" y="148"/>
                </a:lnTo>
                <a:lnTo>
                  <a:pt x="3" y="129"/>
                </a:lnTo>
                <a:lnTo>
                  <a:pt x="8" y="105"/>
                </a:lnTo>
                <a:lnTo>
                  <a:pt x="9" y="92"/>
                </a:lnTo>
                <a:lnTo>
                  <a:pt x="12" y="77"/>
                </a:lnTo>
                <a:lnTo>
                  <a:pt x="15" y="63"/>
                </a:lnTo>
                <a:lnTo>
                  <a:pt x="20" y="49"/>
                </a:lnTo>
                <a:lnTo>
                  <a:pt x="20" y="0"/>
                </a:lnTo>
                <a:lnTo>
                  <a:pt x="25" y="0"/>
                </a:lnTo>
                <a:lnTo>
                  <a:pt x="38" y="0"/>
                </a:lnTo>
                <a:lnTo>
                  <a:pt x="56" y="0"/>
                </a:lnTo>
                <a:lnTo>
                  <a:pt x="72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267" name="Freeform 219"/>
          <p:cNvSpPr>
            <a:spLocks/>
          </p:cNvSpPr>
          <p:nvPr>
            <p:custDataLst>
              <p:tags r:id="rId146"/>
            </p:custDataLst>
          </p:nvPr>
        </p:nvSpPr>
        <p:spPr bwMode="auto">
          <a:xfrm>
            <a:off x="1720853" y="2330055"/>
            <a:ext cx="93663" cy="109538"/>
          </a:xfrm>
          <a:custGeom>
            <a:avLst/>
            <a:gdLst/>
            <a:ahLst/>
            <a:cxnLst>
              <a:cxn ang="0">
                <a:pos x="8" y="207"/>
              </a:cxn>
              <a:cxn ang="0">
                <a:pos x="12" y="181"/>
              </a:cxn>
              <a:cxn ang="0">
                <a:pos x="24" y="148"/>
              </a:cxn>
              <a:cxn ang="0">
                <a:pos x="35" y="118"/>
              </a:cxn>
              <a:cxn ang="0">
                <a:pos x="44" y="112"/>
              </a:cxn>
              <a:cxn ang="0">
                <a:pos x="65" y="111"/>
              </a:cxn>
              <a:cxn ang="0">
                <a:pos x="89" y="111"/>
              </a:cxn>
              <a:cxn ang="0">
                <a:pos x="106" y="110"/>
              </a:cxn>
              <a:cxn ang="0">
                <a:pos x="120" y="105"/>
              </a:cxn>
              <a:cxn ang="0">
                <a:pos x="130" y="94"/>
              </a:cxn>
              <a:cxn ang="0">
                <a:pos x="113" y="73"/>
              </a:cxn>
              <a:cxn ang="0">
                <a:pos x="86" y="58"/>
              </a:cxn>
              <a:cxn ang="0">
                <a:pos x="77" y="49"/>
              </a:cxn>
              <a:cxn ang="0">
                <a:pos x="74" y="41"/>
              </a:cxn>
              <a:cxn ang="0">
                <a:pos x="75" y="34"/>
              </a:cxn>
              <a:cxn ang="0">
                <a:pos x="82" y="28"/>
              </a:cxn>
              <a:cxn ang="0">
                <a:pos x="101" y="19"/>
              </a:cxn>
              <a:cxn ang="0">
                <a:pos x="150" y="3"/>
              </a:cxn>
              <a:cxn ang="0">
                <a:pos x="180" y="0"/>
              </a:cxn>
              <a:cxn ang="0">
                <a:pos x="198" y="0"/>
              </a:cxn>
              <a:cxn ang="0">
                <a:pos x="207" y="49"/>
              </a:cxn>
              <a:cxn ang="0">
                <a:pos x="199" y="77"/>
              </a:cxn>
              <a:cxn ang="0">
                <a:pos x="195" y="105"/>
              </a:cxn>
              <a:cxn ang="0">
                <a:pos x="187" y="148"/>
              </a:cxn>
              <a:cxn ang="0">
                <a:pos x="213" y="154"/>
              </a:cxn>
              <a:cxn ang="0">
                <a:pos x="214" y="166"/>
              </a:cxn>
              <a:cxn ang="0">
                <a:pos x="210" y="174"/>
              </a:cxn>
              <a:cxn ang="0">
                <a:pos x="207" y="177"/>
              </a:cxn>
              <a:cxn ang="0">
                <a:pos x="200" y="178"/>
              </a:cxn>
              <a:cxn ang="0">
                <a:pos x="192" y="196"/>
              </a:cxn>
              <a:cxn ang="0">
                <a:pos x="181" y="214"/>
              </a:cxn>
              <a:cxn ang="0">
                <a:pos x="155" y="243"/>
              </a:cxn>
              <a:cxn ang="0">
                <a:pos x="120" y="271"/>
              </a:cxn>
              <a:cxn ang="0">
                <a:pos x="87" y="261"/>
              </a:cxn>
              <a:cxn ang="0">
                <a:pos x="55" y="248"/>
              </a:cxn>
              <a:cxn ang="0">
                <a:pos x="0" y="221"/>
              </a:cxn>
            </a:cxnLst>
            <a:rect l="0" t="0" r="r" b="b"/>
            <a:pathLst>
              <a:path w="214" h="271">
                <a:moveTo>
                  <a:pt x="7" y="221"/>
                </a:moveTo>
                <a:lnTo>
                  <a:pt x="8" y="207"/>
                </a:lnTo>
                <a:lnTo>
                  <a:pt x="9" y="192"/>
                </a:lnTo>
                <a:lnTo>
                  <a:pt x="12" y="181"/>
                </a:lnTo>
                <a:lnTo>
                  <a:pt x="16" y="170"/>
                </a:lnTo>
                <a:lnTo>
                  <a:pt x="24" y="148"/>
                </a:lnTo>
                <a:lnTo>
                  <a:pt x="34" y="123"/>
                </a:lnTo>
                <a:lnTo>
                  <a:pt x="35" y="118"/>
                </a:lnTo>
                <a:lnTo>
                  <a:pt x="40" y="114"/>
                </a:lnTo>
                <a:lnTo>
                  <a:pt x="44" y="112"/>
                </a:lnTo>
                <a:lnTo>
                  <a:pt x="51" y="111"/>
                </a:lnTo>
                <a:lnTo>
                  <a:pt x="65" y="111"/>
                </a:lnTo>
                <a:lnTo>
                  <a:pt x="82" y="111"/>
                </a:lnTo>
                <a:lnTo>
                  <a:pt x="89" y="111"/>
                </a:lnTo>
                <a:lnTo>
                  <a:pt x="98" y="111"/>
                </a:lnTo>
                <a:lnTo>
                  <a:pt x="106" y="110"/>
                </a:lnTo>
                <a:lnTo>
                  <a:pt x="113" y="108"/>
                </a:lnTo>
                <a:lnTo>
                  <a:pt x="120" y="105"/>
                </a:lnTo>
                <a:lnTo>
                  <a:pt x="125" y="100"/>
                </a:lnTo>
                <a:lnTo>
                  <a:pt x="130" y="94"/>
                </a:lnTo>
                <a:lnTo>
                  <a:pt x="133" y="85"/>
                </a:lnTo>
                <a:lnTo>
                  <a:pt x="113" y="73"/>
                </a:lnTo>
                <a:lnTo>
                  <a:pt x="94" y="63"/>
                </a:lnTo>
                <a:lnTo>
                  <a:pt x="86" y="58"/>
                </a:lnTo>
                <a:lnTo>
                  <a:pt x="79" y="52"/>
                </a:lnTo>
                <a:lnTo>
                  <a:pt x="77" y="49"/>
                </a:lnTo>
                <a:lnTo>
                  <a:pt x="75" y="45"/>
                </a:lnTo>
                <a:lnTo>
                  <a:pt x="74" y="41"/>
                </a:lnTo>
                <a:lnTo>
                  <a:pt x="74" y="37"/>
                </a:lnTo>
                <a:lnTo>
                  <a:pt x="75" y="34"/>
                </a:lnTo>
                <a:lnTo>
                  <a:pt x="77" y="31"/>
                </a:lnTo>
                <a:lnTo>
                  <a:pt x="82" y="28"/>
                </a:lnTo>
                <a:lnTo>
                  <a:pt x="87" y="25"/>
                </a:lnTo>
                <a:lnTo>
                  <a:pt x="101" y="19"/>
                </a:lnTo>
                <a:lnTo>
                  <a:pt x="118" y="13"/>
                </a:lnTo>
                <a:lnTo>
                  <a:pt x="150" y="3"/>
                </a:lnTo>
                <a:lnTo>
                  <a:pt x="167" y="0"/>
                </a:lnTo>
                <a:lnTo>
                  <a:pt x="180" y="0"/>
                </a:lnTo>
                <a:lnTo>
                  <a:pt x="190" y="0"/>
                </a:lnTo>
                <a:lnTo>
                  <a:pt x="198" y="0"/>
                </a:lnTo>
                <a:lnTo>
                  <a:pt x="200" y="0"/>
                </a:lnTo>
                <a:lnTo>
                  <a:pt x="207" y="49"/>
                </a:lnTo>
                <a:lnTo>
                  <a:pt x="202" y="63"/>
                </a:lnTo>
                <a:lnTo>
                  <a:pt x="199" y="77"/>
                </a:lnTo>
                <a:lnTo>
                  <a:pt x="196" y="92"/>
                </a:lnTo>
                <a:lnTo>
                  <a:pt x="195" y="105"/>
                </a:lnTo>
                <a:lnTo>
                  <a:pt x="190" y="129"/>
                </a:lnTo>
                <a:lnTo>
                  <a:pt x="187" y="148"/>
                </a:lnTo>
                <a:lnTo>
                  <a:pt x="202" y="151"/>
                </a:lnTo>
                <a:lnTo>
                  <a:pt x="213" y="154"/>
                </a:lnTo>
                <a:lnTo>
                  <a:pt x="214" y="158"/>
                </a:lnTo>
                <a:lnTo>
                  <a:pt x="214" y="166"/>
                </a:lnTo>
                <a:lnTo>
                  <a:pt x="213" y="170"/>
                </a:lnTo>
                <a:lnTo>
                  <a:pt x="210" y="174"/>
                </a:lnTo>
                <a:lnTo>
                  <a:pt x="209" y="176"/>
                </a:lnTo>
                <a:lnTo>
                  <a:pt x="207" y="177"/>
                </a:lnTo>
                <a:lnTo>
                  <a:pt x="203" y="178"/>
                </a:lnTo>
                <a:lnTo>
                  <a:pt x="200" y="178"/>
                </a:lnTo>
                <a:lnTo>
                  <a:pt x="197" y="187"/>
                </a:lnTo>
                <a:lnTo>
                  <a:pt x="192" y="196"/>
                </a:lnTo>
                <a:lnTo>
                  <a:pt x="188" y="205"/>
                </a:lnTo>
                <a:lnTo>
                  <a:pt x="181" y="214"/>
                </a:lnTo>
                <a:lnTo>
                  <a:pt x="169" y="229"/>
                </a:lnTo>
                <a:lnTo>
                  <a:pt x="155" y="243"/>
                </a:lnTo>
                <a:lnTo>
                  <a:pt x="131" y="263"/>
                </a:lnTo>
                <a:lnTo>
                  <a:pt x="120" y="271"/>
                </a:lnTo>
                <a:lnTo>
                  <a:pt x="103" y="266"/>
                </a:lnTo>
                <a:lnTo>
                  <a:pt x="87" y="261"/>
                </a:lnTo>
                <a:lnTo>
                  <a:pt x="71" y="254"/>
                </a:lnTo>
                <a:lnTo>
                  <a:pt x="55" y="248"/>
                </a:lnTo>
                <a:lnTo>
                  <a:pt x="27" y="235"/>
                </a:lnTo>
                <a:lnTo>
                  <a:pt x="0" y="221"/>
                </a:lnTo>
                <a:lnTo>
                  <a:pt x="7" y="22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268" name="Freeform 220"/>
          <p:cNvSpPr>
            <a:spLocks/>
          </p:cNvSpPr>
          <p:nvPr>
            <p:custDataLst>
              <p:tags r:id="rId147"/>
            </p:custDataLst>
          </p:nvPr>
        </p:nvSpPr>
        <p:spPr bwMode="auto">
          <a:xfrm>
            <a:off x="1768475" y="2413402"/>
            <a:ext cx="71438" cy="42863"/>
          </a:xfrm>
          <a:custGeom>
            <a:avLst/>
            <a:gdLst/>
            <a:ahLst/>
            <a:cxnLst>
              <a:cxn ang="0">
                <a:pos x="60" y="0"/>
              </a:cxn>
              <a:cxn ang="0">
                <a:pos x="83" y="14"/>
              </a:cxn>
              <a:cxn ang="0">
                <a:pos x="104" y="24"/>
              </a:cxn>
              <a:cxn ang="0">
                <a:pos x="115" y="28"/>
              </a:cxn>
              <a:cxn ang="0">
                <a:pos x="126" y="31"/>
              </a:cxn>
              <a:cxn ang="0">
                <a:pos x="133" y="32"/>
              </a:cxn>
              <a:cxn ang="0">
                <a:pos x="139" y="32"/>
              </a:cxn>
              <a:cxn ang="0">
                <a:pos x="146" y="31"/>
              </a:cxn>
              <a:cxn ang="0">
                <a:pos x="153" y="30"/>
              </a:cxn>
              <a:cxn ang="0">
                <a:pos x="153" y="56"/>
              </a:cxn>
              <a:cxn ang="0">
                <a:pos x="149" y="60"/>
              </a:cxn>
              <a:cxn ang="0">
                <a:pos x="145" y="65"/>
              </a:cxn>
              <a:cxn ang="0">
                <a:pos x="138" y="69"/>
              </a:cxn>
              <a:cxn ang="0">
                <a:pos x="132" y="72"/>
              </a:cxn>
              <a:cxn ang="0">
                <a:pos x="125" y="75"/>
              </a:cxn>
              <a:cxn ang="0">
                <a:pos x="119" y="78"/>
              </a:cxn>
              <a:cxn ang="0">
                <a:pos x="112" y="79"/>
              </a:cxn>
              <a:cxn ang="0">
                <a:pos x="106" y="80"/>
              </a:cxn>
              <a:cxn ang="0">
                <a:pos x="90" y="74"/>
              </a:cxn>
              <a:cxn ang="0">
                <a:pos x="76" y="71"/>
              </a:cxn>
              <a:cxn ang="0">
                <a:pos x="63" y="69"/>
              </a:cxn>
              <a:cxn ang="0">
                <a:pos x="50" y="69"/>
              </a:cxn>
              <a:cxn ang="0">
                <a:pos x="39" y="68"/>
              </a:cxn>
              <a:cxn ang="0">
                <a:pos x="27" y="67"/>
              </a:cxn>
              <a:cxn ang="0">
                <a:pos x="14" y="65"/>
              </a:cxn>
              <a:cxn ang="0">
                <a:pos x="0" y="62"/>
              </a:cxn>
              <a:cxn ang="0">
                <a:pos x="7" y="58"/>
              </a:cxn>
              <a:cxn ang="0">
                <a:pos x="23" y="45"/>
              </a:cxn>
              <a:cxn ang="0">
                <a:pos x="34" y="37"/>
              </a:cxn>
              <a:cxn ang="0">
                <a:pos x="45" y="28"/>
              </a:cxn>
              <a:cxn ang="0">
                <a:pos x="56" y="17"/>
              </a:cxn>
              <a:cxn ang="0">
                <a:pos x="67" y="6"/>
              </a:cxn>
              <a:cxn ang="0">
                <a:pos x="60" y="0"/>
              </a:cxn>
            </a:cxnLst>
            <a:rect l="0" t="0" r="r" b="b"/>
            <a:pathLst>
              <a:path w="153" h="80">
                <a:moveTo>
                  <a:pt x="60" y="0"/>
                </a:moveTo>
                <a:lnTo>
                  <a:pt x="83" y="14"/>
                </a:lnTo>
                <a:lnTo>
                  <a:pt x="104" y="24"/>
                </a:lnTo>
                <a:lnTo>
                  <a:pt x="115" y="28"/>
                </a:lnTo>
                <a:lnTo>
                  <a:pt x="126" y="31"/>
                </a:lnTo>
                <a:lnTo>
                  <a:pt x="133" y="32"/>
                </a:lnTo>
                <a:lnTo>
                  <a:pt x="139" y="32"/>
                </a:lnTo>
                <a:lnTo>
                  <a:pt x="146" y="31"/>
                </a:lnTo>
                <a:lnTo>
                  <a:pt x="153" y="30"/>
                </a:lnTo>
                <a:lnTo>
                  <a:pt x="153" y="56"/>
                </a:lnTo>
                <a:lnTo>
                  <a:pt x="149" y="60"/>
                </a:lnTo>
                <a:lnTo>
                  <a:pt x="145" y="65"/>
                </a:lnTo>
                <a:lnTo>
                  <a:pt x="138" y="69"/>
                </a:lnTo>
                <a:lnTo>
                  <a:pt x="132" y="72"/>
                </a:lnTo>
                <a:lnTo>
                  <a:pt x="125" y="75"/>
                </a:lnTo>
                <a:lnTo>
                  <a:pt x="119" y="78"/>
                </a:lnTo>
                <a:lnTo>
                  <a:pt x="112" y="79"/>
                </a:lnTo>
                <a:lnTo>
                  <a:pt x="106" y="80"/>
                </a:lnTo>
                <a:lnTo>
                  <a:pt x="90" y="74"/>
                </a:lnTo>
                <a:lnTo>
                  <a:pt x="76" y="71"/>
                </a:lnTo>
                <a:lnTo>
                  <a:pt x="63" y="69"/>
                </a:lnTo>
                <a:lnTo>
                  <a:pt x="50" y="69"/>
                </a:lnTo>
                <a:lnTo>
                  <a:pt x="39" y="68"/>
                </a:lnTo>
                <a:lnTo>
                  <a:pt x="27" y="67"/>
                </a:lnTo>
                <a:lnTo>
                  <a:pt x="14" y="65"/>
                </a:lnTo>
                <a:lnTo>
                  <a:pt x="0" y="62"/>
                </a:lnTo>
                <a:lnTo>
                  <a:pt x="7" y="58"/>
                </a:lnTo>
                <a:lnTo>
                  <a:pt x="23" y="45"/>
                </a:lnTo>
                <a:lnTo>
                  <a:pt x="34" y="37"/>
                </a:lnTo>
                <a:lnTo>
                  <a:pt x="45" y="28"/>
                </a:lnTo>
                <a:lnTo>
                  <a:pt x="56" y="17"/>
                </a:lnTo>
                <a:lnTo>
                  <a:pt x="67" y="6"/>
                </a:lnTo>
                <a:lnTo>
                  <a:pt x="6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269" name="Freeform 221"/>
          <p:cNvSpPr>
            <a:spLocks/>
          </p:cNvSpPr>
          <p:nvPr>
            <p:custDataLst>
              <p:tags r:id="rId148"/>
            </p:custDataLst>
          </p:nvPr>
        </p:nvSpPr>
        <p:spPr bwMode="auto">
          <a:xfrm>
            <a:off x="1800232" y="2384822"/>
            <a:ext cx="142875" cy="65484"/>
          </a:xfrm>
          <a:custGeom>
            <a:avLst/>
            <a:gdLst/>
            <a:ahLst/>
            <a:cxnLst>
              <a:cxn ang="0">
                <a:pos x="0" y="77"/>
              </a:cxn>
              <a:cxn ang="0">
                <a:pos x="44" y="101"/>
              </a:cxn>
              <a:cxn ang="0">
                <a:pos x="66" y="108"/>
              </a:cxn>
              <a:cxn ang="0">
                <a:pos x="79" y="109"/>
              </a:cxn>
              <a:cxn ang="0">
                <a:pos x="93" y="107"/>
              </a:cxn>
              <a:cxn ang="0">
                <a:pos x="90" y="144"/>
              </a:cxn>
              <a:cxn ang="0">
                <a:pos x="95" y="154"/>
              </a:cxn>
              <a:cxn ang="0">
                <a:pos x="99" y="163"/>
              </a:cxn>
              <a:cxn ang="0">
                <a:pos x="107" y="168"/>
              </a:cxn>
              <a:cxn ang="0">
                <a:pos x="117" y="169"/>
              </a:cxn>
              <a:cxn ang="0">
                <a:pos x="123" y="166"/>
              </a:cxn>
              <a:cxn ang="0">
                <a:pos x="132" y="157"/>
              </a:cxn>
              <a:cxn ang="0">
                <a:pos x="146" y="136"/>
              </a:cxn>
              <a:cxn ang="0">
                <a:pos x="174" y="115"/>
              </a:cxn>
              <a:cxn ang="0">
                <a:pos x="214" y="96"/>
              </a:cxn>
              <a:cxn ang="0">
                <a:pos x="256" y="80"/>
              </a:cxn>
              <a:cxn ang="0">
                <a:pos x="304" y="65"/>
              </a:cxn>
              <a:cxn ang="0">
                <a:pos x="332" y="46"/>
              </a:cxn>
              <a:cxn ang="0">
                <a:pos x="332" y="22"/>
              </a:cxn>
              <a:cxn ang="0">
                <a:pos x="320" y="2"/>
              </a:cxn>
              <a:cxn ang="0">
                <a:pos x="283" y="1"/>
              </a:cxn>
              <a:cxn ang="0">
                <a:pos x="234" y="0"/>
              </a:cxn>
              <a:cxn ang="0">
                <a:pos x="180" y="1"/>
              </a:cxn>
              <a:cxn ang="0">
                <a:pos x="131" y="4"/>
              </a:cxn>
              <a:cxn ang="0">
                <a:pos x="90" y="10"/>
              </a:cxn>
              <a:cxn ang="0">
                <a:pos x="59" y="19"/>
              </a:cxn>
              <a:cxn ang="0">
                <a:pos x="42" y="22"/>
              </a:cxn>
              <a:cxn ang="0">
                <a:pos x="35" y="23"/>
              </a:cxn>
              <a:cxn ang="0">
                <a:pos x="34" y="26"/>
              </a:cxn>
              <a:cxn ang="0">
                <a:pos x="33" y="38"/>
              </a:cxn>
              <a:cxn ang="0">
                <a:pos x="29" y="44"/>
              </a:cxn>
              <a:cxn ang="0">
                <a:pos x="23" y="46"/>
              </a:cxn>
              <a:cxn ang="0">
                <a:pos x="19" y="55"/>
              </a:cxn>
              <a:cxn ang="0">
                <a:pos x="11" y="72"/>
              </a:cxn>
              <a:cxn ang="0">
                <a:pos x="7" y="83"/>
              </a:cxn>
            </a:cxnLst>
            <a:rect l="0" t="0" r="r" b="b"/>
            <a:pathLst>
              <a:path w="332" h="169">
                <a:moveTo>
                  <a:pt x="7" y="83"/>
                </a:moveTo>
                <a:lnTo>
                  <a:pt x="0" y="77"/>
                </a:lnTo>
                <a:lnTo>
                  <a:pt x="23" y="91"/>
                </a:lnTo>
                <a:lnTo>
                  <a:pt x="44" y="101"/>
                </a:lnTo>
                <a:lnTo>
                  <a:pt x="55" y="105"/>
                </a:lnTo>
                <a:lnTo>
                  <a:pt x="66" y="108"/>
                </a:lnTo>
                <a:lnTo>
                  <a:pt x="73" y="109"/>
                </a:lnTo>
                <a:lnTo>
                  <a:pt x="79" y="109"/>
                </a:lnTo>
                <a:lnTo>
                  <a:pt x="86" y="108"/>
                </a:lnTo>
                <a:lnTo>
                  <a:pt x="93" y="107"/>
                </a:lnTo>
                <a:lnTo>
                  <a:pt x="86" y="139"/>
                </a:lnTo>
                <a:lnTo>
                  <a:pt x="90" y="144"/>
                </a:lnTo>
                <a:lnTo>
                  <a:pt x="94" y="149"/>
                </a:lnTo>
                <a:lnTo>
                  <a:pt x="95" y="154"/>
                </a:lnTo>
                <a:lnTo>
                  <a:pt x="97" y="158"/>
                </a:lnTo>
                <a:lnTo>
                  <a:pt x="99" y="163"/>
                </a:lnTo>
                <a:lnTo>
                  <a:pt x="102" y="166"/>
                </a:lnTo>
                <a:lnTo>
                  <a:pt x="107" y="168"/>
                </a:lnTo>
                <a:lnTo>
                  <a:pt x="113" y="169"/>
                </a:lnTo>
                <a:lnTo>
                  <a:pt x="117" y="169"/>
                </a:lnTo>
                <a:lnTo>
                  <a:pt x="120" y="167"/>
                </a:lnTo>
                <a:lnTo>
                  <a:pt x="123" y="166"/>
                </a:lnTo>
                <a:lnTo>
                  <a:pt x="127" y="163"/>
                </a:lnTo>
                <a:lnTo>
                  <a:pt x="132" y="157"/>
                </a:lnTo>
                <a:lnTo>
                  <a:pt x="138" y="150"/>
                </a:lnTo>
                <a:lnTo>
                  <a:pt x="146" y="136"/>
                </a:lnTo>
                <a:lnTo>
                  <a:pt x="153" y="127"/>
                </a:lnTo>
                <a:lnTo>
                  <a:pt x="174" y="115"/>
                </a:lnTo>
                <a:lnTo>
                  <a:pt x="195" y="105"/>
                </a:lnTo>
                <a:lnTo>
                  <a:pt x="214" y="96"/>
                </a:lnTo>
                <a:lnTo>
                  <a:pt x="235" y="88"/>
                </a:lnTo>
                <a:lnTo>
                  <a:pt x="256" y="80"/>
                </a:lnTo>
                <a:lnTo>
                  <a:pt x="279" y="73"/>
                </a:lnTo>
                <a:lnTo>
                  <a:pt x="304" y="65"/>
                </a:lnTo>
                <a:lnTo>
                  <a:pt x="332" y="58"/>
                </a:lnTo>
                <a:lnTo>
                  <a:pt x="332" y="46"/>
                </a:lnTo>
                <a:lnTo>
                  <a:pt x="332" y="35"/>
                </a:lnTo>
                <a:lnTo>
                  <a:pt x="332" y="22"/>
                </a:lnTo>
                <a:lnTo>
                  <a:pt x="332" y="3"/>
                </a:lnTo>
                <a:lnTo>
                  <a:pt x="320" y="2"/>
                </a:lnTo>
                <a:lnTo>
                  <a:pt x="303" y="2"/>
                </a:lnTo>
                <a:lnTo>
                  <a:pt x="283" y="1"/>
                </a:lnTo>
                <a:lnTo>
                  <a:pt x="259" y="0"/>
                </a:lnTo>
                <a:lnTo>
                  <a:pt x="234" y="0"/>
                </a:lnTo>
                <a:lnTo>
                  <a:pt x="208" y="0"/>
                </a:lnTo>
                <a:lnTo>
                  <a:pt x="180" y="1"/>
                </a:lnTo>
                <a:lnTo>
                  <a:pt x="153" y="3"/>
                </a:lnTo>
                <a:lnTo>
                  <a:pt x="131" y="4"/>
                </a:lnTo>
                <a:lnTo>
                  <a:pt x="110" y="6"/>
                </a:lnTo>
                <a:lnTo>
                  <a:pt x="90" y="10"/>
                </a:lnTo>
                <a:lnTo>
                  <a:pt x="73" y="15"/>
                </a:lnTo>
                <a:lnTo>
                  <a:pt x="59" y="19"/>
                </a:lnTo>
                <a:lnTo>
                  <a:pt x="46" y="22"/>
                </a:lnTo>
                <a:lnTo>
                  <a:pt x="42" y="22"/>
                </a:lnTo>
                <a:lnTo>
                  <a:pt x="38" y="23"/>
                </a:lnTo>
                <a:lnTo>
                  <a:pt x="35" y="23"/>
                </a:lnTo>
                <a:lnTo>
                  <a:pt x="33" y="22"/>
                </a:lnTo>
                <a:lnTo>
                  <a:pt x="34" y="26"/>
                </a:lnTo>
                <a:lnTo>
                  <a:pt x="34" y="34"/>
                </a:lnTo>
                <a:lnTo>
                  <a:pt x="33" y="38"/>
                </a:lnTo>
                <a:lnTo>
                  <a:pt x="30" y="42"/>
                </a:lnTo>
                <a:lnTo>
                  <a:pt x="29" y="44"/>
                </a:lnTo>
                <a:lnTo>
                  <a:pt x="27" y="45"/>
                </a:lnTo>
                <a:lnTo>
                  <a:pt x="23" y="46"/>
                </a:lnTo>
                <a:lnTo>
                  <a:pt x="20" y="46"/>
                </a:lnTo>
                <a:lnTo>
                  <a:pt x="19" y="55"/>
                </a:lnTo>
                <a:lnTo>
                  <a:pt x="16" y="63"/>
                </a:lnTo>
                <a:lnTo>
                  <a:pt x="11" y="72"/>
                </a:lnTo>
                <a:lnTo>
                  <a:pt x="7" y="77"/>
                </a:lnTo>
                <a:lnTo>
                  <a:pt x="7" y="8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270" name="Freeform 222"/>
          <p:cNvSpPr>
            <a:spLocks/>
          </p:cNvSpPr>
          <p:nvPr>
            <p:custDataLst>
              <p:tags r:id="rId149"/>
            </p:custDataLst>
          </p:nvPr>
        </p:nvSpPr>
        <p:spPr bwMode="auto">
          <a:xfrm>
            <a:off x="1817688" y="2407449"/>
            <a:ext cx="125412" cy="91679"/>
          </a:xfrm>
          <a:custGeom>
            <a:avLst/>
            <a:gdLst/>
            <a:ahLst/>
            <a:cxnLst>
              <a:cxn ang="0">
                <a:pos x="44" y="86"/>
              </a:cxn>
              <a:cxn ang="0">
                <a:pos x="49" y="96"/>
              </a:cxn>
              <a:cxn ang="0">
                <a:pos x="53" y="105"/>
              </a:cxn>
              <a:cxn ang="0">
                <a:pos x="61" y="110"/>
              </a:cxn>
              <a:cxn ang="0">
                <a:pos x="71" y="111"/>
              </a:cxn>
              <a:cxn ang="0">
                <a:pos x="77" y="108"/>
              </a:cxn>
              <a:cxn ang="0">
                <a:pos x="86" y="99"/>
              </a:cxn>
              <a:cxn ang="0">
                <a:pos x="100" y="78"/>
              </a:cxn>
              <a:cxn ang="0">
                <a:pos x="128" y="57"/>
              </a:cxn>
              <a:cxn ang="0">
                <a:pos x="168" y="38"/>
              </a:cxn>
              <a:cxn ang="0">
                <a:pos x="210" y="22"/>
              </a:cxn>
              <a:cxn ang="0">
                <a:pos x="258" y="7"/>
              </a:cxn>
              <a:cxn ang="0">
                <a:pos x="286" y="11"/>
              </a:cxn>
              <a:cxn ang="0">
                <a:pos x="282" y="32"/>
              </a:cxn>
              <a:cxn ang="0">
                <a:pos x="272" y="70"/>
              </a:cxn>
              <a:cxn ang="0">
                <a:pos x="254" y="128"/>
              </a:cxn>
              <a:cxn ang="0">
                <a:pos x="244" y="174"/>
              </a:cxn>
              <a:cxn ang="0">
                <a:pos x="240" y="206"/>
              </a:cxn>
              <a:cxn ang="0">
                <a:pos x="146" y="216"/>
              </a:cxn>
              <a:cxn ang="0">
                <a:pos x="138" y="218"/>
              </a:cxn>
              <a:cxn ang="0">
                <a:pos x="132" y="223"/>
              </a:cxn>
              <a:cxn ang="0">
                <a:pos x="127" y="235"/>
              </a:cxn>
              <a:cxn ang="0">
                <a:pos x="109" y="217"/>
              </a:cxn>
              <a:cxn ang="0">
                <a:pos x="94" y="199"/>
              </a:cxn>
              <a:cxn ang="0">
                <a:pos x="69" y="160"/>
              </a:cxn>
              <a:cxn ang="0">
                <a:pos x="55" y="142"/>
              </a:cxn>
              <a:cxn ang="0">
                <a:pos x="41" y="125"/>
              </a:cxn>
              <a:cxn ang="0">
                <a:pos x="22" y="110"/>
              </a:cxn>
              <a:cxn ang="0">
                <a:pos x="0" y="99"/>
              </a:cxn>
              <a:cxn ang="0">
                <a:pos x="13" y="97"/>
              </a:cxn>
              <a:cxn ang="0">
                <a:pos x="26" y="91"/>
              </a:cxn>
              <a:cxn ang="0">
                <a:pos x="39" y="84"/>
              </a:cxn>
              <a:cxn ang="0">
                <a:pos x="47" y="75"/>
              </a:cxn>
            </a:cxnLst>
            <a:rect l="0" t="0" r="r" b="b"/>
            <a:pathLst>
              <a:path w="286" h="235">
                <a:moveTo>
                  <a:pt x="40" y="81"/>
                </a:moveTo>
                <a:lnTo>
                  <a:pt x="44" y="86"/>
                </a:lnTo>
                <a:lnTo>
                  <a:pt x="48" y="91"/>
                </a:lnTo>
                <a:lnTo>
                  <a:pt x="49" y="96"/>
                </a:lnTo>
                <a:lnTo>
                  <a:pt x="51" y="100"/>
                </a:lnTo>
                <a:lnTo>
                  <a:pt x="53" y="105"/>
                </a:lnTo>
                <a:lnTo>
                  <a:pt x="56" y="108"/>
                </a:lnTo>
                <a:lnTo>
                  <a:pt x="61" y="110"/>
                </a:lnTo>
                <a:lnTo>
                  <a:pt x="67" y="111"/>
                </a:lnTo>
                <a:lnTo>
                  <a:pt x="71" y="111"/>
                </a:lnTo>
                <a:lnTo>
                  <a:pt x="74" y="109"/>
                </a:lnTo>
                <a:lnTo>
                  <a:pt x="77" y="108"/>
                </a:lnTo>
                <a:lnTo>
                  <a:pt x="81" y="105"/>
                </a:lnTo>
                <a:lnTo>
                  <a:pt x="86" y="99"/>
                </a:lnTo>
                <a:lnTo>
                  <a:pt x="92" y="92"/>
                </a:lnTo>
                <a:lnTo>
                  <a:pt x="100" y="78"/>
                </a:lnTo>
                <a:lnTo>
                  <a:pt x="107" y="69"/>
                </a:lnTo>
                <a:lnTo>
                  <a:pt x="128" y="57"/>
                </a:lnTo>
                <a:lnTo>
                  <a:pt x="149" y="47"/>
                </a:lnTo>
                <a:lnTo>
                  <a:pt x="168" y="38"/>
                </a:lnTo>
                <a:lnTo>
                  <a:pt x="189" y="30"/>
                </a:lnTo>
                <a:lnTo>
                  <a:pt x="210" y="22"/>
                </a:lnTo>
                <a:lnTo>
                  <a:pt x="233" y="15"/>
                </a:lnTo>
                <a:lnTo>
                  <a:pt x="258" y="7"/>
                </a:lnTo>
                <a:lnTo>
                  <a:pt x="286" y="0"/>
                </a:lnTo>
                <a:lnTo>
                  <a:pt x="286" y="11"/>
                </a:lnTo>
                <a:lnTo>
                  <a:pt x="284" y="21"/>
                </a:lnTo>
                <a:lnTo>
                  <a:pt x="282" y="32"/>
                </a:lnTo>
                <a:lnTo>
                  <a:pt x="279" y="44"/>
                </a:lnTo>
                <a:lnTo>
                  <a:pt x="272" y="70"/>
                </a:lnTo>
                <a:lnTo>
                  <a:pt x="263" y="97"/>
                </a:lnTo>
                <a:lnTo>
                  <a:pt x="254" y="128"/>
                </a:lnTo>
                <a:lnTo>
                  <a:pt x="246" y="158"/>
                </a:lnTo>
                <a:lnTo>
                  <a:pt x="244" y="174"/>
                </a:lnTo>
                <a:lnTo>
                  <a:pt x="242" y="190"/>
                </a:lnTo>
                <a:lnTo>
                  <a:pt x="240" y="206"/>
                </a:lnTo>
                <a:lnTo>
                  <a:pt x="240" y="222"/>
                </a:lnTo>
                <a:lnTo>
                  <a:pt x="146" y="216"/>
                </a:lnTo>
                <a:lnTo>
                  <a:pt x="142" y="216"/>
                </a:lnTo>
                <a:lnTo>
                  <a:pt x="138" y="218"/>
                </a:lnTo>
                <a:lnTo>
                  <a:pt x="134" y="220"/>
                </a:lnTo>
                <a:lnTo>
                  <a:pt x="132" y="223"/>
                </a:lnTo>
                <a:lnTo>
                  <a:pt x="128" y="229"/>
                </a:lnTo>
                <a:lnTo>
                  <a:pt x="127" y="235"/>
                </a:lnTo>
                <a:lnTo>
                  <a:pt x="117" y="226"/>
                </a:lnTo>
                <a:lnTo>
                  <a:pt x="109" y="217"/>
                </a:lnTo>
                <a:lnTo>
                  <a:pt x="101" y="208"/>
                </a:lnTo>
                <a:lnTo>
                  <a:pt x="94" y="199"/>
                </a:lnTo>
                <a:lnTo>
                  <a:pt x="81" y="180"/>
                </a:lnTo>
                <a:lnTo>
                  <a:pt x="69" y="160"/>
                </a:lnTo>
                <a:lnTo>
                  <a:pt x="62" y="150"/>
                </a:lnTo>
                <a:lnTo>
                  <a:pt x="55" y="142"/>
                </a:lnTo>
                <a:lnTo>
                  <a:pt x="49" y="133"/>
                </a:lnTo>
                <a:lnTo>
                  <a:pt x="41" y="125"/>
                </a:lnTo>
                <a:lnTo>
                  <a:pt x="32" y="117"/>
                </a:lnTo>
                <a:lnTo>
                  <a:pt x="22" y="110"/>
                </a:lnTo>
                <a:lnTo>
                  <a:pt x="13" y="104"/>
                </a:lnTo>
                <a:lnTo>
                  <a:pt x="0" y="99"/>
                </a:lnTo>
                <a:lnTo>
                  <a:pt x="6" y="98"/>
                </a:lnTo>
                <a:lnTo>
                  <a:pt x="13" y="97"/>
                </a:lnTo>
                <a:lnTo>
                  <a:pt x="19" y="94"/>
                </a:lnTo>
                <a:lnTo>
                  <a:pt x="26" y="91"/>
                </a:lnTo>
                <a:lnTo>
                  <a:pt x="32" y="88"/>
                </a:lnTo>
                <a:lnTo>
                  <a:pt x="39" y="84"/>
                </a:lnTo>
                <a:lnTo>
                  <a:pt x="43" y="79"/>
                </a:lnTo>
                <a:lnTo>
                  <a:pt x="47" y="75"/>
                </a:lnTo>
                <a:lnTo>
                  <a:pt x="40" y="8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271" name="Freeform 223"/>
          <p:cNvSpPr>
            <a:spLocks/>
          </p:cNvSpPr>
          <p:nvPr>
            <p:custDataLst>
              <p:tags r:id="rId150"/>
            </p:custDataLst>
          </p:nvPr>
        </p:nvSpPr>
        <p:spPr bwMode="auto">
          <a:xfrm>
            <a:off x="1868488" y="2491979"/>
            <a:ext cx="84137" cy="75009"/>
          </a:xfrm>
          <a:custGeom>
            <a:avLst/>
            <a:gdLst/>
            <a:ahLst/>
            <a:cxnLst>
              <a:cxn ang="0">
                <a:pos x="188" y="185"/>
              </a:cxn>
              <a:cxn ang="0">
                <a:pos x="175" y="185"/>
              </a:cxn>
              <a:cxn ang="0">
                <a:pos x="158" y="185"/>
              </a:cxn>
              <a:cxn ang="0">
                <a:pos x="144" y="180"/>
              </a:cxn>
              <a:cxn ang="0">
                <a:pos x="136" y="173"/>
              </a:cxn>
              <a:cxn ang="0">
                <a:pos x="129" y="163"/>
              </a:cxn>
              <a:cxn ang="0">
                <a:pos x="120" y="147"/>
              </a:cxn>
              <a:cxn ang="0">
                <a:pos x="110" y="131"/>
              </a:cxn>
              <a:cxn ang="0">
                <a:pos x="99" y="121"/>
              </a:cxn>
              <a:cxn ang="0">
                <a:pos x="93" y="126"/>
              </a:cxn>
              <a:cxn ang="0">
                <a:pos x="90" y="135"/>
              </a:cxn>
              <a:cxn ang="0">
                <a:pos x="84" y="130"/>
              </a:cxn>
              <a:cxn ang="0">
                <a:pos x="72" y="113"/>
              </a:cxn>
              <a:cxn ang="0">
                <a:pos x="56" y="87"/>
              </a:cxn>
              <a:cxn ang="0">
                <a:pos x="41" y="67"/>
              </a:cxn>
              <a:cxn ang="0">
                <a:pos x="31" y="58"/>
              </a:cxn>
              <a:cxn ang="0">
                <a:pos x="26" y="60"/>
              </a:cxn>
              <a:cxn ang="0">
                <a:pos x="29" y="69"/>
              </a:cxn>
              <a:cxn ang="0">
                <a:pos x="34" y="78"/>
              </a:cxn>
              <a:cxn ang="0">
                <a:pos x="41" y="84"/>
              </a:cxn>
              <a:cxn ang="0">
                <a:pos x="46" y="105"/>
              </a:cxn>
              <a:cxn ang="0">
                <a:pos x="13" y="98"/>
              </a:cxn>
              <a:cxn ang="0">
                <a:pos x="4" y="84"/>
              </a:cxn>
              <a:cxn ang="0">
                <a:pos x="0" y="60"/>
              </a:cxn>
              <a:cxn ang="0">
                <a:pos x="0" y="38"/>
              </a:cxn>
              <a:cxn ang="0">
                <a:pos x="3" y="28"/>
              </a:cxn>
              <a:cxn ang="0">
                <a:pos x="8" y="22"/>
              </a:cxn>
              <a:cxn ang="0">
                <a:pos x="14" y="13"/>
              </a:cxn>
              <a:cxn ang="0">
                <a:pos x="20" y="4"/>
              </a:cxn>
              <a:cxn ang="0">
                <a:pos x="28" y="0"/>
              </a:cxn>
              <a:cxn ang="0">
                <a:pos x="126" y="6"/>
              </a:cxn>
              <a:cxn ang="0">
                <a:pos x="127" y="21"/>
              </a:cxn>
              <a:cxn ang="0">
                <a:pos x="130" y="37"/>
              </a:cxn>
              <a:cxn ang="0">
                <a:pos x="143" y="70"/>
              </a:cxn>
              <a:cxn ang="0">
                <a:pos x="165" y="102"/>
              </a:cxn>
              <a:cxn ang="0">
                <a:pos x="177" y="117"/>
              </a:cxn>
              <a:cxn ang="0">
                <a:pos x="192" y="130"/>
              </a:cxn>
              <a:cxn ang="0">
                <a:pos x="189" y="143"/>
              </a:cxn>
              <a:cxn ang="0">
                <a:pos x="189" y="156"/>
              </a:cxn>
              <a:cxn ang="0">
                <a:pos x="192" y="191"/>
              </a:cxn>
              <a:cxn ang="0">
                <a:pos x="205" y="185"/>
              </a:cxn>
            </a:cxnLst>
            <a:rect l="0" t="0" r="r" b="b"/>
            <a:pathLst>
              <a:path w="205" h="191">
                <a:moveTo>
                  <a:pt x="205" y="185"/>
                </a:moveTo>
                <a:lnTo>
                  <a:pt x="188" y="185"/>
                </a:lnTo>
                <a:lnTo>
                  <a:pt x="181" y="185"/>
                </a:lnTo>
                <a:lnTo>
                  <a:pt x="175" y="185"/>
                </a:lnTo>
                <a:lnTo>
                  <a:pt x="165" y="185"/>
                </a:lnTo>
                <a:lnTo>
                  <a:pt x="158" y="185"/>
                </a:lnTo>
                <a:lnTo>
                  <a:pt x="151" y="182"/>
                </a:lnTo>
                <a:lnTo>
                  <a:pt x="144" y="180"/>
                </a:lnTo>
                <a:lnTo>
                  <a:pt x="140" y="177"/>
                </a:lnTo>
                <a:lnTo>
                  <a:pt x="136" y="173"/>
                </a:lnTo>
                <a:lnTo>
                  <a:pt x="132" y="168"/>
                </a:lnTo>
                <a:lnTo>
                  <a:pt x="129" y="163"/>
                </a:lnTo>
                <a:lnTo>
                  <a:pt x="127" y="158"/>
                </a:lnTo>
                <a:lnTo>
                  <a:pt x="120" y="147"/>
                </a:lnTo>
                <a:lnTo>
                  <a:pt x="114" y="136"/>
                </a:lnTo>
                <a:lnTo>
                  <a:pt x="110" y="131"/>
                </a:lnTo>
                <a:lnTo>
                  <a:pt x="105" y="125"/>
                </a:lnTo>
                <a:lnTo>
                  <a:pt x="99" y="121"/>
                </a:lnTo>
                <a:lnTo>
                  <a:pt x="93" y="117"/>
                </a:lnTo>
                <a:lnTo>
                  <a:pt x="93" y="126"/>
                </a:lnTo>
                <a:lnTo>
                  <a:pt x="93" y="136"/>
                </a:lnTo>
                <a:lnTo>
                  <a:pt x="90" y="135"/>
                </a:lnTo>
                <a:lnTo>
                  <a:pt x="86" y="133"/>
                </a:lnTo>
                <a:lnTo>
                  <a:pt x="84" y="130"/>
                </a:lnTo>
                <a:lnTo>
                  <a:pt x="80" y="124"/>
                </a:lnTo>
                <a:lnTo>
                  <a:pt x="72" y="113"/>
                </a:lnTo>
                <a:lnTo>
                  <a:pt x="64" y="100"/>
                </a:lnTo>
                <a:lnTo>
                  <a:pt x="56" y="87"/>
                </a:lnTo>
                <a:lnTo>
                  <a:pt x="46" y="74"/>
                </a:lnTo>
                <a:lnTo>
                  <a:pt x="41" y="67"/>
                </a:lnTo>
                <a:lnTo>
                  <a:pt x="36" y="62"/>
                </a:lnTo>
                <a:lnTo>
                  <a:pt x="31" y="58"/>
                </a:lnTo>
                <a:lnTo>
                  <a:pt x="26" y="55"/>
                </a:lnTo>
                <a:lnTo>
                  <a:pt x="26" y="60"/>
                </a:lnTo>
                <a:lnTo>
                  <a:pt x="27" y="64"/>
                </a:lnTo>
                <a:lnTo>
                  <a:pt x="29" y="69"/>
                </a:lnTo>
                <a:lnTo>
                  <a:pt x="31" y="74"/>
                </a:lnTo>
                <a:lnTo>
                  <a:pt x="34" y="78"/>
                </a:lnTo>
                <a:lnTo>
                  <a:pt x="37" y="81"/>
                </a:lnTo>
                <a:lnTo>
                  <a:pt x="41" y="84"/>
                </a:lnTo>
                <a:lnTo>
                  <a:pt x="46" y="87"/>
                </a:lnTo>
                <a:lnTo>
                  <a:pt x="46" y="105"/>
                </a:lnTo>
                <a:lnTo>
                  <a:pt x="19" y="105"/>
                </a:lnTo>
                <a:lnTo>
                  <a:pt x="13" y="98"/>
                </a:lnTo>
                <a:lnTo>
                  <a:pt x="8" y="91"/>
                </a:lnTo>
                <a:lnTo>
                  <a:pt x="4" y="84"/>
                </a:lnTo>
                <a:lnTo>
                  <a:pt x="2" y="77"/>
                </a:lnTo>
                <a:lnTo>
                  <a:pt x="0" y="60"/>
                </a:lnTo>
                <a:lnTo>
                  <a:pt x="0" y="43"/>
                </a:lnTo>
                <a:lnTo>
                  <a:pt x="0" y="38"/>
                </a:lnTo>
                <a:lnTo>
                  <a:pt x="1" y="31"/>
                </a:lnTo>
                <a:lnTo>
                  <a:pt x="3" y="28"/>
                </a:lnTo>
                <a:lnTo>
                  <a:pt x="5" y="25"/>
                </a:lnTo>
                <a:lnTo>
                  <a:pt x="8" y="22"/>
                </a:lnTo>
                <a:lnTo>
                  <a:pt x="13" y="19"/>
                </a:lnTo>
                <a:lnTo>
                  <a:pt x="14" y="13"/>
                </a:lnTo>
                <a:lnTo>
                  <a:pt x="18" y="7"/>
                </a:lnTo>
                <a:lnTo>
                  <a:pt x="20" y="4"/>
                </a:lnTo>
                <a:lnTo>
                  <a:pt x="24" y="2"/>
                </a:lnTo>
                <a:lnTo>
                  <a:pt x="28" y="0"/>
                </a:lnTo>
                <a:lnTo>
                  <a:pt x="32" y="0"/>
                </a:lnTo>
                <a:lnTo>
                  <a:pt x="126" y="6"/>
                </a:lnTo>
                <a:lnTo>
                  <a:pt x="126" y="13"/>
                </a:lnTo>
                <a:lnTo>
                  <a:pt x="127" y="21"/>
                </a:lnTo>
                <a:lnTo>
                  <a:pt x="128" y="29"/>
                </a:lnTo>
                <a:lnTo>
                  <a:pt x="130" y="37"/>
                </a:lnTo>
                <a:lnTo>
                  <a:pt x="136" y="53"/>
                </a:lnTo>
                <a:lnTo>
                  <a:pt x="143" y="70"/>
                </a:lnTo>
                <a:lnTo>
                  <a:pt x="153" y="87"/>
                </a:lnTo>
                <a:lnTo>
                  <a:pt x="165" y="102"/>
                </a:lnTo>
                <a:lnTo>
                  <a:pt x="171" y="110"/>
                </a:lnTo>
                <a:lnTo>
                  <a:pt x="177" y="117"/>
                </a:lnTo>
                <a:lnTo>
                  <a:pt x="185" y="123"/>
                </a:lnTo>
                <a:lnTo>
                  <a:pt x="192" y="130"/>
                </a:lnTo>
                <a:lnTo>
                  <a:pt x="191" y="137"/>
                </a:lnTo>
                <a:lnTo>
                  <a:pt x="189" y="143"/>
                </a:lnTo>
                <a:lnTo>
                  <a:pt x="189" y="149"/>
                </a:lnTo>
                <a:lnTo>
                  <a:pt x="189" y="156"/>
                </a:lnTo>
                <a:lnTo>
                  <a:pt x="192" y="171"/>
                </a:lnTo>
                <a:lnTo>
                  <a:pt x="192" y="191"/>
                </a:lnTo>
                <a:lnTo>
                  <a:pt x="192" y="185"/>
                </a:lnTo>
                <a:lnTo>
                  <a:pt x="205" y="18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272" name="Freeform 224"/>
          <p:cNvSpPr>
            <a:spLocks/>
          </p:cNvSpPr>
          <p:nvPr>
            <p:custDataLst>
              <p:tags r:id="rId151"/>
            </p:custDataLst>
          </p:nvPr>
        </p:nvSpPr>
        <p:spPr bwMode="auto">
          <a:xfrm>
            <a:off x="1949457" y="2532469"/>
            <a:ext cx="142875" cy="59531"/>
          </a:xfrm>
          <a:custGeom>
            <a:avLst/>
            <a:gdLst/>
            <a:ahLst/>
            <a:cxnLst>
              <a:cxn ang="0">
                <a:pos x="3" y="58"/>
              </a:cxn>
              <a:cxn ang="0">
                <a:pos x="0" y="42"/>
              </a:cxn>
              <a:cxn ang="0">
                <a:pos x="2" y="31"/>
              </a:cxn>
              <a:cxn ang="0">
                <a:pos x="17" y="33"/>
              </a:cxn>
              <a:cxn ang="0">
                <a:pos x="36" y="41"/>
              </a:cxn>
              <a:cxn ang="0">
                <a:pos x="49" y="43"/>
              </a:cxn>
              <a:cxn ang="0">
                <a:pos x="67" y="43"/>
              </a:cxn>
              <a:cxn ang="0">
                <a:pos x="86" y="39"/>
              </a:cxn>
              <a:cxn ang="0">
                <a:pos x="110" y="30"/>
              </a:cxn>
              <a:cxn ang="0">
                <a:pos x="140" y="13"/>
              </a:cxn>
              <a:cxn ang="0">
                <a:pos x="162" y="4"/>
              </a:cxn>
              <a:cxn ang="0">
                <a:pos x="179" y="0"/>
              </a:cxn>
              <a:cxn ang="0">
                <a:pos x="203" y="0"/>
              </a:cxn>
              <a:cxn ang="0">
                <a:pos x="224" y="6"/>
              </a:cxn>
              <a:cxn ang="0">
                <a:pos x="243" y="15"/>
              </a:cxn>
              <a:cxn ang="0">
                <a:pos x="259" y="28"/>
              </a:cxn>
              <a:cxn ang="0">
                <a:pos x="280" y="46"/>
              </a:cxn>
              <a:cxn ang="0">
                <a:pos x="302" y="61"/>
              </a:cxn>
              <a:cxn ang="0">
                <a:pos x="319" y="67"/>
              </a:cxn>
              <a:cxn ang="0">
                <a:pos x="313" y="82"/>
              </a:cxn>
              <a:cxn ang="0">
                <a:pos x="293" y="106"/>
              </a:cxn>
              <a:cxn ang="0">
                <a:pos x="277" y="138"/>
              </a:cxn>
              <a:cxn ang="0">
                <a:pos x="265" y="153"/>
              </a:cxn>
              <a:cxn ang="0">
                <a:pos x="253" y="146"/>
              </a:cxn>
              <a:cxn ang="0">
                <a:pos x="240" y="136"/>
              </a:cxn>
              <a:cxn ang="0">
                <a:pos x="230" y="126"/>
              </a:cxn>
              <a:cxn ang="0">
                <a:pos x="230" y="114"/>
              </a:cxn>
              <a:cxn ang="0">
                <a:pos x="235" y="100"/>
              </a:cxn>
              <a:cxn ang="0">
                <a:pos x="249" y="86"/>
              </a:cxn>
              <a:cxn ang="0">
                <a:pos x="233" y="68"/>
              </a:cxn>
              <a:cxn ang="0">
                <a:pos x="207" y="55"/>
              </a:cxn>
              <a:cxn ang="0">
                <a:pos x="195" y="41"/>
              </a:cxn>
              <a:cxn ang="0">
                <a:pos x="179" y="34"/>
              </a:cxn>
              <a:cxn ang="0">
                <a:pos x="163" y="41"/>
              </a:cxn>
              <a:cxn ang="0">
                <a:pos x="150" y="50"/>
              </a:cxn>
              <a:cxn ang="0">
                <a:pos x="140" y="61"/>
              </a:cxn>
              <a:cxn ang="0">
                <a:pos x="132" y="74"/>
              </a:cxn>
              <a:cxn ang="0">
                <a:pos x="128" y="88"/>
              </a:cxn>
              <a:cxn ang="0">
                <a:pos x="123" y="109"/>
              </a:cxn>
              <a:cxn ang="0">
                <a:pos x="122" y="125"/>
              </a:cxn>
              <a:cxn ang="0">
                <a:pos x="118" y="129"/>
              </a:cxn>
              <a:cxn ang="0">
                <a:pos x="108" y="135"/>
              </a:cxn>
              <a:cxn ang="0">
                <a:pos x="96" y="135"/>
              </a:cxn>
              <a:cxn ang="0">
                <a:pos x="83" y="129"/>
              </a:cxn>
              <a:cxn ang="0">
                <a:pos x="66" y="116"/>
              </a:cxn>
              <a:cxn ang="0">
                <a:pos x="48" y="94"/>
              </a:cxn>
              <a:cxn ang="0">
                <a:pos x="33" y="80"/>
              </a:cxn>
              <a:cxn ang="0">
                <a:pos x="22" y="74"/>
              </a:cxn>
              <a:cxn ang="0">
                <a:pos x="3" y="73"/>
              </a:cxn>
            </a:cxnLst>
            <a:rect l="0" t="0" r="r" b="b"/>
            <a:pathLst>
              <a:path w="329" h="154">
                <a:moveTo>
                  <a:pt x="3" y="73"/>
                </a:moveTo>
                <a:lnTo>
                  <a:pt x="3" y="58"/>
                </a:lnTo>
                <a:lnTo>
                  <a:pt x="0" y="47"/>
                </a:lnTo>
                <a:lnTo>
                  <a:pt x="0" y="42"/>
                </a:lnTo>
                <a:lnTo>
                  <a:pt x="0" y="37"/>
                </a:lnTo>
                <a:lnTo>
                  <a:pt x="2" y="31"/>
                </a:lnTo>
                <a:lnTo>
                  <a:pt x="3" y="25"/>
                </a:lnTo>
                <a:lnTo>
                  <a:pt x="17" y="33"/>
                </a:lnTo>
                <a:lnTo>
                  <a:pt x="30" y="39"/>
                </a:lnTo>
                <a:lnTo>
                  <a:pt x="36" y="41"/>
                </a:lnTo>
                <a:lnTo>
                  <a:pt x="42" y="42"/>
                </a:lnTo>
                <a:lnTo>
                  <a:pt x="49" y="43"/>
                </a:lnTo>
                <a:lnTo>
                  <a:pt x="56" y="43"/>
                </a:lnTo>
                <a:lnTo>
                  <a:pt x="67" y="43"/>
                </a:lnTo>
                <a:lnTo>
                  <a:pt x="77" y="41"/>
                </a:lnTo>
                <a:lnTo>
                  <a:pt x="86" y="39"/>
                </a:lnTo>
                <a:lnTo>
                  <a:pt x="95" y="36"/>
                </a:lnTo>
                <a:lnTo>
                  <a:pt x="110" y="30"/>
                </a:lnTo>
                <a:lnTo>
                  <a:pt x="126" y="21"/>
                </a:lnTo>
                <a:lnTo>
                  <a:pt x="140" y="13"/>
                </a:lnTo>
                <a:lnTo>
                  <a:pt x="154" y="6"/>
                </a:lnTo>
                <a:lnTo>
                  <a:pt x="162" y="4"/>
                </a:lnTo>
                <a:lnTo>
                  <a:pt x="171" y="2"/>
                </a:lnTo>
                <a:lnTo>
                  <a:pt x="179" y="0"/>
                </a:lnTo>
                <a:lnTo>
                  <a:pt x="189" y="0"/>
                </a:lnTo>
                <a:lnTo>
                  <a:pt x="203" y="0"/>
                </a:lnTo>
                <a:lnTo>
                  <a:pt x="214" y="3"/>
                </a:lnTo>
                <a:lnTo>
                  <a:pt x="224" y="6"/>
                </a:lnTo>
                <a:lnTo>
                  <a:pt x="234" y="10"/>
                </a:lnTo>
                <a:lnTo>
                  <a:pt x="243" y="15"/>
                </a:lnTo>
                <a:lnTo>
                  <a:pt x="251" y="21"/>
                </a:lnTo>
                <a:lnTo>
                  <a:pt x="259" y="28"/>
                </a:lnTo>
                <a:lnTo>
                  <a:pt x="266" y="34"/>
                </a:lnTo>
                <a:lnTo>
                  <a:pt x="280" y="46"/>
                </a:lnTo>
                <a:lnTo>
                  <a:pt x="295" y="57"/>
                </a:lnTo>
                <a:lnTo>
                  <a:pt x="302" y="61"/>
                </a:lnTo>
                <a:lnTo>
                  <a:pt x="310" y="64"/>
                </a:lnTo>
                <a:lnTo>
                  <a:pt x="319" y="67"/>
                </a:lnTo>
                <a:lnTo>
                  <a:pt x="329" y="67"/>
                </a:lnTo>
                <a:lnTo>
                  <a:pt x="313" y="82"/>
                </a:lnTo>
                <a:lnTo>
                  <a:pt x="301" y="94"/>
                </a:lnTo>
                <a:lnTo>
                  <a:pt x="293" y="106"/>
                </a:lnTo>
                <a:lnTo>
                  <a:pt x="286" y="117"/>
                </a:lnTo>
                <a:lnTo>
                  <a:pt x="277" y="138"/>
                </a:lnTo>
                <a:lnTo>
                  <a:pt x="268" y="154"/>
                </a:lnTo>
                <a:lnTo>
                  <a:pt x="265" y="153"/>
                </a:lnTo>
                <a:lnTo>
                  <a:pt x="260" y="150"/>
                </a:lnTo>
                <a:lnTo>
                  <a:pt x="253" y="146"/>
                </a:lnTo>
                <a:lnTo>
                  <a:pt x="246" y="141"/>
                </a:lnTo>
                <a:lnTo>
                  <a:pt x="240" y="136"/>
                </a:lnTo>
                <a:lnTo>
                  <a:pt x="234" y="130"/>
                </a:lnTo>
                <a:lnTo>
                  <a:pt x="230" y="126"/>
                </a:lnTo>
                <a:lnTo>
                  <a:pt x="229" y="123"/>
                </a:lnTo>
                <a:lnTo>
                  <a:pt x="230" y="114"/>
                </a:lnTo>
                <a:lnTo>
                  <a:pt x="232" y="107"/>
                </a:lnTo>
                <a:lnTo>
                  <a:pt x="235" y="100"/>
                </a:lnTo>
                <a:lnTo>
                  <a:pt x="240" y="95"/>
                </a:lnTo>
                <a:lnTo>
                  <a:pt x="249" y="86"/>
                </a:lnTo>
                <a:lnTo>
                  <a:pt x="255" y="80"/>
                </a:lnTo>
                <a:lnTo>
                  <a:pt x="233" y="68"/>
                </a:lnTo>
                <a:lnTo>
                  <a:pt x="215" y="60"/>
                </a:lnTo>
                <a:lnTo>
                  <a:pt x="207" y="55"/>
                </a:lnTo>
                <a:lnTo>
                  <a:pt x="200" y="49"/>
                </a:lnTo>
                <a:lnTo>
                  <a:pt x="195" y="41"/>
                </a:lnTo>
                <a:lnTo>
                  <a:pt x="189" y="31"/>
                </a:lnTo>
                <a:lnTo>
                  <a:pt x="179" y="34"/>
                </a:lnTo>
                <a:lnTo>
                  <a:pt x="171" y="37"/>
                </a:lnTo>
                <a:lnTo>
                  <a:pt x="163" y="41"/>
                </a:lnTo>
                <a:lnTo>
                  <a:pt x="156" y="45"/>
                </a:lnTo>
                <a:lnTo>
                  <a:pt x="150" y="50"/>
                </a:lnTo>
                <a:lnTo>
                  <a:pt x="144" y="55"/>
                </a:lnTo>
                <a:lnTo>
                  <a:pt x="140" y="61"/>
                </a:lnTo>
                <a:lnTo>
                  <a:pt x="136" y="67"/>
                </a:lnTo>
                <a:lnTo>
                  <a:pt x="132" y="74"/>
                </a:lnTo>
                <a:lnTo>
                  <a:pt x="130" y="81"/>
                </a:lnTo>
                <a:lnTo>
                  <a:pt x="128" y="88"/>
                </a:lnTo>
                <a:lnTo>
                  <a:pt x="126" y="95"/>
                </a:lnTo>
                <a:lnTo>
                  <a:pt x="123" y="109"/>
                </a:lnTo>
                <a:lnTo>
                  <a:pt x="122" y="123"/>
                </a:lnTo>
                <a:lnTo>
                  <a:pt x="122" y="125"/>
                </a:lnTo>
                <a:lnTo>
                  <a:pt x="120" y="127"/>
                </a:lnTo>
                <a:lnTo>
                  <a:pt x="118" y="129"/>
                </a:lnTo>
                <a:lnTo>
                  <a:pt x="115" y="131"/>
                </a:lnTo>
                <a:lnTo>
                  <a:pt x="108" y="135"/>
                </a:lnTo>
                <a:lnTo>
                  <a:pt x="103" y="136"/>
                </a:lnTo>
                <a:lnTo>
                  <a:pt x="96" y="135"/>
                </a:lnTo>
                <a:lnTo>
                  <a:pt x="89" y="132"/>
                </a:lnTo>
                <a:lnTo>
                  <a:pt x="83" y="129"/>
                </a:lnTo>
                <a:lnTo>
                  <a:pt x="77" y="125"/>
                </a:lnTo>
                <a:lnTo>
                  <a:pt x="66" y="116"/>
                </a:lnTo>
                <a:lnTo>
                  <a:pt x="58" y="105"/>
                </a:lnTo>
                <a:lnTo>
                  <a:pt x="48" y="94"/>
                </a:lnTo>
                <a:lnTo>
                  <a:pt x="38" y="84"/>
                </a:lnTo>
                <a:lnTo>
                  <a:pt x="33" y="80"/>
                </a:lnTo>
                <a:lnTo>
                  <a:pt x="28" y="76"/>
                </a:lnTo>
                <a:lnTo>
                  <a:pt x="22" y="74"/>
                </a:lnTo>
                <a:lnTo>
                  <a:pt x="16" y="73"/>
                </a:lnTo>
                <a:lnTo>
                  <a:pt x="3" y="7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273" name="Freeform 225"/>
          <p:cNvSpPr>
            <a:spLocks/>
          </p:cNvSpPr>
          <p:nvPr>
            <p:custDataLst>
              <p:tags r:id="rId152"/>
            </p:custDataLst>
          </p:nvPr>
        </p:nvSpPr>
        <p:spPr bwMode="auto">
          <a:xfrm>
            <a:off x="2630488" y="3473062"/>
            <a:ext cx="133350" cy="116681"/>
          </a:xfrm>
          <a:custGeom>
            <a:avLst/>
            <a:gdLst/>
            <a:ahLst/>
            <a:cxnLst>
              <a:cxn ang="0">
                <a:pos x="297" y="181"/>
              </a:cxn>
              <a:cxn ang="0">
                <a:pos x="296" y="185"/>
              </a:cxn>
              <a:cxn ang="0">
                <a:pos x="291" y="194"/>
              </a:cxn>
              <a:cxn ang="0">
                <a:pos x="282" y="199"/>
              </a:cxn>
              <a:cxn ang="0">
                <a:pos x="272" y="201"/>
              </a:cxn>
              <a:cxn ang="0">
                <a:pos x="263" y="207"/>
              </a:cxn>
              <a:cxn ang="0">
                <a:pos x="253" y="229"/>
              </a:cxn>
              <a:cxn ang="0">
                <a:pos x="242" y="254"/>
              </a:cxn>
              <a:cxn ang="0">
                <a:pos x="231" y="267"/>
              </a:cxn>
              <a:cxn ang="0">
                <a:pos x="221" y="273"/>
              </a:cxn>
              <a:cxn ang="0">
                <a:pos x="200" y="281"/>
              </a:cxn>
              <a:cxn ang="0">
                <a:pos x="164" y="290"/>
              </a:cxn>
              <a:cxn ang="0">
                <a:pos x="139" y="293"/>
              </a:cxn>
              <a:cxn ang="0">
                <a:pos x="123" y="293"/>
              </a:cxn>
              <a:cxn ang="0">
                <a:pos x="106" y="290"/>
              </a:cxn>
              <a:cxn ang="0">
                <a:pos x="92" y="286"/>
              </a:cxn>
              <a:cxn ang="0">
                <a:pos x="80" y="278"/>
              </a:cxn>
              <a:cxn ang="0">
                <a:pos x="71" y="268"/>
              </a:cxn>
              <a:cxn ang="0">
                <a:pos x="1" y="236"/>
              </a:cxn>
              <a:cxn ang="0">
                <a:pos x="0" y="88"/>
              </a:cxn>
              <a:cxn ang="0">
                <a:pos x="1" y="49"/>
              </a:cxn>
              <a:cxn ang="0">
                <a:pos x="4" y="35"/>
              </a:cxn>
              <a:cxn ang="0">
                <a:pos x="11" y="21"/>
              </a:cxn>
              <a:cxn ang="0">
                <a:pos x="20" y="8"/>
              </a:cxn>
              <a:cxn ang="0">
                <a:pos x="41" y="2"/>
              </a:cxn>
              <a:cxn ang="0">
                <a:pos x="53" y="0"/>
              </a:cxn>
              <a:cxn ang="0">
                <a:pos x="72" y="6"/>
              </a:cxn>
              <a:cxn ang="0">
                <a:pos x="80" y="7"/>
              </a:cxn>
              <a:cxn ang="0">
                <a:pos x="84" y="4"/>
              </a:cxn>
              <a:cxn ang="0">
                <a:pos x="87" y="5"/>
              </a:cxn>
              <a:cxn ang="0">
                <a:pos x="90" y="11"/>
              </a:cxn>
              <a:cxn ang="0">
                <a:pos x="99" y="19"/>
              </a:cxn>
              <a:cxn ang="0">
                <a:pos x="121" y="31"/>
              </a:cxn>
              <a:cxn ang="0">
                <a:pos x="148" y="41"/>
              </a:cxn>
              <a:cxn ang="0">
                <a:pos x="182" y="59"/>
              </a:cxn>
              <a:cxn ang="0">
                <a:pos x="210" y="79"/>
              </a:cxn>
              <a:cxn ang="0">
                <a:pos x="241" y="102"/>
              </a:cxn>
              <a:cxn ang="0">
                <a:pos x="261" y="117"/>
              </a:cxn>
              <a:cxn ang="0">
                <a:pos x="266" y="124"/>
              </a:cxn>
              <a:cxn ang="0">
                <a:pos x="280" y="135"/>
              </a:cxn>
              <a:cxn ang="0">
                <a:pos x="299" y="151"/>
              </a:cxn>
              <a:cxn ang="0">
                <a:pos x="306" y="161"/>
              </a:cxn>
              <a:cxn ang="0">
                <a:pos x="304" y="166"/>
              </a:cxn>
            </a:cxnLst>
            <a:rect l="0" t="0" r="r" b="b"/>
            <a:pathLst>
              <a:path w="306" h="293">
                <a:moveTo>
                  <a:pt x="300" y="169"/>
                </a:moveTo>
                <a:lnTo>
                  <a:pt x="297" y="181"/>
                </a:lnTo>
                <a:lnTo>
                  <a:pt x="297" y="185"/>
                </a:lnTo>
                <a:lnTo>
                  <a:pt x="296" y="185"/>
                </a:lnTo>
                <a:lnTo>
                  <a:pt x="294" y="187"/>
                </a:lnTo>
                <a:lnTo>
                  <a:pt x="291" y="194"/>
                </a:lnTo>
                <a:lnTo>
                  <a:pt x="286" y="197"/>
                </a:lnTo>
                <a:lnTo>
                  <a:pt x="282" y="199"/>
                </a:lnTo>
                <a:lnTo>
                  <a:pt x="276" y="200"/>
                </a:lnTo>
                <a:lnTo>
                  <a:pt x="272" y="201"/>
                </a:lnTo>
                <a:lnTo>
                  <a:pt x="267" y="203"/>
                </a:lnTo>
                <a:lnTo>
                  <a:pt x="263" y="207"/>
                </a:lnTo>
                <a:lnTo>
                  <a:pt x="260" y="212"/>
                </a:lnTo>
                <a:lnTo>
                  <a:pt x="253" y="229"/>
                </a:lnTo>
                <a:lnTo>
                  <a:pt x="248" y="242"/>
                </a:lnTo>
                <a:lnTo>
                  <a:pt x="242" y="254"/>
                </a:lnTo>
                <a:lnTo>
                  <a:pt x="236" y="263"/>
                </a:lnTo>
                <a:lnTo>
                  <a:pt x="231" y="267"/>
                </a:lnTo>
                <a:lnTo>
                  <a:pt x="227" y="270"/>
                </a:lnTo>
                <a:lnTo>
                  <a:pt x="221" y="273"/>
                </a:lnTo>
                <a:lnTo>
                  <a:pt x="215" y="276"/>
                </a:lnTo>
                <a:lnTo>
                  <a:pt x="200" y="281"/>
                </a:lnTo>
                <a:lnTo>
                  <a:pt x="181" y="286"/>
                </a:lnTo>
                <a:lnTo>
                  <a:pt x="164" y="290"/>
                </a:lnTo>
                <a:lnTo>
                  <a:pt x="148" y="292"/>
                </a:lnTo>
                <a:lnTo>
                  <a:pt x="139" y="293"/>
                </a:lnTo>
                <a:lnTo>
                  <a:pt x="130" y="293"/>
                </a:lnTo>
                <a:lnTo>
                  <a:pt x="123" y="293"/>
                </a:lnTo>
                <a:lnTo>
                  <a:pt x="114" y="292"/>
                </a:lnTo>
                <a:lnTo>
                  <a:pt x="106" y="290"/>
                </a:lnTo>
                <a:lnTo>
                  <a:pt x="98" y="288"/>
                </a:lnTo>
                <a:lnTo>
                  <a:pt x="92" y="286"/>
                </a:lnTo>
                <a:lnTo>
                  <a:pt x="85" y="282"/>
                </a:lnTo>
                <a:lnTo>
                  <a:pt x="80" y="278"/>
                </a:lnTo>
                <a:lnTo>
                  <a:pt x="74" y="274"/>
                </a:lnTo>
                <a:lnTo>
                  <a:pt x="71" y="268"/>
                </a:lnTo>
                <a:lnTo>
                  <a:pt x="68" y="262"/>
                </a:lnTo>
                <a:lnTo>
                  <a:pt x="1" y="236"/>
                </a:lnTo>
                <a:lnTo>
                  <a:pt x="1" y="119"/>
                </a:lnTo>
                <a:lnTo>
                  <a:pt x="0" y="88"/>
                </a:lnTo>
                <a:lnTo>
                  <a:pt x="0" y="56"/>
                </a:lnTo>
                <a:lnTo>
                  <a:pt x="1" y="49"/>
                </a:lnTo>
                <a:lnTo>
                  <a:pt x="2" y="42"/>
                </a:lnTo>
                <a:lnTo>
                  <a:pt x="4" y="35"/>
                </a:lnTo>
                <a:lnTo>
                  <a:pt x="6" y="28"/>
                </a:lnTo>
                <a:lnTo>
                  <a:pt x="11" y="21"/>
                </a:lnTo>
                <a:lnTo>
                  <a:pt x="15" y="14"/>
                </a:lnTo>
                <a:lnTo>
                  <a:pt x="20" y="8"/>
                </a:lnTo>
                <a:lnTo>
                  <a:pt x="28" y="2"/>
                </a:lnTo>
                <a:lnTo>
                  <a:pt x="41" y="2"/>
                </a:lnTo>
                <a:lnTo>
                  <a:pt x="48" y="0"/>
                </a:lnTo>
                <a:lnTo>
                  <a:pt x="53" y="0"/>
                </a:lnTo>
                <a:lnTo>
                  <a:pt x="68" y="2"/>
                </a:lnTo>
                <a:lnTo>
                  <a:pt x="72" y="6"/>
                </a:lnTo>
                <a:lnTo>
                  <a:pt x="76" y="7"/>
                </a:lnTo>
                <a:lnTo>
                  <a:pt x="80" y="7"/>
                </a:lnTo>
                <a:lnTo>
                  <a:pt x="82" y="6"/>
                </a:lnTo>
                <a:lnTo>
                  <a:pt x="84" y="4"/>
                </a:lnTo>
                <a:lnTo>
                  <a:pt x="86" y="4"/>
                </a:lnTo>
                <a:lnTo>
                  <a:pt x="87" y="5"/>
                </a:lnTo>
                <a:lnTo>
                  <a:pt x="87" y="9"/>
                </a:lnTo>
                <a:lnTo>
                  <a:pt x="90" y="11"/>
                </a:lnTo>
                <a:lnTo>
                  <a:pt x="94" y="15"/>
                </a:lnTo>
                <a:lnTo>
                  <a:pt x="99" y="19"/>
                </a:lnTo>
                <a:lnTo>
                  <a:pt x="107" y="23"/>
                </a:lnTo>
                <a:lnTo>
                  <a:pt x="121" y="31"/>
                </a:lnTo>
                <a:lnTo>
                  <a:pt x="127" y="34"/>
                </a:lnTo>
                <a:lnTo>
                  <a:pt x="148" y="41"/>
                </a:lnTo>
                <a:lnTo>
                  <a:pt x="165" y="49"/>
                </a:lnTo>
                <a:lnTo>
                  <a:pt x="182" y="59"/>
                </a:lnTo>
                <a:lnTo>
                  <a:pt x="196" y="69"/>
                </a:lnTo>
                <a:lnTo>
                  <a:pt x="210" y="79"/>
                </a:lnTo>
                <a:lnTo>
                  <a:pt x="226" y="91"/>
                </a:lnTo>
                <a:lnTo>
                  <a:pt x="241" y="102"/>
                </a:lnTo>
                <a:lnTo>
                  <a:pt x="260" y="113"/>
                </a:lnTo>
                <a:lnTo>
                  <a:pt x="261" y="117"/>
                </a:lnTo>
                <a:lnTo>
                  <a:pt x="263" y="120"/>
                </a:lnTo>
                <a:lnTo>
                  <a:pt x="266" y="124"/>
                </a:lnTo>
                <a:lnTo>
                  <a:pt x="270" y="128"/>
                </a:lnTo>
                <a:lnTo>
                  <a:pt x="280" y="135"/>
                </a:lnTo>
                <a:lnTo>
                  <a:pt x="291" y="144"/>
                </a:lnTo>
                <a:lnTo>
                  <a:pt x="299" y="151"/>
                </a:lnTo>
                <a:lnTo>
                  <a:pt x="305" y="158"/>
                </a:lnTo>
                <a:lnTo>
                  <a:pt x="306" y="161"/>
                </a:lnTo>
                <a:lnTo>
                  <a:pt x="306" y="164"/>
                </a:lnTo>
                <a:lnTo>
                  <a:pt x="304" y="166"/>
                </a:lnTo>
                <a:lnTo>
                  <a:pt x="300" y="16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274" name="Freeform 226"/>
          <p:cNvSpPr>
            <a:spLocks/>
          </p:cNvSpPr>
          <p:nvPr>
            <p:custDataLst>
              <p:tags r:id="rId153"/>
            </p:custDataLst>
          </p:nvPr>
        </p:nvSpPr>
        <p:spPr bwMode="auto">
          <a:xfrm>
            <a:off x="4176713" y="935838"/>
            <a:ext cx="236537" cy="69056"/>
          </a:xfrm>
          <a:custGeom>
            <a:avLst/>
            <a:gdLst/>
            <a:ahLst/>
            <a:cxnLst>
              <a:cxn ang="0">
                <a:pos x="74" y="19"/>
              </a:cxn>
              <a:cxn ang="0">
                <a:pos x="94" y="34"/>
              </a:cxn>
              <a:cxn ang="0">
                <a:pos x="110" y="27"/>
              </a:cxn>
              <a:cxn ang="0">
                <a:pos x="132" y="27"/>
              </a:cxn>
              <a:cxn ang="0">
                <a:pos x="161" y="44"/>
              </a:cxn>
              <a:cxn ang="0">
                <a:pos x="209" y="19"/>
              </a:cxn>
              <a:cxn ang="0">
                <a:pos x="243" y="19"/>
              </a:cxn>
              <a:cxn ang="0">
                <a:pos x="260" y="16"/>
              </a:cxn>
              <a:cxn ang="0">
                <a:pos x="269" y="14"/>
              </a:cxn>
              <a:cxn ang="0">
                <a:pos x="279" y="11"/>
              </a:cxn>
              <a:cxn ang="0">
                <a:pos x="286" y="3"/>
              </a:cxn>
              <a:cxn ang="0">
                <a:pos x="321" y="5"/>
              </a:cxn>
              <a:cxn ang="0">
                <a:pos x="333" y="12"/>
              </a:cxn>
              <a:cxn ang="0">
                <a:pos x="348" y="7"/>
              </a:cxn>
              <a:cxn ang="0">
                <a:pos x="353" y="0"/>
              </a:cxn>
              <a:cxn ang="0">
                <a:pos x="367" y="7"/>
              </a:cxn>
              <a:cxn ang="0">
                <a:pos x="389" y="7"/>
              </a:cxn>
              <a:cxn ang="0">
                <a:pos x="436" y="1"/>
              </a:cxn>
              <a:cxn ang="0">
                <a:pos x="482" y="6"/>
              </a:cxn>
              <a:cxn ang="0">
                <a:pos x="528" y="12"/>
              </a:cxn>
              <a:cxn ang="0">
                <a:pos x="545" y="49"/>
              </a:cxn>
              <a:cxn ang="0">
                <a:pos x="537" y="60"/>
              </a:cxn>
              <a:cxn ang="0">
                <a:pos x="513" y="62"/>
              </a:cxn>
              <a:cxn ang="0">
                <a:pos x="483" y="54"/>
              </a:cxn>
              <a:cxn ang="0">
                <a:pos x="413" y="44"/>
              </a:cxn>
              <a:cxn ang="0">
                <a:pos x="438" y="81"/>
              </a:cxn>
              <a:cxn ang="0">
                <a:pos x="471" y="102"/>
              </a:cxn>
              <a:cxn ang="0">
                <a:pos x="493" y="119"/>
              </a:cxn>
              <a:cxn ang="0">
                <a:pos x="475" y="136"/>
              </a:cxn>
              <a:cxn ang="0">
                <a:pos x="449" y="142"/>
              </a:cxn>
              <a:cxn ang="0">
                <a:pos x="426" y="141"/>
              </a:cxn>
              <a:cxn ang="0">
                <a:pos x="412" y="134"/>
              </a:cxn>
              <a:cxn ang="0">
                <a:pos x="399" y="130"/>
              </a:cxn>
              <a:cxn ang="0">
                <a:pos x="385" y="121"/>
              </a:cxn>
              <a:cxn ang="0">
                <a:pos x="375" y="104"/>
              </a:cxn>
              <a:cxn ang="0">
                <a:pos x="365" y="92"/>
              </a:cxn>
              <a:cxn ang="0">
                <a:pos x="344" y="84"/>
              </a:cxn>
              <a:cxn ang="0">
                <a:pos x="325" y="76"/>
              </a:cxn>
              <a:cxn ang="0">
                <a:pos x="303" y="87"/>
              </a:cxn>
              <a:cxn ang="0">
                <a:pos x="258" y="134"/>
              </a:cxn>
              <a:cxn ang="0">
                <a:pos x="236" y="163"/>
              </a:cxn>
              <a:cxn ang="0">
                <a:pos x="220" y="172"/>
              </a:cxn>
              <a:cxn ang="0">
                <a:pos x="188" y="167"/>
              </a:cxn>
              <a:cxn ang="0">
                <a:pos x="165" y="155"/>
              </a:cxn>
              <a:cxn ang="0">
                <a:pos x="113" y="105"/>
              </a:cxn>
              <a:cxn ang="0">
                <a:pos x="95" y="91"/>
              </a:cxn>
              <a:cxn ang="0">
                <a:pos x="60" y="76"/>
              </a:cxn>
              <a:cxn ang="0">
                <a:pos x="16" y="58"/>
              </a:cxn>
              <a:cxn ang="0">
                <a:pos x="11" y="34"/>
              </a:cxn>
              <a:cxn ang="0">
                <a:pos x="28" y="19"/>
              </a:cxn>
              <a:cxn ang="0">
                <a:pos x="47" y="12"/>
              </a:cxn>
            </a:cxnLst>
            <a:rect l="0" t="0" r="r" b="b"/>
            <a:pathLst>
              <a:path w="546" h="173">
                <a:moveTo>
                  <a:pt x="47" y="12"/>
                </a:moveTo>
                <a:lnTo>
                  <a:pt x="61" y="15"/>
                </a:lnTo>
                <a:lnTo>
                  <a:pt x="74" y="19"/>
                </a:lnTo>
                <a:lnTo>
                  <a:pt x="61" y="38"/>
                </a:lnTo>
                <a:lnTo>
                  <a:pt x="87" y="38"/>
                </a:lnTo>
                <a:lnTo>
                  <a:pt x="94" y="34"/>
                </a:lnTo>
                <a:lnTo>
                  <a:pt x="102" y="31"/>
                </a:lnTo>
                <a:lnTo>
                  <a:pt x="107" y="29"/>
                </a:lnTo>
                <a:lnTo>
                  <a:pt x="110" y="27"/>
                </a:lnTo>
                <a:lnTo>
                  <a:pt x="112" y="23"/>
                </a:lnTo>
                <a:lnTo>
                  <a:pt x="113" y="19"/>
                </a:lnTo>
                <a:lnTo>
                  <a:pt x="132" y="27"/>
                </a:lnTo>
                <a:lnTo>
                  <a:pt x="142" y="32"/>
                </a:lnTo>
                <a:lnTo>
                  <a:pt x="150" y="36"/>
                </a:lnTo>
                <a:lnTo>
                  <a:pt x="161" y="44"/>
                </a:lnTo>
                <a:lnTo>
                  <a:pt x="161" y="19"/>
                </a:lnTo>
                <a:lnTo>
                  <a:pt x="188" y="19"/>
                </a:lnTo>
                <a:lnTo>
                  <a:pt x="209" y="19"/>
                </a:lnTo>
                <a:lnTo>
                  <a:pt x="224" y="19"/>
                </a:lnTo>
                <a:lnTo>
                  <a:pt x="233" y="19"/>
                </a:lnTo>
                <a:lnTo>
                  <a:pt x="243" y="19"/>
                </a:lnTo>
                <a:lnTo>
                  <a:pt x="253" y="19"/>
                </a:lnTo>
                <a:lnTo>
                  <a:pt x="256" y="17"/>
                </a:lnTo>
                <a:lnTo>
                  <a:pt x="260" y="16"/>
                </a:lnTo>
                <a:lnTo>
                  <a:pt x="264" y="14"/>
                </a:lnTo>
                <a:lnTo>
                  <a:pt x="266" y="12"/>
                </a:lnTo>
                <a:lnTo>
                  <a:pt x="269" y="14"/>
                </a:lnTo>
                <a:lnTo>
                  <a:pt x="273" y="14"/>
                </a:lnTo>
                <a:lnTo>
                  <a:pt x="276" y="13"/>
                </a:lnTo>
                <a:lnTo>
                  <a:pt x="279" y="11"/>
                </a:lnTo>
                <a:lnTo>
                  <a:pt x="281" y="8"/>
                </a:lnTo>
                <a:lnTo>
                  <a:pt x="285" y="6"/>
                </a:lnTo>
                <a:lnTo>
                  <a:pt x="286" y="3"/>
                </a:lnTo>
                <a:lnTo>
                  <a:pt x="287" y="0"/>
                </a:lnTo>
                <a:lnTo>
                  <a:pt x="320" y="0"/>
                </a:lnTo>
                <a:lnTo>
                  <a:pt x="321" y="5"/>
                </a:lnTo>
                <a:lnTo>
                  <a:pt x="324" y="9"/>
                </a:lnTo>
                <a:lnTo>
                  <a:pt x="329" y="11"/>
                </a:lnTo>
                <a:lnTo>
                  <a:pt x="333" y="12"/>
                </a:lnTo>
                <a:lnTo>
                  <a:pt x="338" y="11"/>
                </a:lnTo>
                <a:lnTo>
                  <a:pt x="345" y="9"/>
                </a:lnTo>
                <a:lnTo>
                  <a:pt x="348" y="7"/>
                </a:lnTo>
                <a:lnTo>
                  <a:pt x="351" y="5"/>
                </a:lnTo>
                <a:lnTo>
                  <a:pt x="353" y="3"/>
                </a:lnTo>
                <a:lnTo>
                  <a:pt x="353" y="0"/>
                </a:lnTo>
                <a:lnTo>
                  <a:pt x="358" y="3"/>
                </a:lnTo>
                <a:lnTo>
                  <a:pt x="363" y="6"/>
                </a:lnTo>
                <a:lnTo>
                  <a:pt x="367" y="7"/>
                </a:lnTo>
                <a:lnTo>
                  <a:pt x="371" y="8"/>
                </a:lnTo>
                <a:lnTo>
                  <a:pt x="380" y="8"/>
                </a:lnTo>
                <a:lnTo>
                  <a:pt x="389" y="7"/>
                </a:lnTo>
                <a:lnTo>
                  <a:pt x="404" y="3"/>
                </a:lnTo>
                <a:lnTo>
                  <a:pt x="420" y="0"/>
                </a:lnTo>
                <a:lnTo>
                  <a:pt x="436" y="1"/>
                </a:lnTo>
                <a:lnTo>
                  <a:pt x="453" y="2"/>
                </a:lnTo>
                <a:lnTo>
                  <a:pt x="467" y="4"/>
                </a:lnTo>
                <a:lnTo>
                  <a:pt x="482" y="6"/>
                </a:lnTo>
                <a:lnTo>
                  <a:pt x="498" y="9"/>
                </a:lnTo>
                <a:lnTo>
                  <a:pt x="513" y="11"/>
                </a:lnTo>
                <a:lnTo>
                  <a:pt x="528" y="12"/>
                </a:lnTo>
                <a:lnTo>
                  <a:pt x="546" y="12"/>
                </a:lnTo>
                <a:lnTo>
                  <a:pt x="546" y="44"/>
                </a:lnTo>
                <a:lnTo>
                  <a:pt x="545" y="49"/>
                </a:lnTo>
                <a:lnTo>
                  <a:pt x="542" y="55"/>
                </a:lnTo>
                <a:lnTo>
                  <a:pt x="539" y="58"/>
                </a:lnTo>
                <a:lnTo>
                  <a:pt x="537" y="60"/>
                </a:lnTo>
                <a:lnTo>
                  <a:pt x="535" y="61"/>
                </a:lnTo>
                <a:lnTo>
                  <a:pt x="533" y="62"/>
                </a:lnTo>
                <a:lnTo>
                  <a:pt x="513" y="62"/>
                </a:lnTo>
                <a:lnTo>
                  <a:pt x="498" y="60"/>
                </a:lnTo>
                <a:lnTo>
                  <a:pt x="490" y="57"/>
                </a:lnTo>
                <a:lnTo>
                  <a:pt x="483" y="54"/>
                </a:lnTo>
                <a:lnTo>
                  <a:pt x="478" y="50"/>
                </a:lnTo>
                <a:lnTo>
                  <a:pt x="472" y="44"/>
                </a:lnTo>
                <a:lnTo>
                  <a:pt x="413" y="44"/>
                </a:lnTo>
                <a:lnTo>
                  <a:pt x="421" y="58"/>
                </a:lnTo>
                <a:lnTo>
                  <a:pt x="428" y="70"/>
                </a:lnTo>
                <a:lnTo>
                  <a:pt x="438" y="81"/>
                </a:lnTo>
                <a:lnTo>
                  <a:pt x="448" y="89"/>
                </a:lnTo>
                <a:lnTo>
                  <a:pt x="459" y="96"/>
                </a:lnTo>
                <a:lnTo>
                  <a:pt x="471" y="102"/>
                </a:lnTo>
                <a:lnTo>
                  <a:pt x="484" y="107"/>
                </a:lnTo>
                <a:lnTo>
                  <a:pt x="499" y="111"/>
                </a:lnTo>
                <a:lnTo>
                  <a:pt x="493" y="119"/>
                </a:lnTo>
                <a:lnTo>
                  <a:pt x="488" y="126"/>
                </a:lnTo>
                <a:lnTo>
                  <a:pt x="481" y="132"/>
                </a:lnTo>
                <a:lnTo>
                  <a:pt x="475" y="136"/>
                </a:lnTo>
                <a:lnTo>
                  <a:pt x="466" y="139"/>
                </a:lnTo>
                <a:lnTo>
                  <a:pt x="458" y="141"/>
                </a:lnTo>
                <a:lnTo>
                  <a:pt x="449" y="142"/>
                </a:lnTo>
                <a:lnTo>
                  <a:pt x="439" y="142"/>
                </a:lnTo>
                <a:lnTo>
                  <a:pt x="432" y="142"/>
                </a:lnTo>
                <a:lnTo>
                  <a:pt x="426" y="141"/>
                </a:lnTo>
                <a:lnTo>
                  <a:pt x="421" y="139"/>
                </a:lnTo>
                <a:lnTo>
                  <a:pt x="416" y="136"/>
                </a:lnTo>
                <a:lnTo>
                  <a:pt x="412" y="134"/>
                </a:lnTo>
                <a:lnTo>
                  <a:pt x="409" y="132"/>
                </a:lnTo>
                <a:lnTo>
                  <a:pt x="404" y="131"/>
                </a:lnTo>
                <a:lnTo>
                  <a:pt x="399" y="130"/>
                </a:lnTo>
                <a:lnTo>
                  <a:pt x="394" y="128"/>
                </a:lnTo>
                <a:lnTo>
                  <a:pt x="390" y="125"/>
                </a:lnTo>
                <a:lnTo>
                  <a:pt x="385" y="121"/>
                </a:lnTo>
                <a:lnTo>
                  <a:pt x="381" y="116"/>
                </a:lnTo>
                <a:lnTo>
                  <a:pt x="378" y="110"/>
                </a:lnTo>
                <a:lnTo>
                  <a:pt x="375" y="104"/>
                </a:lnTo>
                <a:lnTo>
                  <a:pt x="374" y="98"/>
                </a:lnTo>
                <a:lnTo>
                  <a:pt x="372" y="93"/>
                </a:lnTo>
                <a:lnTo>
                  <a:pt x="365" y="92"/>
                </a:lnTo>
                <a:lnTo>
                  <a:pt x="358" y="90"/>
                </a:lnTo>
                <a:lnTo>
                  <a:pt x="351" y="87"/>
                </a:lnTo>
                <a:lnTo>
                  <a:pt x="344" y="84"/>
                </a:lnTo>
                <a:lnTo>
                  <a:pt x="337" y="81"/>
                </a:lnTo>
                <a:lnTo>
                  <a:pt x="331" y="78"/>
                </a:lnTo>
                <a:lnTo>
                  <a:pt x="325" y="76"/>
                </a:lnTo>
                <a:lnTo>
                  <a:pt x="320" y="75"/>
                </a:lnTo>
                <a:lnTo>
                  <a:pt x="314" y="78"/>
                </a:lnTo>
                <a:lnTo>
                  <a:pt x="303" y="87"/>
                </a:lnTo>
                <a:lnTo>
                  <a:pt x="289" y="101"/>
                </a:lnTo>
                <a:lnTo>
                  <a:pt x="274" y="117"/>
                </a:lnTo>
                <a:lnTo>
                  <a:pt x="258" y="134"/>
                </a:lnTo>
                <a:lnTo>
                  <a:pt x="246" y="150"/>
                </a:lnTo>
                <a:lnTo>
                  <a:pt x="241" y="157"/>
                </a:lnTo>
                <a:lnTo>
                  <a:pt x="236" y="163"/>
                </a:lnTo>
                <a:lnTo>
                  <a:pt x="234" y="169"/>
                </a:lnTo>
                <a:lnTo>
                  <a:pt x="233" y="173"/>
                </a:lnTo>
                <a:lnTo>
                  <a:pt x="220" y="172"/>
                </a:lnTo>
                <a:lnTo>
                  <a:pt x="209" y="171"/>
                </a:lnTo>
                <a:lnTo>
                  <a:pt x="198" y="169"/>
                </a:lnTo>
                <a:lnTo>
                  <a:pt x="188" y="167"/>
                </a:lnTo>
                <a:lnTo>
                  <a:pt x="180" y="163"/>
                </a:lnTo>
                <a:lnTo>
                  <a:pt x="172" y="160"/>
                </a:lnTo>
                <a:lnTo>
                  <a:pt x="165" y="155"/>
                </a:lnTo>
                <a:lnTo>
                  <a:pt x="158" y="151"/>
                </a:lnTo>
                <a:lnTo>
                  <a:pt x="136" y="128"/>
                </a:lnTo>
                <a:lnTo>
                  <a:pt x="113" y="105"/>
                </a:lnTo>
                <a:lnTo>
                  <a:pt x="108" y="100"/>
                </a:lnTo>
                <a:lnTo>
                  <a:pt x="101" y="95"/>
                </a:lnTo>
                <a:lnTo>
                  <a:pt x="95" y="91"/>
                </a:lnTo>
                <a:lnTo>
                  <a:pt x="88" y="87"/>
                </a:lnTo>
                <a:lnTo>
                  <a:pt x="74" y="81"/>
                </a:lnTo>
                <a:lnTo>
                  <a:pt x="60" y="76"/>
                </a:lnTo>
                <a:lnTo>
                  <a:pt x="45" y="70"/>
                </a:lnTo>
                <a:lnTo>
                  <a:pt x="31" y="64"/>
                </a:lnTo>
                <a:lnTo>
                  <a:pt x="16" y="58"/>
                </a:lnTo>
                <a:lnTo>
                  <a:pt x="0" y="50"/>
                </a:lnTo>
                <a:lnTo>
                  <a:pt x="6" y="41"/>
                </a:lnTo>
                <a:lnTo>
                  <a:pt x="11" y="34"/>
                </a:lnTo>
                <a:lnTo>
                  <a:pt x="16" y="28"/>
                </a:lnTo>
                <a:lnTo>
                  <a:pt x="21" y="22"/>
                </a:lnTo>
                <a:lnTo>
                  <a:pt x="28" y="19"/>
                </a:lnTo>
                <a:lnTo>
                  <a:pt x="33" y="15"/>
                </a:lnTo>
                <a:lnTo>
                  <a:pt x="40" y="13"/>
                </a:lnTo>
                <a:lnTo>
                  <a:pt x="47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275" name="Freeform 227"/>
          <p:cNvSpPr>
            <a:spLocks/>
          </p:cNvSpPr>
          <p:nvPr>
            <p:custDataLst>
              <p:tags r:id="rId154"/>
            </p:custDataLst>
          </p:nvPr>
        </p:nvSpPr>
        <p:spPr bwMode="auto">
          <a:xfrm>
            <a:off x="4103691" y="1108477"/>
            <a:ext cx="449262" cy="271463"/>
          </a:xfrm>
          <a:custGeom>
            <a:avLst/>
            <a:gdLst/>
            <a:ahLst/>
            <a:cxnLst>
              <a:cxn ang="0">
                <a:pos x="240" y="622"/>
              </a:cxn>
              <a:cxn ang="0">
                <a:pos x="155" y="683"/>
              </a:cxn>
              <a:cxn ang="0">
                <a:pos x="32" y="654"/>
              </a:cxn>
              <a:cxn ang="0">
                <a:pos x="67" y="634"/>
              </a:cxn>
              <a:cxn ang="0">
                <a:pos x="18" y="596"/>
              </a:cxn>
              <a:cxn ang="0">
                <a:pos x="44" y="595"/>
              </a:cxn>
              <a:cxn ang="0">
                <a:pos x="67" y="567"/>
              </a:cxn>
              <a:cxn ang="0">
                <a:pos x="8" y="546"/>
              </a:cxn>
              <a:cxn ang="0">
                <a:pos x="74" y="523"/>
              </a:cxn>
              <a:cxn ang="0">
                <a:pos x="0" y="499"/>
              </a:cxn>
              <a:cxn ang="0">
                <a:pos x="20" y="456"/>
              </a:cxn>
              <a:cxn ang="0">
                <a:pos x="37" y="461"/>
              </a:cxn>
              <a:cxn ang="0">
                <a:pos x="77" y="449"/>
              </a:cxn>
              <a:cxn ang="0">
                <a:pos x="92" y="424"/>
              </a:cxn>
              <a:cxn ang="0">
                <a:pos x="130" y="409"/>
              </a:cxn>
              <a:cxn ang="0">
                <a:pos x="220" y="382"/>
              </a:cxn>
              <a:cxn ang="0">
                <a:pos x="227" y="339"/>
              </a:cxn>
              <a:cxn ang="0">
                <a:pos x="283" y="325"/>
              </a:cxn>
              <a:cxn ang="0">
                <a:pos x="282" y="310"/>
              </a:cxn>
              <a:cxn ang="0">
                <a:pos x="298" y="285"/>
              </a:cxn>
              <a:cxn ang="0">
                <a:pos x="335" y="243"/>
              </a:cxn>
              <a:cxn ang="0">
                <a:pos x="343" y="226"/>
              </a:cxn>
              <a:cxn ang="0">
                <a:pos x="390" y="200"/>
              </a:cxn>
              <a:cxn ang="0">
                <a:pos x="387" y="157"/>
              </a:cxn>
              <a:cxn ang="0">
                <a:pos x="373" y="142"/>
              </a:cxn>
              <a:cxn ang="0">
                <a:pos x="334" y="154"/>
              </a:cxn>
              <a:cxn ang="0">
                <a:pos x="390" y="103"/>
              </a:cxn>
              <a:cxn ang="0">
                <a:pos x="411" y="96"/>
              </a:cxn>
              <a:cxn ang="0">
                <a:pos x="463" y="114"/>
              </a:cxn>
              <a:cxn ang="0">
                <a:pos x="466" y="91"/>
              </a:cxn>
              <a:cxn ang="0">
                <a:pos x="558" y="61"/>
              </a:cxn>
              <a:cxn ang="0">
                <a:pos x="591" y="63"/>
              </a:cxn>
              <a:cxn ang="0">
                <a:pos x="645" y="55"/>
              </a:cxn>
              <a:cxn ang="0">
                <a:pos x="645" y="33"/>
              </a:cxn>
              <a:cxn ang="0">
                <a:pos x="699" y="13"/>
              </a:cxn>
              <a:cxn ang="0">
                <a:pos x="705" y="29"/>
              </a:cxn>
              <a:cxn ang="0">
                <a:pos x="712" y="40"/>
              </a:cxn>
              <a:cxn ang="0">
                <a:pos x="758" y="12"/>
              </a:cxn>
              <a:cxn ang="0">
                <a:pos x="817" y="6"/>
              </a:cxn>
              <a:cxn ang="0">
                <a:pos x="844" y="8"/>
              </a:cxn>
              <a:cxn ang="0">
                <a:pos x="862" y="11"/>
              </a:cxn>
              <a:cxn ang="0">
                <a:pos x="924" y="6"/>
              </a:cxn>
              <a:cxn ang="0">
                <a:pos x="1037" y="43"/>
              </a:cxn>
              <a:cxn ang="0">
                <a:pos x="1005" y="79"/>
              </a:cxn>
              <a:cxn ang="0">
                <a:pos x="930" y="55"/>
              </a:cxn>
              <a:cxn ang="0">
                <a:pos x="873" y="74"/>
              </a:cxn>
              <a:cxn ang="0">
                <a:pos x="848" y="116"/>
              </a:cxn>
              <a:cxn ang="0">
                <a:pos x="811" y="111"/>
              </a:cxn>
              <a:cxn ang="0">
                <a:pos x="745" y="128"/>
              </a:cxn>
              <a:cxn ang="0">
                <a:pos x="694" y="92"/>
              </a:cxn>
              <a:cxn ang="0">
                <a:pos x="620" y="112"/>
              </a:cxn>
              <a:cxn ang="0">
                <a:pos x="534" y="134"/>
              </a:cxn>
              <a:cxn ang="0">
                <a:pos x="486" y="210"/>
              </a:cxn>
              <a:cxn ang="0">
                <a:pos x="430" y="279"/>
              </a:cxn>
              <a:cxn ang="0">
                <a:pos x="399" y="364"/>
              </a:cxn>
              <a:cxn ang="0">
                <a:pos x="333" y="425"/>
              </a:cxn>
              <a:cxn ang="0">
                <a:pos x="355" y="497"/>
              </a:cxn>
              <a:cxn ang="0">
                <a:pos x="354" y="558"/>
              </a:cxn>
              <a:cxn ang="0">
                <a:pos x="331" y="615"/>
              </a:cxn>
              <a:cxn ang="0">
                <a:pos x="295" y="645"/>
              </a:cxn>
            </a:cxnLst>
            <a:rect l="0" t="0" r="r" b="b"/>
            <a:pathLst>
              <a:path w="1037" h="690">
                <a:moveTo>
                  <a:pt x="286" y="647"/>
                </a:moveTo>
                <a:lnTo>
                  <a:pt x="273" y="631"/>
                </a:lnTo>
                <a:lnTo>
                  <a:pt x="262" y="621"/>
                </a:lnTo>
                <a:lnTo>
                  <a:pt x="253" y="612"/>
                </a:lnTo>
                <a:lnTo>
                  <a:pt x="246" y="604"/>
                </a:lnTo>
                <a:lnTo>
                  <a:pt x="243" y="613"/>
                </a:lnTo>
                <a:lnTo>
                  <a:pt x="240" y="622"/>
                </a:lnTo>
                <a:lnTo>
                  <a:pt x="239" y="627"/>
                </a:lnTo>
                <a:lnTo>
                  <a:pt x="235" y="632"/>
                </a:lnTo>
                <a:lnTo>
                  <a:pt x="231" y="638"/>
                </a:lnTo>
                <a:lnTo>
                  <a:pt x="224" y="644"/>
                </a:lnTo>
                <a:lnTo>
                  <a:pt x="208" y="655"/>
                </a:lnTo>
                <a:lnTo>
                  <a:pt x="190" y="665"/>
                </a:lnTo>
                <a:lnTo>
                  <a:pt x="155" y="683"/>
                </a:lnTo>
                <a:lnTo>
                  <a:pt x="140" y="690"/>
                </a:lnTo>
                <a:lnTo>
                  <a:pt x="107" y="690"/>
                </a:lnTo>
                <a:lnTo>
                  <a:pt x="86" y="683"/>
                </a:lnTo>
                <a:lnTo>
                  <a:pt x="60" y="672"/>
                </a:lnTo>
                <a:lnTo>
                  <a:pt x="48" y="666"/>
                </a:lnTo>
                <a:lnTo>
                  <a:pt x="37" y="658"/>
                </a:lnTo>
                <a:lnTo>
                  <a:pt x="32" y="654"/>
                </a:lnTo>
                <a:lnTo>
                  <a:pt x="30" y="650"/>
                </a:lnTo>
                <a:lnTo>
                  <a:pt x="28" y="646"/>
                </a:lnTo>
                <a:lnTo>
                  <a:pt x="27" y="641"/>
                </a:lnTo>
                <a:lnTo>
                  <a:pt x="40" y="641"/>
                </a:lnTo>
                <a:lnTo>
                  <a:pt x="50" y="640"/>
                </a:lnTo>
                <a:lnTo>
                  <a:pt x="58" y="639"/>
                </a:lnTo>
                <a:lnTo>
                  <a:pt x="67" y="634"/>
                </a:lnTo>
                <a:lnTo>
                  <a:pt x="59" y="627"/>
                </a:lnTo>
                <a:lnTo>
                  <a:pt x="49" y="620"/>
                </a:lnTo>
                <a:lnTo>
                  <a:pt x="38" y="613"/>
                </a:lnTo>
                <a:lnTo>
                  <a:pt x="27" y="606"/>
                </a:lnTo>
                <a:lnTo>
                  <a:pt x="8" y="596"/>
                </a:lnTo>
                <a:lnTo>
                  <a:pt x="0" y="592"/>
                </a:lnTo>
                <a:lnTo>
                  <a:pt x="18" y="596"/>
                </a:lnTo>
                <a:lnTo>
                  <a:pt x="32" y="599"/>
                </a:lnTo>
                <a:lnTo>
                  <a:pt x="38" y="600"/>
                </a:lnTo>
                <a:lnTo>
                  <a:pt x="43" y="600"/>
                </a:lnTo>
                <a:lnTo>
                  <a:pt x="49" y="600"/>
                </a:lnTo>
                <a:lnTo>
                  <a:pt x="54" y="598"/>
                </a:lnTo>
                <a:lnTo>
                  <a:pt x="49" y="597"/>
                </a:lnTo>
                <a:lnTo>
                  <a:pt x="44" y="595"/>
                </a:lnTo>
                <a:lnTo>
                  <a:pt x="40" y="591"/>
                </a:lnTo>
                <a:lnTo>
                  <a:pt x="36" y="587"/>
                </a:lnTo>
                <a:lnTo>
                  <a:pt x="32" y="583"/>
                </a:lnTo>
                <a:lnTo>
                  <a:pt x="29" y="576"/>
                </a:lnTo>
                <a:lnTo>
                  <a:pt x="28" y="571"/>
                </a:lnTo>
                <a:lnTo>
                  <a:pt x="27" y="567"/>
                </a:lnTo>
                <a:lnTo>
                  <a:pt x="67" y="567"/>
                </a:lnTo>
                <a:lnTo>
                  <a:pt x="56" y="566"/>
                </a:lnTo>
                <a:lnTo>
                  <a:pt x="45" y="564"/>
                </a:lnTo>
                <a:lnTo>
                  <a:pt x="35" y="562"/>
                </a:lnTo>
                <a:lnTo>
                  <a:pt x="25" y="558"/>
                </a:lnTo>
                <a:lnTo>
                  <a:pt x="16" y="554"/>
                </a:lnTo>
                <a:lnTo>
                  <a:pt x="10" y="549"/>
                </a:lnTo>
                <a:lnTo>
                  <a:pt x="8" y="546"/>
                </a:lnTo>
                <a:lnTo>
                  <a:pt x="7" y="543"/>
                </a:lnTo>
                <a:lnTo>
                  <a:pt x="7" y="540"/>
                </a:lnTo>
                <a:lnTo>
                  <a:pt x="7" y="536"/>
                </a:lnTo>
                <a:lnTo>
                  <a:pt x="0" y="523"/>
                </a:lnTo>
                <a:lnTo>
                  <a:pt x="29" y="523"/>
                </a:lnTo>
                <a:lnTo>
                  <a:pt x="54" y="523"/>
                </a:lnTo>
                <a:lnTo>
                  <a:pt x="74" y="523"/>
                </a:lnTo>
                <a:lnTo>
                  <a:pt x="87" y="523"/>
                </a:lnTo>
                <a:lnTo>
                  <a:pt x="72" y="519"/>
                </a:lnTo>
                <a:lnTo>
                  <a:pt x="39" y="511"/>
                </a:lnTo>
                <a:lnTo>
                  <a:pt x="22" y="507"/>
                </a:lnTo>
                <a:lnTo>
                  <a:pt x="8" y="503"/>
                </a:lnTo>
                <a:lnTo>
                  <a:pt x="0" y="500"/>
                </a:lnTo>
                <a:lnTo>
                  <a:pt x="0" y="499"/>
                </a:lnTo>
                <a:lnTo>
                  <a:pt x="2" y="485"/>
                </a:lnTo>
                <a:lnTo>
                  <a:pt x="3" y="476"/>
                </a:lnTo>
                <a:lnTo>
                  <a:pt x="4" y="472"/>
                </a:lnTo>
                <a:lnTo>
                  <a:pt x="4" y="467"/>
                </a:lnTo>
                <a:lnTo>
                  <a:pt x="3" y="462"/>
                </a:lnTo>
                <a:lnTo>
                  <a:pt x="0" y="456"/>
                </a:lnTo>
                <a:lnTo>
                  <a:pt x="20" y="456"/>
                </a:lnTo>
                <a:lnTo>
                  <a:pt x="21" y="460"/>
                </a:lnTo>
                <a:lnTo>
                  <a:pt x="24" y="463"/>
                </a:lnTo>
                <a:lnTo>
                  <a:pt x="25" y="464"/>
                </a:lnTo>
                <a:lnTo>
                  <a:pt x="26" y="464"/>
                </a:lnTo>
                <a:lnTo>
                  <a:pt x="27" y="463"/>
                </a:lnTo>
                <a:lnTo>
                  <a:pt x="27" y="462"/>
                </a:lnTo>
                <a:lnTo>
                  <a:pt x="37" y="461"/>
                </a:lnTo>
                <a:lnTo>
                  <a:pt x="51" y="459"/>
                </a:lnTo>
                <a:lnTo>
                  <a:pt x="67" y="457"/>
                </a:lnTo>
                <a:lnTo>
                  <a:pt x="81" y="456"/>
                </a:lnTo>
                <a:lnTo>
                  <a:pt x="78" y="455"/>
                </a:lnTo>
                <a:lnTo>
                  <a:pt x="77" y="454"/>
                </a:lnTo>
                <a:lnTo>
                  <a:pt x="77" y="452"/>
                </a:lnTo>
                <a:lnTo>
                  <a:pt x="77" y="449"/>
                </a:lnTo>
                <a:lnTo>
                  <a:pt x="80" y="443"/>
                </a:lnTo>
                <a:lnTo>
                  <a:pt x="81" y="437"/>
                </a:lnTo>
                <a:lnTo>
                  <a:pt x="91" y="437"/>
                </a:lnTo>
                <a:lnTo>
                  <a:pt x="100" y="437"/>
                </a:lnTo>
                <a:lnTo>
                  <a:pt x="99" y="433"/>
                </a:lnTo>
                <a:lnTo>
                  <a:pt x="96" y="428"/>
                </a:lnTo>
                <a:lnTo>
                  <a:pt x="92" y="424"/>
                </a:lnTo>
                <a:lnTo>
                  <a:pt x="87" y="419"/>
                </a:lnTo>
                <a:lnTo>
                  <a:pt x="97" y="416"/>
                </a:lnTo>
                <a:lnTo>
                  <a:pt x="107" y="413"/>
                </a:lnTo>
                <a:lnTo>
                  <a:pt x="117" y="412"/>
                </a:lnTo>
                <a:lnTo>
                  <a:pt x="127" y="412"/>
                </a:lnTo>
                <a:lnTo>
                  <a:pt x="129" y="412"/>
                </a:lnTo>
                <a:lnTo>
                  <a:pt x="130" y="409"/>
                </a:lnTo>
                <a:lnTo>
                  <a:pt x="130" y="406"/>
                </a:lnTo>
                <a:lnTo>
                  <a:pt x="129" y="402"/>
                </a:lnTo>
                <a:lnTo>
                  <a:pt x="128" y="394"/>
                </a:lnTo>
                <a:lnTo>
                  <a:pt x="127" y="388"/>
                </a:lnTo>
                <a:lnTo>
                  <a:pt x="147" y="388"/>
                </a:lnTo>
                <a:lnTo>
                  <a:pt x="133" y="382"/>
                </a:lnTo>
                <a:lnTo>
                  <a:pt x="220" y="382"/>
                </a:lnTo>
                <a:lnTo>
                  <a:pt x="207" y="376"/>
                </a:lnTo>
                <a:lnTo>
                  <a:pt x="213" y="373"/>
                </a:lnTo>
                <a:lnTo>
                  <a:pt x="218" y="370"/>
                </a:lnTo>
                <a:lnTo>
                  <a:pt x="221" y="367"/>
                </a:lnTo>
                <a:lnTo>
                  <a:pt x="224" y="362"/>
                </a:lnTo>
                <a:lnTo>
                  <a:pt x="227" y="351"/>
                </a:lnTo>
                <a:lnTo>
                  <a:pt x="227" y="339"/>
                </a:lnTo>
                <a:lnTo>
                  <a:pt x="243" y="339"/>
                </a:lnTo>
                <a:lnTo>
                  <a:pt x="255" y="339"/>
                </a:lnTo>
                <a:lnTo>
                  <a:pt x="266" y="339"/>
                </a:lnTo>
                <a:lnTo>
                  <a:pt x="279" y="339"/>
                </a:lnTo>
                <a:lnTo>
                  <a:pt x="279" y="333"/>
                </a:lnTo>
                <a:lnTo>
                  <a:pt x="282" y="327"/>
                </a:lnTo>
                <a:lnTo>
                  <a:pt x="283" y="325"/>
                </a:lnTo>
                <a:lnTo>
                  <a:pt x="285" y="323"/>
                </a:lnTo>
                <a:lnTo>
                  <a:pt x="288" y="321"/>
                </a:lnTo>
                <a:lnTo>
                  <a:pt x="293" y="321"/>
                </a:lnTo>
                <a:lnTo>
                  <a:pt x="286" y="318"/>
                </a:lnTo>
                <a:lnTo>
                  <a:pt x="279" y="314"/>
                </a:lnTo>
                <a:lnTo>
                  <a:pt x="280" y="312"/>
                </a:lnTo>
                <a:lnTo>
                  <a:pt x="282" y="310"/>
                </a:lnTo>
                <a:lnTo>
                  <a:pt x="284" y="308"/>
                </a:lnTo>
                <a:lnTo>
                  <a:pt x="287" y="305"/>
                </a:lnTo>
                <a:lnTo>
                  <a:pt x="294" y="300"/>
                </a:lnTo>
                <a:lnTo>
                  <a:pt x="299" y="295"/>
                </a:lnTo>
                <a:lnTo>
                  <a:pt x="298" y="292"/>
                </a:lnTo>
                <a:lnTo>
                  <a:pt x="297" y="288"/>
                </a:lnTo>
                <a:lnTo>
                  <a:pt x="298" y="285"/>
                </a:lnTo>
                <a:lnTo>
                  <a:pt x="299" y="281"/>
                </a:lnTo>
                <a:lnTo>
                  <a:pt x="305" y="274"/>
                </a:lnTo>
                <a:lnTo>
                  <a:pt x="311" y="267"/>
                </a:lnTo>
                <a:lnTo>
                  <a:pt x="325" y="254"/>
                </a:lnTo>
                <a:lnTo>
                  <a:pt x="333" y="246"/>
                </a:lnTo>
                <a:lnTo>
                  <a:pt x="333" y="244"/>
                </a:lnTo>
                <a:lnTo>
                  <a:pt x="335" y="243"/>
                </a:lnTo>
                <a:lnTo>
                  <a:pt x="338" y="243"/>
                </a:lnTo>
                <a:lnTo>
                  <a:pt x="340" y="244"/>
                </a:lnTo>
                <a:lnTo>
                  <a:pt x="344" y="245"/>
                </a:lnTo>
                <a:lnTo>
                  <a:pt x="346" y="246"/>
                </a:lnTo>
                <a:lnTo>
                  <a:pt x="344" y="239"/>
                </a:lnTo>
                <a:lnTo>
                  <a:pt x="343" y="233"/>
                </a:lnTo>
                <a:lnTo>
                  <a:pt x="343" y="226"/>
                </a:lnTo>
                <a:lnTo>
                  <a:pt x="344" y="220"/>
                </a:lnTo>
                <a:lnTo>
                  <a:pt x="345" y="210"/>
                </a:lnTo>
                <a:lnTo>
                  <a:pt x="346" y="204"/>
                </a:lnTo>
                <a:lnTo>
                  <a:pt x="370" y="204"/>
                </a:lnTo>
                <a:lnTo>
                  <a:pt x="385" y="203"/>
                </a:lnTo>
                <a:lnTo>
                  <a:pt x="388" y="202"/>
                </a:lnTo>
                <a:lnTo>
                  <a:pt x="390" y="200"/>
                </a:lnTo>
                <a:lnTo>
                  <a:pt x="392" y="198"/>
                </a:lnTo>
                <a:lnTo>
                  <a:pt x="394" y="196"/>
                </a:lnTo>
                <a:lnTo>
                  <a:pt x="397" y="188"/>
                </a:lnTo>
                <a:lnTo>
                  <a:pt x="399" y="178"/>
                </a:lnTo>
                <a:lnTo>
                  <a:pt x="395" y="173"/>
                </a:lnTo>
                <a:lnTo>
                  <a:pt x="390" y="166"/>
                </a:lnTo>
                <a:lnTo>
                  <a:pt x="387" y="157"/>
                </a:lnTo>
                <a:lnTo>
                  <a:pt x="386" y="148"/>
                </a:lnTo>
                <a:lnTo>
                  <a:pt x="384" y="148"/>
                </a:lnTo>
                <a:lnTo>
                  <a:pt x="379" y="147"/>
                </a:lnTo>
                <a:lnTo>
                  <a:pt x="377" y="147"/>
                </a:lnTo>
                <a:lnTo>
                  <a:pt x="375" y="146"/>
                </a:lnTo>
                <a:lnTo>
                  <a:pt x="373" y="144"/>
                </a:lnTo>
                <a:lnTo>
                  <a:pt x="373" y="142"/>
                </a:lnTo>
                <a:lnTo>
                  <a:pt x="363" y="150"/>
                </a:lnTo>
                <a:lnTo>
                  <a:pt x="353" y="156"/>
                </a:lnTo>
                <a:lnTo>
                  <a:pt x="347" y="158"/>
                </a:lnTo>
                <a:lnTo>
                  <a:pt x="343" y="159"/>
                </a:lnTo>
                <a:lnTo>
                  <a:pt x="338" y="160"/>
                </a:lnTo>
                <a:lnTo>
                  <a:pt x="333" y="160"/>
                </a:lnTo>
                <a:lnTo>
                  <a:pt x="334" y="154"/>
                </a:lnTo>
                <a:lnTo>
                  <a:pt x="338" y="148"/>
                </a:lnTo>
                <a:lnTo>
                  <a:pt x="341" y="143"/>
                </a:lnTo>
                <a:lnTo>
                  <a:pt x="345" y="138"/>
                </a:lnTo>
                <a:lnTo>
                  <a:pt x="355" y="128"/>
                </a:lnTo>
                <a:lnTo>
                  <a:pt x="367" y="120"/>
                </a:lnTo>
                <a:lnTo>
                  <a:pt x="378" y="112"/>
                </a:lnTo>
                <a:lnTo>
                  <a:pt x="390" y="103"/>
                </a:lnTo>
                <a:lnTo>
                  <a:pt x="395" y="98"/>
                </a:lnTo>
                <a:lnTo>
                  <a:pt x="399" y="93"/>
                </a:lnTo>
                <a:lnTo>
                  <a:pt x="403" y="87"/>
                </a:lnTo>
                <a:lnTo>
                  <a:pt x="406" y="80"/>
                </a:lnTo>
                <a:lnTo>
                  <a:pt x="407" y="83"/>
                </a:lnTo>
                <a:lnTo>
                  <a:pt x="409" y="88"/>
                </a:lnTo>
                <a:lnTo>
                  <a:pt x="411" y="96"/>
                </a:lnTo>
                <a:lnTo>
                  <a:pt x="412" y="105"/>
                </a:lnTo>
                <a:lnTo>
                  <a:pt x="414" y="107"/>
                </a:lnTo>
                <a:lnTo>
                  <a:pt x="420" y="111"/>
                </a:lnTo>
                <a:lnTo>
                  <a:pt x="426" y="115"/>
                </a:lnTo>
                <a:lnTo>
                  <a:pt x="432" y="117"/>
                </a:lnTo>
                <a:lnTo>
                  <a:pt x="450" y="116"/>
                </a:lnTo>
                <a:lnTo>
                  <a:pt x="463" y="114"/>
                </a:lnTo>
                <a:lnTo>
                  <a:pt x="473" y="112"/>
                </a:lnTo>
                <a:lnTo>
                  <a:pt x="479" y="111"/>
                </a:lnTo>
                <a:lnTo>
                  <a:pt x="474" y="106"/>
                </a:lnTo>
                <a:lnTo>
                  <a:pt x="469" y="101"/>
                </a:lnTo>
                <a:lnTo>
                  <a:pt x="468" y="98"/>
                </a:lnTo>
                <a:lnTo>
                  <a:pt x="467" y="95"/>
                </a:lnTo>
                <a:lnTo>
                  <a:pt x="466" y="91"/>
                </a:lnTo>
                <a:lnTo>
                  <a:pt x="466" y="87"/>
                </a:lnTo>
                <a:lnTo>
                  <a:pt x="485" y="83"/>
                </a:lnTo>
                <a:lnTo>
                  <a:pt x="510" y="78"/>
                </a:lnTo>
                <a:lnTo>
                  <a:pt x="523" y="75"/>
                </a:lnTo>
                <a:lnTo>
                  <a:pt x="536" y="72"/>
                </a:lnTo>
                <a:lnTo>
                  <a:pt x="548" y="67"/>
                </a:lnTo>
                <a:lnTo>
                  <a:pt x="558" y="61"/>
                </a:lnTo>
                <a:lnTo>
                  <a:pt x="565" y="57"/>
                </a:lnTo>
                <a:lnTo>
                  <a:pt x="573" y="53"/>
                </a:lnTo>
                <a:lnTo>
                  <a:pt x="579" y="50"/>
                </a:lnTo>
                <a:lnTo>
                  <a:pt x="586" y="49"/>
                </a:lnTo>
                <a:lnTo>
                  <a:pt x="587" y="55"/>
                </a:lnTo>
                <a:lnTo>
                  <a:pt x="589" y="61"/>
                </a:lnTo>
                <a:lnTo>
                  <a:pt x="591" y="63"/>
                </a:lnTo>
                <a:lnTo>
                  <a:pt x="593" y="65"/>
                </a:lnTo>
                <a:lnTo>
                  <a:pt x="596" y="67"/>
                </a:lnTo>
                <a:lnTo>
                  <a:pt x="599" y="67"/>
                </a:lnTo>
                <a:lnTo>
                  <a:pt x="609" y="66"/>
                </a:lnTo>
                <a:lnTo>
                  <a:pt x="624" y="61"/>
                </a:lnTo>
                <a:lnTo>
                  <a:pt x="638" y="57"/>
                </a:lnTo>
                <a:lnTo>
                  <a:pt x="645" y="55"/>
                </a:lnTo>
                <a:lnTo>
                  <a:pt x="643" y="53"/>
                </a:lnTo>
                <a:lnTo>
                  <a:pt x="641" y="51"/>
                </a:lnTo>
                <a:lnTo>
                  <a:pt x="638" y="48"/>
                </a:lnTo>
                <a:lnTo>
                  <a:pt x="638" y="46"/>
                </a:lnTo>
                <a:lnTo>
                  <a:pt x="638" y="42"/>
                </a:lnTo>
                <a:lnTo>
                  <a:pt x="641" y="37"/>
                </a:lnTo>
                <a:lnTo>
                  <a:pt x="645" y="33"/>
                </a:lnTo>
                <a:lnTo>
                  <a:pt x="650" y="28"/>
                </a:lnTo>
                <a:lnTo>
                  <a:pt x="657" y="24"/>
                </a:lnTo>
                <a:lnTo>
                  <a:pt x="665" y="20"/>
                </a:lnTo>
                <a:lnTo>
                  <a:pt x="674" y="17"/>
                </a:lnTo>
                <a:lnTo>
                  <a:pt x="682" y="15"/>
                </a:lnTo>
                <a:lnTo>
                  <a:pt x="691" y="14"/>
                </a:lnTo>
                <a:lnTo>
                  <a:pt x="699" y="13"/>
                </a:lnTo>
                <a:lnTo>
                  <a:pt x="708" y="13"/>
                </a:lnTo>
                <a:lnTo>
                  <a:pt x="714" y="13"/>
                </a:lnTo>
                <a:lnTo>
                  <a:pt x="721" y="15"/>
                </a:lnTo>
                <a:lnTo>
                  <a:pt x="725" y="18"/>
                </a:lnTo>
                <a:lnTo>
                  <a:pt x="717" y="20"/>
                </a:lnTo>
                <a:lnTo>
                  <a:pt x="709" y="26"/>
                </a:lnTo>
                <a:lnTo>
                  <a:pt x="705" y="29"/>
                </a:lnTo>
                <a:lnTo>
                  <a:pt x="701" y="32"/>
                </a:lnTo>
                <a:lnTo>
                  <a:pt x="699" y="35"/>
                </a:lnTo>
                <a:lnTo>
                  <a:pt x="699" y="37"/>
                </a:lnTo>
                <a:lnTo>
                  <a:pt x="702" y="39"/>
                </a:lnTo>
                <a:lnTo>
                  <a:pt x="705" y="40"/>
                </a:lnTo>
                <a:lnTo>
                  <a:pt x="709" y="41"/>
                </a:lnTo>
                <a:lnTo>
                  <a:pt x="712" y="40"/>
                </a:lnTo>
                <a:lnTo>
                  <a:pt x="719" y="39"/>
                </a:lnTo>
                <a:lnTo>
                  <a:pt x="725" y="36"/>
                </a:lnTo>
                <a:lnTo>
                  <a:pt x="733" y="32"/>
                </a:lnTo>
                <a:lnTo>
                  <a:pt x="741" y="29"/>
                </a:lnTo>
                <a:lnTo>
                  <a:pt x="748" y="26"/>
                </a:lnTo>
                <a:lnTo>
                  <a:pt x="758" y="24"/>
                </a:lnTo>
                <a:lnTo>
                  <a:pt x="758" y="12"/>
                </a:lnTo>
                <a:lnTo>
                  <a:pt x="758" y="0"/>
                </a:lnTo>
                <a:lnTo>
                  <a:pt x="777" y="0"/>
                </a:lnTo>
                <a:lnTo>
                  <a:pt x="793" y="1"/>
                </a:lnTo>
                <a:lnTo>
                  <a:pt x="800" y="1"/>
                </a:lnTo>
                <a:lnTo>
                  <a:pt x="806" y="2"/>
                </a:lnTo>
                <a:lnTo>
                  <a:pt x="813" y="4"/>
                </a:lnTo>
                <a:lnTo>
                  <a:pt x="817" y="6"/>
                </a:lnTo>
                <a:lnTo>
                  <a:pt x="812" y="11"/>
                </a:lnTo>
                <a:lnTo>
                  <a:pt x="805" y="18"/>
                </a:lnTo>
                <a:lnTo>
                  <a:pt x="800" y="26"/>
                </a:lnTo>
                <a:lnTo>
                  <a:pt x="798" y="31"/>
                </a:lnTo>
                <a:lnTo>
                  <a:pt x="815" y="22"/>
                </a:lnTo>
                <a:lnTo>
                  <a:pt x="828" y="15"/>
                </a:lnTo>
                <a:lnTo>
                  <a:pt x="844" y="8"/>
                </a:lnTo>
                <a:lnTo>
                  <a:pt x="865" y="0"/>
                </a:lnTo>
                <a:lnTo>
                  <a:pt x="865" y="4"/>
                </a:lnTo>
                <a:lnTo>
                  <a:pt x="864" y="9"/>
                </a:lnTo>
                <a:lnTo>
                  <a:pt x="861" y="14"/>
                </a:lnTo>
                <a:lnTo>
                  <a:pt x="858" y="18"/>
                </a:lnTo>
                <a:lnTo>
                  <a:pt x="860" y="14"/>
                </a:lnTo>
                <a:lnTo>
                  <a:pt x="862" y="11"/>
                </a:lnTo>
                <a:lnTo>
                  <a:pt x="866" y="9"/>
                </a:lnTo>
                <a:lnTo>
                  <a:pt x="869" y="7"/>
                </a:lnTo>
                <a:lnTo>
                  <a:pt x="876" y="6"/>
                </a:lnTo>
                <a:lnTo>
                  <a:pt x="884" y="6"/>
                </a:lnTo>
                <a:lnTo>
                  <a:pt x="892" y="6"/>
                </a:lnTo>
                <a:lnTo>
                  <a:pt x="907" y="6"/>
                </a:lnTo>
                <a:lnTo>
                  <a:pt x="924" y="6"/>
                </a:lnTo>
                <a:lnTo>
                  <a:pt x="930" y="6"/>
                </a:lnTo>
                <a:lnTo>
                  <a:pt x="947" y="12"/>
                </a:lnTo>
                <a:lnTo>
                  <a:pt x="979" y="22"/>
                </a:lnTo>
                <a:lnTo>
                  <a:pt x="996" y="28"/>
                </a:lnTo>
                <a:lnTo>
                  <a:pt x="1013" y="33"/>
                </a:lnTo>
                <a:lnTo>
                  <a:pt x="1027" y="38"/>
                </a:lnTo>
                <a:lnTo>
                  <a:pt x="1037" y="43"/>
                </a:lnTo>
                <a:lnTo>
                  <a:pt x="1031" y="52"/>
                </a:lnTo>
                <a:lnTo>
                  <a:pt x="1025" y="61"/>
                </a:lnTo>
                <a:lnTo>
                  <a:pt x="1022" y="66"/>
                </a:lnTo>
                <a:lnTo>
                  <a:pt x="1019" y="70"/>
                </a:lnTo>
                <a:lnTo>
                  <a:pt x="1017" y="75"/>
                </a:lnTo>
                <a:lnTo>
                  <a:pt x="1017" y="80"/>
                </a:lnTo>
                <a:lnTo>
                  <a:pt x="1005" y="79"/>
                </a:lnTo>
                <a:lnTo>
                  <a:pt x="993" y="76"/>
                </a:lnTo>
                <a:lnTo>
                  <a:pt x="982" y="72"/>
                </a:lnTo>
                <a:lnTo>
                  <a:pt x="971" y="67"/>
                </a:lnTo>
                <a:lnTo>
                  <a:pt x="961" y="63"/>
                </a:lnTo>
                <a:lnTo>
                  <a:pt x="951" y="59"/>
                </a:lnTo>
                <a:lnTo>
                  <a:pt x="940" y="56"/>
                </a:lnTo>
                <a:lnTo>
                  <a:pt x="930" y="55"/>
                </a:lnTo>
                <a:lnTo>
                  <a:pt x="919" y="55"/>
                </a:lnTo>
                <a:lnTo>
                  <a:pt x="906" y="55"/>
                </a:lnTo>
                <a:lnTo>
                  <a:pt x="892" y="55"/>
                </a:lnTo>
                <a:lnTo>
                  <a:pt x="878" y="55"/>
                </a:lnTo>
                <a:lnTo>
                  <a:pt x="877" y="62"/>
                </a:lnTo>
                <a:lnTo>
                  <a:pt x="876" y="68"/>
                </a:lnTo>
                <a:lnTo>
                  <a:pt x="873" y="74"/>
                </a:lnTo>
                <a:lnTo>
                  <a:pt x="871" y="80"/>
                </a:lnTo>
                <a:lnTo>
                  <a:pt x="869" y="88"/>
                </a:lnTo>
                <a:lnTo>
                  <a:pt x="867" y="95"/>
                </a:lnTo>
                <a:lnTo>
                  <a:pt x="865" y="102"/>
                </a:lnTo>
                <a:lnTo>
                  <a:pt x="865" y="111"/>
                </a:lnTo>
                <a:lnTo>
                  <a:pt x="854" y="114"/>
                </a:lnTo>
                <a:lnTo>
                  <a:pt x="848" y="116"/>
                </a:lnTo>
                <a:lnTo>
                  <a:pt x="844" y="116"/>
                </a:lnTo>
                <a:lnTo>
                  <a:pt x="842" y="115"/>
                </a:lnTo>
                <a:lnTo>
                  <a:pt x="838" y="114"/>
                </a:lnTo>
                <a:lnTo>
                  <a:pt x="835" y="113"/>
                </a:lnTo>
                <a:lnTo>
                  <a:pt x="828" y="111"/>
                </a:lnTo>
                <a:lnTo>
                  <a:pt x="817" y="111"/>
                </a:lnTo>
                <a:lnTo>
                  <a:pt x="811" y="111"/>
                </a:lnTo>
                <a:lnTo>
                  <a:pt x="804" y="112"/>
                </a:lnTo>
                <a:lnTo>
                  <a:pt x="798" y="113"/>
                </a:lnTo>
                <a:lnTo>
                  <a:pt x="790" y="115"/>
                </a:lnTo>
                <a:lnTo>
                  <a:pt x="776" y="121"/>
                </a:lnTo>
                <a:lnTo>
                  <a:pt x="758" y="129"/>
                </a:lnTo>
                <a:lnTo>
                  <a:pt x="750" y="129"/>
                </a:lnTo>
                <a:lnTo>
                  <a:pt x="745" y="128"/>
                </a:lnTo>
                <a:lnTo>
                  <a:pt x="738" y="126"/>
                </a:lnTo>
                <a:lnTo>
                  <a:pt x="734" y="124"/>
                </a:lnTo>
                <a:lnTo>
                  <a:pt x="724" y="119"/>
                </a:lnTo>
                <a:lnTo>
                  <a:pt x="716" y="112"/>
                </a:lnTo>
                <a:lnTo>
                  <a:pt x="709" y="105"/>
                </a:lnTo>
                <a:lnTo>
                  <a:pt x="702" y="98"/>
                </a:lnTo>
                <a:lnTo>
                  <a:pt x="694" y="92"/>
                </a:lnTo>
                <a:lnTo>
                  <a:pt x="685" y="87"/>
                </a:lnTo>
                <a:lnTo>
                  <a:pt x="677" y="92"/>
                </a:lnTo>
                <a:lnTo>
                  <a:pt x="669" y="96"/>
                </a:lnTo>
                <a:lnTo>
                  <a:pt x="661" y="100"/>
                </a:lnTo>
                <a:lnTo>
                  <a:pt x="654" y="103"/>
                </a:lnTo>
                <a:lnTo>
                  <a:pt x="637" y="109"/>
                </a:lnTo>
                <a:lnTo>
                  <a:pt x="620" y="112"/>
                </a:lnTo>
                <a:lnTo>
                  <a:pt x="602" y="116"/>
                </a:lnTo>
                <a:lnTo>
                  <a:pt x="584" y="119"/>
                </a:lnTo>
                <a:lnTo>
                  <a:pt x="565" y="123"/>
                </a:lnTo>
                <a:lnTo>
                  <a:pt x="545" y="129"/>
                </a:lnTo>
                <a:lnTo>
                  <a:pt x="542" y="130"/>
                </a:lnTo>
                <a:lnTo>
                  <a:pt x="537" y="131"/>
                </a:lnTo>
                <a:lnTo>
                  <a:pt x="534" y="134"/>
                </a:lnTo>
                <a:lnTo>
                  <a:pt x="530" y="138"/>
                </a:lnTo>
                <a:lnTo>
                  <a:pt x="521" y="147"/>
                </a:lnTo>
                <a:lnTo>
                  <a:pt x="513" y="158"/>
                </a:lnTo>
                <a:lnTo>
                  <a:pt x="506" y="170"/>
                </a:lnTo>
                <a:lnTo>
                  <a:pt x="498" y="184"/>
                </a:lnTo>
                <a:lnTo>
                  <a:pt x="491" y="198"/>
                </a:lnTo>
                <a:lnTo>
                  <a:pt x="486" y="210"/>
                </a:lnTo>
                <a:lnTo>
                  <a:pt x="482" y="217"/>
                </a:lnTo>
                <a:lnTo>
                  <a:pt x="478" y="225"/>
                </a:lnTo>
                <a:lnTo>
                  <a:pt x="473" y="232"/>
                </a:lnTo>
                <a:lnTo>
                  <a:pt x="466" y="239"/>
                </a:lnTo>
                <a:lnTo>
                  <a:pt x="453" y="255"/>
                </a:lnTo>
                <a:lnTo>
                  <a:pt x="437" y="270"/>
                </a:lnTo>
                <a:lnTo>
                  <a:pt x="430" y="279"/>
                </a:lnTo>
                <a:lnTo>
                  <a:pt x="423" y="288"/>
                </a:lnTo>
                <a:lnTo>
                  <a:pt x="417" y="298"/>
                </a:lnTo>
                <a:lnTo>
                  <a:pt x="411" y="309"/>
                </a:lnTo>
                <a:lnTo>
                  <a:pt x="406" y="321"/>
                </a:lnTo>
                <a:lnTo>
                  <a:pt x="402" y="334"/>
                </a:lnTo>
                <a:lnTo>
                  <a:pt x="400" y="348"/>
                </a:lnTo>
                <a:lnTo>
                  <a:pt x="399" y="364"/>
                </a:lnTo>
                <a:lnTo>
                  <a:pt x="396" y="362"/>
                </a:lnTo>
                <a:lnTo>
                  <a:pt x="392" y="361"/>
                </a:lnTo>
                <a:lnTo>
                  <a:pt x="387" y="361"/>
                </a:lnTo>
                <a:lnTo>
                  <a:pt x="381" y="362"/>
                </a:lnTo>
                <a:lnTo>
                  <a:pt x="367" y="363"/>
                </a:lnTo>
                <a:lnTo>
                  <a:pt x="353" y="364"/>
                </a:lnTo>
                <a:lnTo>
                  <a:pt x="333" y="425"/>
                </a:lnTo>
                <a:lnTo>
                  <a:pt x="333" y="441"/>
                </a:lnTo>
                <a:lnTo>
                  <a:pt x="336" y="464"/>
                </a:lnTo>
                <a:lnTo>
                  <a:pt x="340" y="477"/>
                </a:lnTo>
                <a:lnTo>
                  <a:pt x="344" y="487"/>
                </a:lnTo>
                <a:lnTo>
                  <a:pt x="347" y="491"/>
                </a:lnTo>
                <a:lnTo>
                  <a:pt x="351" y="495"/>
                </a:lnTo>
                <a:lnTo>
                  <a:pt x="355" y="497"/>
                </a:lnTo>
                <a:lnTo>
                  <a:pt x="360" y="499"/>
                </a:lnTo>
                <a:lnTo>
                  <a:pt x="358" y="515"/>
                </a:lnTo>
                <a:lnTo>
                  <a:pt x="357" y="528"/>
                </a:lnTo>
                <a:lnTo>
                  <a:pt x="356" y="537"/>
                </a:lnTo>
                <a:lnTo>
                  <a:pt x="354" y="544"/>
                </a:lnTo>
                <a:lnTo>
                  <a:pt x="354" y="551"/>
                </a:lnTo>
                <a:lnTo>
                  <a:pt x="354" y="558"/>
                </a:lnTo>
                <a:lnTo>
                  <a:pt x="355" y="567"/>
                </a:lnTo>
                <a:lnTo>
                  <a:pt x="360" y="579"/>
                </a:lnTo>
                <a:lnTo>
                  <a:pt x="352" y="585"/>
                </a:lnTo>
                <a:lnTo>
                  <a:pt x="346" y="591"/>
                </a:lnTo>
                <a:lnTo>
                  <a:pt x="340" y="598"/>
                </a:lnTo>
                <a:lnTo>
                  <a:pt x="335" y="606"/>
                </a:lnTo>
                <a:lnTo>
                  <a:pt x="331" y="615"/>
                </a:lnTo>
                <a:lnTo>
                  <a:pt x="329" y="625"/>
                </a:lnTo>
                <a:lnTo>
                  <a:pt x="327" y="635"/>
                </a:lnTo>
                <a:lnTo>
                  <a:pt x="327" y="647"/>
                </a:lnTo>
                <a:lnTo>
                  <a:pt x="318" y="646"/>
                </a:lnTo>
                <a:lnTo>
                  <a:pt x="306" y="645"/>
                </a:lnTo>
                <a:lnTo>
                  <a:pt x="300" y="645"/>
                </a:lnTo>
                <a:lnTo>
                  <a:pt x="295" y="645"/>
                </a:lnTo>
                <a:lnTo>
                  <a:pt x="289" y="646"/>
                </a:lnTo>
                <a:lnTo>
                  <a:pt x="286" y="647"/>
                </a:lnTo>
              </a:path>
            </a:pathLst>
          </a:custGeom>
          <a:solidFill>
            <a:srgbClr val="007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276" name="Freeform 228"/>
          <p:cNvSpPr>
            <a:spLocks/>
          </p:cNvSpPr>
          <p:nvPr>
            <p:custDataLst>
              <p:tags r:id="rId155"/>
            </p:custDataLst>
          </p:nvPr>
        </p:nvSpPr>
        <p:spPr bwMode="auto">
          <a:xfrm>
            <a:off x="4443413" y="1739512"/>
            <a:ext cx="49212" cy="67865"/>
          </a:xfrm>
          <a:custGeom>
            <a:avLst/>
            <a:gdLst/>
            <a:ahLst/>
            <a:cxnLst>
              <a:cxn ang="0">
                <a:pos x="120" y="99"/>
              </a:cxn>
              <a:cxn ang="0">
                <a:pos x="92" y="60"/>
              </a:cxn>
              <a:cxn ang="0">
                <a:pos x="70" y="28"/>
              </a:cxn>
              <a:cxn ang="0">
                <a:pos x="60" y="16"/>
              </a:cxn>
              <a:cxn ang="0">
                <a:pos x="53" y="8"/>
              </a:cxn>
              <a:cxn ang="0">
                <a:pos x="48" y="4"/>
              </a:cxn>
              <a:cxn ang="0">
                <a:pos x="45" y="2"/>
              </a:cxn>
              <a:cxn ang="0">
                <a:pos x="43" y="1"/>
              </a:cxn>
              <a:cxn ang="0">
                <a:pos x="39" y="0"/>
              </a:cxn>
              <a:cxn ang="0">
                <a:pos x="33" y="0"/>
              </a:cxn>
              <a:cxn ang="0">
                <a:pos x="27" y="1"/>
              </a:cxn>
              <a:cxn ang="0">
                <a:pos x="24" y="3"/>
              </a:cxn>
              <a:cxn ang="0">
                <a:pos x="21" y="5"/>
              </a:cxn>
              <a:cxn ang="0">
                <a:pos x="19" y="8"/>
              </a:cxn>
              <a:cxn ang="0">
                <a:pos x="16" y="12"/>
              </a:cxn>
              <a:cxn ang="0">
                <a:pos x="15" y="15"/>
              </a:cxn>
              <a:cxn ang="0">
                <a:pos x="15" y="20"/>
              </a:cxn>
              <a:cxn ang="0">
                <a:pos x="14" y="30"/>
              </a:cxn>
              <a:cxn ang="0">
                <a:pos x="12" y="42"/>
              </a:cxn>
              <a:cxn ang="0">
                <a:pos x="10" y="48"/>
              </a:cxn>
              <a:cxn ang="0">
                <a:pos x="8" y="54"/>
              </a:cxn>
              <a:cxn ang="0">
                <a:pos x="4" y="61"/>
              </a:cxn>
              <a:cxn ang="0">
                <a:pos x="0" y="68"/>
              </a:cxn>
              <a:cxn ang="0">
                <a:pos x="5" y="82"/>
              </a:cxn>
              <a:cxn ang="0">
                <a:pos x="10" y="99"/>
              </a:cxn>
              <a:cxn ang="0">
                <a:pos x="15" y="115"/>
              </a:cxn>
              <a:cxn ang="0">
                <a:pos x="20" y="129"/>
              </a:cxn>
              <a:cxn ang="0">
                <a:pos x="24" y="134"/>
              </a:cxn>
              <a:cxn ang="0">
                <a:pos x="30" y="139"/>
              </a:cxn>
              <a:cxn ang="0">
                <a:pos x="37" y="145"/>
              </a:cxn>
              <a:cxn ang="0">
                <a:pos x="46" y="151"/>
              </a:cxn>
              <a:cxn ang="0">
                <a:pos x="54" y="157"/>
              </a:cxn>
              <a:cxn ang="0">
                <a:pos x="60" y="163"/>
              </a:cxn>
              <a:cxn ang="0">
                <a:pos x="62" y="165"/>
              </a:cxn>
              <a:cxn ang="0">
                <a:pos x="65" y="168"/>
              </a:cxn>
              <a:cxn ang="0">
                <a:pos x="66" y="170"/>
              </a:cxn>
              <a:cxn ang="0">
                <a:pos x="67" y="173"/>
              </a:cxn>
              <a:cxn ang="0">
                <a:pos x="76" y="167"/>
              </a:cxn>
              <a:cxn ang="0">
                <a:pos x="86" y="160"/>
              </a:cxn>
              <a:cxn ang="0">
                <a:pos x="93" y="152"/>
              </a:cxn>
              <a:cxn ang="0">
                <a:pos x="101" y="142"/>
              </a:cxn>
              <a:cxn ang="0">
                <a:pos x="106" y="132"/>
              </a:cxn>
              <a:cxn ang="0">
                <a:pos x="112" y="121"/>
              </a:cxn>
              <a:cxn ang="0">
                <a:pos x="116" y="110"/>
              </a:cxn>
              <a:cxn ang="0">
                <a:pos x="120" y="99"/>
              </a:cxn>
            </a:cxnLst>
            <a:rect l="0" t="0" r="r" b="b"/>
            <a:pathLst>
              <a:path w="120" h="173">
                <a:moveTo>
                  <a:pt x="120" y="99"/>
                </a:moveTo>
                <a:lnTo>
                  <a:pt x="92" y="60"/>
                </a:lnTo>
                <a:lnTo>
                  <a:pt x="70" y="28"/>
                </a:lnTo>
                <a:lnTo>
                  <a:pt x="60" y="16"/>
                </a:lnTo>
                <a:lnTo>
                  <a:pt x="53" y="8"/>
                </a:lnTo>
                <a:lnTo>
                  <a:pt x="48" y="4"/>
                </a:lnTo>
                <a:lnTo>
                  <a:pt x="45" y="2"/>
                </a:lnTo>
                <a:lnTo>
                  <a:pt x="43" y="1"/>
                </a:lnTo>
                <a:lnTo>
                  <a:pt x="39" y="0"/>
                </a:lnTo>
                <a:lnTo>
                  <a:pt x="33" y="0"/>
                </a:lnTo>
                <a:lnTo>
                  <a:pt x="27" y="1"/>
                </a:lnTo>
                <a:lnTo>
                  <a:pt x="24" y="3"/>
                </a:lnTo>
                <a:lnTo>
                  <a:pt x="21" y="5"/>
                </a:lnTo>
                <a:lnTo>
                  <a:pt x="19" y="8"/>
                </a:lnTo>
                <a:lnTo>
                  <a:pt x="16" y="12"/>
                </a:lnTo>
                <a:lnTo>
                  <a:pt x="15" y="15"/>
                </a:lnTo>
                <a:lnTo>
                  <a:pt x="15" y="20"/>
                </a:lnTo>
                <a:lnTo>
                  <a:pt x="14" y="30"/>
                </a:lnTo>
                <a:lnTo>
                  <a:pt x="12" y="42"/>
                </a:lnTo>
                <a:lnTo>
                  <a:pt x="10" y="48"/>
                </a:lnTo>
                <a:lnTo>
                  <a:pt x="8" y="54"/>
                </a:lnTo>
                <a:lnTo>
                  <a:pt x="4" y="61"/>
                </a:lnTo>
                <a:lnTo>
                  <a:pt x="0" y="68"/>
                </a:lnTo>
                <a:lnTo>
                  <a:pt x="5" y="82"/>
                </a:lnTo>
                <a:lnTo>
                  <a:pt x="10" y="99"/>
                </a:lnTo>
                <a:lnTo>
                  <a:pt x="15" y="115"/>
                </a:lnTo>
                <a:lnTo>
                  <a:pt x="20" y="129"/>
                </a:lnTo>
                <a:lnTo>
                  <a:pt x="24" y="134"/>
                </a:lnTo>
                <a:lnTo>
                  <a:pt x="30" y="139"/>
                </a:lnTo>
                <a:lnTo>
                  <a:pt x="37" y="145"/>
                </a:lnTo>
                <a:lnTo>
                  <a:pt x="46" y="151"/>
                </a:lnTo>
                <a:lnTo>
                  <a:pt x="54" y="157"/>
                </a:lnTo>
                <a:lnTo>
                  <a:pt x="60" y="163"/>
                </a:lnTo>
                <a:lnTo>
                  <a:pt x="62" y="165"/>
                </a:lnTo>
                <a:lnTo>
                  <a:pt x="65" y="168"/>
                </a:lnTo>
                <a:lnTo>
                  <a:pt x="66" y="170"/>
                </a:lnTo>
                <a:lnTo>
                  <a:pt x="67" y="173"/>
                </a:lnTo>
                <a:lnTo>
                  <a:pt x="76" y="167"/>
                </a:lnTo>
                <a:lnTo>
                  <a:pt x="86" y="160"/>
                </a:lnTo>
                <a:lnTo>
                  <a:pt x="93" y="152"/>
                </a:lnTo>
                <a:lnTo>
                  <a:pt x="101" y="142"/>
                </a:lnTo>
                <a:lnTo>
                  <a:pt x="106" y="132"/>
                </a:lnTo>
                <a:lnTo>
                  <a:pt x="112" y="121"/>
                </a:lnTo>
                <a:lnTo>
                  <a:pt x="116" y="110"/>
                </a:lnTo>
                <a:lnTo>
                  <a:pt x="120" y="99"/>
                </a:lnTo>
              </a:path>
            </a:pathLst>
          </a:custGeom>
          <a:solidFill>
            <a:srgbClr val="00B0F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277" name="Freeform 229"/>
          <p:cNvSpPr>
            <a:spLocks/>
          </p:cNvSpPr>
          <p:nvPr>
            <p:custDataLst>
              <p:tags r:id="rId156"/>
            </p:custDataLst>
          </p:nvPr>
        </p:nvSpPr>
        <p:spPr bwMode="auto">
          <a:xfrm>
            <a:off x="4151320" y="1619253"/>
            <a:ext cx="84137" cy="44054"/>
          </a:xfrm>
          <a:custGeom>
            <a:avLst/>
            <a:gdLst/>
            <a:ahLst/>
            <a:cxnLst>
              <a:cxn ang="0">
                <a:pos x="200" y="55"/>
              </a:cxn>
              <a:cxn ang="0">
                <a:pos x="195" y="56"/>
              </a:cxn>
              <a:cxn ang="0">
                <a:pos x="186" y="60"/>
              </a:cxn>
              <a:cxn ang="0">
                <a:pos x="177" y="65"/>
              </a:cxn>
              <a:cxn ang="0">
                <a:pos x="166" y="73"/>
              </a:cxn>
              <a:cxn ang="0">
                <a:pos x="155" y="80"/>
              </a:cxn>
              <a:cxn ang="0">
                <a:pos x="145" y="87"/>
              </a:cxn>
              <a:cxn ang="0">
                <a:pos x="137" y="93"/>
              </a:cxn>
              <a:cxn ang="0">
                <a:pos x="133" y="98"/>
              </a:cxn>
              <a:cxn ang="0">
                <a:pos x="127" y="98"/>
              </a:cxn>
              <a:cxn ang="0">
                <a:pos x="122" y="98"/>
              </a:cxn>
              <a:cxn ang="0">
                <a:pos x="116" y="97"/>
              </a:cxn>
              <a:cxn ang="0">
                <a:pos x="111" y="95"/>
              </a:cxn>
              <a:cxn ang="0">
                <a:pos x="106" y="93"/>
              </a:cxn>
              <a:cxn ang="0">
                <a:pos x="103" y="88"/>
              </a:cxn>
              <a:cxn ang="0">
                <a:pos x="101" y="82"/>
              </a:cxn>
              <a:cxn ang="0">
                <a:pos x="100" y="74"/>
              </a:cxn>
              <a:cxn ang="0">
                <a:pos x="91" y="80"/>
              </a:cxn>
              <a:cxn ang="0">
                <a:pos x="82" y="86"/>
              </a:cxn>
              <a:cxn ang="0">
                <a:pos x="78" y="90"/>
              </a:cxn>
              <a:cxn ang="0">
                <a:pos x="72" y="93"/>
              </a:cxn>
              <a:cxn ang="0">
                <a:pos x="67" y="96"/>
              </a:cxn>
              <a:cxn ang="0">
                <a:pos x="60" y="98"/>
              </a:cxn>
              <a:cxn ang="0">
                <a:pos x="39" y="98"/>
              </a:cxn>
              <a:cxn ang="0">
                <a:pos x="34" y="98"/>
              </a:cxn>
              <a:cxn ang="0">
                <a:pos x="28" y="95"/>
              </a:cxn>
              <a:cxn ang="0">
                <a:pos x="22" y="92"/>
              </a:cxn>
              <a:cxn ang="0">
                <a:pos x="15" y="89"/>
              </a:cxn>
              <a:cxn ang="0">
                <a:pos x="9" y="85"/>
              </a:cxn>
              <a:cxn ang="0">
                <a:pos x="4" y="81"/>
              </a:cxn>
              <a:cxn ang="0">
                <a:pos x="1" y="77"/>
              </a:cxn>
              <a:cxn ang="0">
                <a:pos x="0" y="74"/>
              </a:cxn>
              <a:cxn ang="0">
                <a:pos x="5" y="71"/>
              </a:cxn>
              <a:cxn ang="0">
                <a:pos x="10" y="67"/>
              </a:cxn>
              <a:cxn ang="0">
                <a:pos x="14" y="60"/>
              </a:cxn>
              <a:cxn ang="0">
                <a:pos x="20" y="53"/>
              </a:cxn>
              <a:cxn ang="0">
                <a:pos x="23" y="45"/>
              </a:cxn>
              <a:cxn ang="0">
                <a:pos x="27" y="37"/>
              </a:cxn>
              <a:cxn ang="0">
                <a:pos x="30" y="28"/>
              </a:cxn>
              <a:cxn ang="0">
                <a:pos x="33" y="19"/>
              </a:cxn>
              <a:cxn ang="0">
                <a:pos x="66" y="14"/>
              </a:cxn>
              <a:cxn ang="0">
                <a:pos x="103" y="9"/>
              </a:cxn>
              <a:cxn ang="0">
                <a:pos x="145" y="4"/>
              </a:cxn>
              <a:cxn ang="0">
                <a:pos x="193" y="0"/>
              </a:cxn>
              <a:cxn ang="0">
                <a:pos x="166" y="31"/>
              </a:cxn>
              <a:cxn ang="0">
                <a:pos x="166" y="34"/>
              </a:cxn>
              <a:cxn ang="0">
                <a:pos x="164" y="37"/>
              </a:cxn>
              <a:cxn ang="0">
                <a:pos x="162" y="39"/>
              </a:cxn>
              <a:cxn ang="0">
                <a:pos x="161" y="41"/>
              </a:cxn>
              <a:cxn ang="0">
                <a:pos x="157" y="45"/>
              </a:cxn>
              <a:cxn ang="0">
                <a:pos x="156" y="47"/>
              </a:cxn>
              <a:cxn ang="0">
                <a:pos x="156" y="49"/>
              </a:cxn>
              <a:cxn ang="0">
                <a:pos x="157" y="50"/>
              </a:cxn>
              <a:cxn ang="0">
                <a:pos x="159" y="50"/>
              </a:cxn>
              <a:cxn ang="0">
                <a:pos x="163" y="51"/>
              </a:cxn>
              <a:cxn ang="0">
                <a:pos x="177" y="53"/>
              </a:cxn>
              <a:cxn ang="0">
                <a:pos x="200" y="55"/>
              </a:cxn>
            </a:cxnLst>
            <a:rect l="0" t="0" r="r" b="b"/>
            <a:pathLst>
              <a:path w="200" h="98">
                <a:moveTo>
                  <a:pt x="200" y="55"/>
                </a:moveTo>
                <a:lnTo>
                  <a:pt x="195" y="56"/>
                </a:lnTo>
                <a:lnTo>
                  <a:pt x="186" y="60"/>
                </a:lnTo>
                <a:lnTo>
                  <a:pt x="177" y="65"/>
                </a:lnTo>
                <a:lnTo>
                  <a:pt x="166" y="73"/>
                </a:lnTo>
                <a:lnTo>
                  <a:pt x="155" y="80"/>
                </a:lnTo>
                <a:lnTo>
                  <a:pt x="145" y="87"/>
                </a:lnTo>
                <a:lnTo>
                  <a:pt x="137" y="93"/>
                </a:lnTo>
                <a:lnTo>
                  <a:pt x="133" y="98"/>
                </a:lnTo>
                <a:lnTo>
                  <a:pt x="127" y="98"/>
                </a:lnTo>
                <a:lnTo>
                  <a:pt x="122" y="98"/>
                </a:lnTo>
                <a:lnTo>
                  <a:pt x="116" y="97"/>
                </a:lnTo>
                <a:lnTo>
                  <a:pt x="111" y="95"/>
                </a:lnTo>
                <a:lnTo>
                  <a:pt x="106" y="93"/>
                </a:lnTo>
                <a:lnTo>
                  <a:pt x="103" y="88"/>
                </a:lnTo>
                <a:lnTo>
                  <a:pt x="101" y="82"/>
                </a:lnTo>
                <a:lnTo>
                  <a:pt x="100" y="74"/>
                </a:lnTo>
                <a:lnTo>
                  <a:pt x="91" y="80"/>
                </a:lnTo>
                <a:lnTo>
                  <a:pt x="82" y="86"/>
                </a:lnTo>
                <a:lnTo>
                  <a:pt x="78" y="90"/>
                </a:lnTo>
                <a:lnTo>
                  <a:pt x="72" y="93"/>
                </a:lnTo>
                <a:lnTo>
                  <a:pt x="67" y="96"/>
                </a:lnTo>
                <a:lnTo>
                  <a:pt x="60" y="98"/>
                </a:lnTo>
                <a:lnTo>
                  <a:pt x="39" y="98"/>
                </a:lnTo>
                <a:lnTo>
                  <a:pt x="34" y="98"/>
                </a:lnTo>
                <a:lnTo>
                  <a:pt x="28" y="95"/>
                </a:lnTo>
                <a:lnTo>
                  <a:pt x="22" y="92"/>
                </a:lnTo>
                <a:lnTo>
                  <a:pt x="15" y="89"/>
                </a:lnTo>
                <a:lnTo>
                  <a:pt x="9" y="85"/>
                </a:lnTo>
                <a:lnTo>
                  <a:pt x="4" y="81"/>
                </a:lnTo>
                <a:lnTo>
                  <a:pt x="1" y="77"/>
                </a:lnTo>
                <a:lnTo>
                  <a:pt x="0" y="74"/>
                </a:lnTo>
                <a:lnTo>
                  <a:pt x="5" y="71"/>
                </a:lnTo>
                <a:lnTo>
                  <a:pt x="10" y="67"/>
                </a:lnTo>
                <a:lnTo>
                  <a:pt x="14" y="60"/>
                </a:lnTo>
                <a:lnTo>
                  <a:pt x="20" y="53"/>
                </a:lnTo>
                <a:lnTo>
                  <a:pt x="23" y="45"/>
                </a:lnTo>
                <a:lnTo>
                  <a:pt x="27" y="37"/>
                </a:lnTo>
                <a:lnTo>
                  <a:pt x="30" y="28"/>
                </a:lnTo>
                <a:lnTo>
                  <a:pt x="33" y="19"/>
                </a:lnTo>
                <a:lnTo>
                  <a:pt x="66" y="14"/>
                </a:lnTo>
                <a:lnTo>
                  <a:pt x="103" y="9"/>
                </a:lnTo>
                <a:lnTo>
                  <a:pt x="145" y="4"/>
                </a:lnTo>
                <a:lnTo>
                  <a:pt x="193" y="0"/>
                </a:lnTo>
                <a:lnTo>
                  <a:pt x="166" y="31"/>
                </a:lnTo>
                <a:lnTo>
                  <a:pt x="166" y="34"/>
                </a:lnTo>
                <a:lnTo>
                  <a:pt x="164" y="37"/>
                </a:lnTo>
                <a:lnTo>
                  <a:pt x="162" y="39"/>
                </a:lnTo>
                <a:lnTo>
                  <a:pt x="161" y="41"/>
                </a:lnTo>
                <a:lnTo>
                  <a:pt x="157" y="45"/>
                </a:lnTo>
                <a:lnTo>
                  <a:pt x="156" y="47"/>
                </a:lnTo>
                <a:lnTo>
                  <a:pt x="156" y="49"/>
                </a:lnTo>
                <a:lnTo>
                  <a:pt x="157" y="50"/>
                </a:lnTo>
                <a:lnTo>
                  <a:pt x="159" y="50"/>
                </a:lnTo>
                <a:lnTo>
                  <a:pt x="163" y="51"/>
                </a:lnTo>
                <a:lnTo>
                  <a:pt x="177" y="53"/>
                </a:lnTo>
                <a:lnTo>
                  <a:pt x="200" y="55"/>
                </a:lnTo>
              </a:path>
            </a:pathLst>
          </a:custGeom>
          <a:solidFill>
            <a:srgbClr val="007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278" name="Freeform 230"/>
          <p:cNvSpPr>
            <a:spLocks/>
          </p:cNvSpPr>
          <p:nvPr>
            <p:custDataLst>
              <p:tags r:id="rId157"/>
            </p:custDataLst>
          </p:nvPr>
        </p:nvSpPr>
        <p:spPr bwMode="auto">
          <a:xfrm>
            <a:off x="4089400" y="1483524"/>
            <a:ext cx="84138" cy="54769"/>
          </a:xfrm>
          <a:custGeom>
            <a:avLst/>
            <a:gdLst/>
            <a:ahLst/>
            <a:cxnLst>
              <a:cxn ang="0">
                <a:pos x="0" y="112"/>
              </a:cxn>
              <a:cxn ang="0">
                <a:pos x="2" y="116"/>
              </a:cxn>
              <a:cxn ang="0">
                <a:pos x="3" y="107"/>
              </a:cxn>
              <a:cxn ang="0">
                <a:pos x="3" y="93"/>
              </a:cxn>
              <a:cxn ang="0">
                <a:pos x="9" y="82"/>
              </a:cxn>
              <a:cxn ang="0">
                <a:pos x="17" y="69"/>
              </a:cxn>
              <a:cxn ang="0">
                <a:pos x="20" y="56"/>
              </a:cxn>
              <a:cxn ang="0">
                <a:pos x="23" y="46"/>
              </a:cxn>
              <a:cxn ang="0">
                <a:pos x="28" y="37"/>
              </a:cxn>
              <a:cxn ang="0">
                <a:pos x="35" y="32"/>
              </a:cxn>
              <a:cxn ang="0">
                <a:pos x="41" y="38"/>
              </a:cxn>
              <a:cxn ang="0">
                <a:pos x="43" y="49"/>
              </a:cxn>
              <a:cxn ang="0">
                <a:pos x="47" y="58"/>
              </a:cxn>
              <a:cxn ang="0">
                <a:pos x="55" y="65"/>
              </a:cxn>
              <a:cxn ang="0">
                <a:pos x="87" y="67"/>
              </a:cxn>
              <a:cxn ang="0">
                <a:pos x="79" y="41"/>
              </a:cxn>
              <a:cxn ang="0">
                <a:pos x="69" y="36"/>
              </a:cxn>
              <a:cxn ang="0">
                <a:pos x="63" y="30"/>
              </a:cxn>
              <a:cxn ang="0">
                <a:pos x="61" y="23"/>
              </a:cxn>
              <a:cxn ang="0">
                <a:pos x="70" y="17"/>
              </a:cxn>
              <a:cxn ang="0">
                <a:pos x="87" y="14"/>
              </a:cxn>
              <a:cxn ang="0">
                <a:pos x="98" y="10"/>
              </a:cxn>
              <a:cxn ang="0">
                <a:pos x="111" y="6"/>
              </a:cxn>
              <a:cxn ang="0">
                <a:pos x="130" y="3"/>
              </a:cxn>
              <a:cxn ang="0">
                <a:pos x="147" y="1"/>
              </a:cxn>
              <a:cxn ang="0">
                <a:pos x="159" y="2"/>
              </a:cxn>
              <a:cxn ang="0">
                <a:pos x="176" y="1"/>
              </a:cxn>
              <a:cxn ang="0">
                <a:pos x="183" y="10"/>
              </a:cxn>
              <a:cxn ang="0">
                <a:pos x="178" y="26"/>
              </a:cxn>
              <a:cxn ang="0">
                <a:pos x="169" y="40"/>
              </a:cxn>
              <a:cxn ang="0">
                <a:pos x="159" y="51"/>
              </a:cxn>
              <a:cxn ang="0">
                <a:pos x="155" y="63"/>
              </a:cxn>
              <a:cxn ang="0">
                <a:pos x="153" y="76"/>
              </a:cxn>
              <a:cxn ang="0">
                <a:pos x="120" y="142"/>
              </a:cxn>
              <a:cxn ang="0">
                <a:pos x="80" y="122"/>
              </a:cxn>
              <a:cxn ang="0">
                <a:pos x="35" y="117"/>
              </a:cxn>
              <a:cxn ang="0">
                <a:pos x="8" y="113"/>
              </a:cxn>
            </a:cxnLst>
            <a:rect l="0" t="0" r="r" b="b"/>
            <a:pathLst>
              <a:path w="186" h="142">
                <a:moveTo>
                  <a:pt x="0" y="111"/>
                </a:moveTo>
                <a:lnTo>
                  <a:pt x="0" y="112"/>
                </a:lnTo>
                <a:lnTo>
                  <a:pt x="1" y="114"/>
                </a:lnTo>
                <a:lnTo>
                  <a:pt x="2" y="116"/>
                </a:lnTo>
                <a:lnTo>
                  <a:pt x="7" y="117"/>
                </a:lnTo>
                <a:lnTo>
                  <a:pt x="3" y="107"/>
                </a:lnTo>
                <a:lnTo>
                  <a:pt x="2" y="99"/>
                </a:lnTo>
                <a:lnTo>
                  <a:pt x="3" y="93"/>
                </a:lnTo>
                <a:lnTo>
                  <a:pt x="6" y="87"/>
                </a:lnTo>
                <a:lnTo>
                  <a:pt x="9" y="82"/>
                </a:lnTo>
                <a:lnTo>
                  <a:pt x="13" y="76"/>
                </a:lnTo>
                <a:lnTo>
                  <a:pt x="17" y="69"/>
                </a:lnTo>
                <a:lnTo>
                  <a:pt x="20" y="61"/>
                </a:lnTo>
                <a:lnTo>
                  <a:pt x="20" y="56"/>
                </a:lnTo>
                <a:lnTo>
                  <a:pt x="21" y="51"/>
                </a:lnTo>
                <a:lnTo>
                  <a:pt x="23" y="46"/>
                </a:lnTo>
                <a:lnTo>
                  <a:pt x="25" y="42"/>
                </a:lnTo>
                <a:lnTo>
                  <a:pt x="28" y="37"/>
                </a:lnTo>
                <a:lnTo>
                  <a:pt x="31" y="34"/>
                </a:lnTo>
                <a:lnTo>
                  <a:pt x="35" y="32"/>
                </a:lnTo>
                <a:lnTo>
                  <a:pt x="40" y="31"/>
                </a:lnTo>
                <a:lnTo>
                  <a:pt x="41" y="38"/>
                </a:lnTo>
                <a:lnTo>
                  <a:pt x="41" y="43"/>
                </a:lnTo>
                <a:lnTo>
                  <a:pt x="43" y="49"/>
                </a:lnTo>
                <a:lnTo>
                  <a:pt x="45" y="54"/>
                </a:lnTo>
                <a:lnTo>
                  <a:pt x="47" y="58"/>
                </a:lnTo>
                <a:lnTo>
                  <a:pt x="51" y="62"/>
                </a:lnTo>
                <a:lnTo>
                  <a:pt x="55" y="65"/>
                </a:lnTo>
                <a:lnTo>
                  <a:pt x="59" y="67"/>
                </a:lnTo>
                <a:lnTo>
                  <a:pt x="87" y="67"/>
                </a:lnTo>
                <a:lnTo>
                  <a:pt x="87" y="43"/>
                </a:lnTo>
                <a:lnTo>
                  <a:pt x="79" y="41"/>
                </a:lnTo>
                <a:lnTo>
                  <a:pt x="74" y="38"/>
                </a:lnTo>
                <a:lnTo>
                  <a:pt x="69" y="36"/>
                </a:lnTo>
                <a:lnTo>
                  <a:pt x="66" y="33"/>
                </a:lnTo>
                <a:lnTo>
                  <a:pt x="63" y="30"/>
                </a:lnTo>
                <a:lnTo>
                  <a:pt x="62" y="27"/>
                </a:lnTo>
                <a:lnTo>
                  <a:pt x="61" y="23"/>
                </a:lnTo>
                <a:lnTo>
                  <a:pt x="59" y="18"/>
                </a:lnTo>
                <a:lnTo>
                  <a:pt x="70" y="17"/>
                </a:lnTo>
                <a:lnTo>
                  <a:pt x="79" y="16"/>
                </a:lnTo>
                <a:lnTo>
                  <a:pt x="87" y="14"/>
                </a:lnTo>
                <a:lnTo>
                  <a:pt x="92" y="12"/>
                </a:lnTo>
                <a:lnTo>
                  <a:pt x="98" y="10"/>
                </a:lnTo>
                <a:lnTo>
                  <a:pt x="103" y="8"/>
                </a:lnTo>
                <a:lnTo>
                  <a:pt x="111" y="6"/>
                </a:lnTo>
                <a:lnTo>
                  <a:pt x="120" y="6"/>
                </a:lnTo>
                <a:lnTo>
                  <a:pt x="130" y="3"/>
                </a:lnTo>
                <a:lnTo>
                  <a:pt x="140" y="0"/>
                </a:lnTo>
                <a:lnTo>
                  <a:pt x="147" y="1"/>
                </a:lnTo>
                <a:lnTo>
                  <a:pt x="154" y="2"/>
                </a:lnTo>
                <a:lnTo>
                  <a:pt x="159" y="2"/>
                </a:lnTo>
                <a:lnTo>
                  <a:pt x="165" y="2"/>
                </a:lnTo>
                <a:lnTo>
                  <a:pt x="176" y="1"/>
                </a:lnTo>
                <a:lnTo>
                  <a:pt x="186" y="0"/>
                </a:lnTo>
                <a:lnTo>
                  <a:pt x="183" y="10"/>
                </a:lnTo>
                <a:lnTo>
                  <a:pt x="181" y="19"/>
                </a:lnTo>
                <a:lnTo>
                  <a:pt x="178" y="26"/>
                </a:lnTo>
                <a:lnTo>
                  <a:pt x="176" y="32"/>
                </a:lnTo>
                <a:lnTo>
                  <a:pt x="169" y="40"/>
                </a:lnTo>
                <a:lnTo>
                  <a:pt x="165" y="45"/>
                </a:lnTo>
                <a:lnTo>
                  <a:pt x="159" y="51"/>
                </a:lnTo>
                <a:lnTo>
                  <a:pt x="156" y="58"/>
                </a:lnTo>
                <a:lnTo>
                  <a:pt x="155" y="63"/>
                </a:lnTo>
                <a:lnTo>
                  <a:pt x="154" y="69"/>
                </a:lnTo>
                <a:lnTo>
                  <a:pt x="153" y="76"/>
                </a:lnTo>
                <a:lnTo>
                  <a:pt x="153" y="86"/>
                </a:lnTo>
                <a:lnTo>
                  <a:pt x="120" y="142"/>
                </a:lnTo>
                <a:lnTo>
                  <a:pt x="93" y="123"/>
                </a:lnTo>
                <a:lnTo>
                  <a:pt x="80" y="122"/>
                </a:lnTo>
                <a:lnTo>
                  <a:pt x="52" y="119"/>
                </a:lnTo>
                <a:lnTo>
                  <a:pt x="35" y="117"/>
                </a:lnTo>
                <a:lnTo>
                  <a:pt x="20" y="115"/>
                </a:lnTo>
                <a:lnTo>
                  <a:pt x="8" y="113"/>
                </a:lnTo>
                <a:lnTo>
                  <a:pt x="0" y="111"/>
                </a:lnTo>
              </a:path>
            </a:pathLst>
          </a:custGeom>
          <a:solidFill>
            <a:srgbClr val="007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279" name="Freeform 231"/>
          <p:cNvSpPr>
            <a:spLocks/>
          </p:cNvSpPr>
          <p:nvPr>
            <p:custDataLst>
              <p:tags r:id="rId158"/>
            </p:custDataLst>
          </p:nvPr>
        </p:nvSpPr>
        <p:spPr bwMode="auto">
          <a:xfrm>
            <a:off x="4070350" y="1531146"/>
            <a:ext cx="84138" cy="42863"/>
          </a:xfrm>
          <a:custGeom>
            <a:avLst/>
            <a:gdLst/>
            <a:ahLst/>
            <a:cxnLst>
              <a:cxn ang="0">
                <a:pos x="192" y="61"/>
              </a:cxn>
              <a:cxn ang="0">
                <a:pos x="189" y="62"/>
              </a:cxn>
              <a:cxn ang="0">
                <a:pos x="184" y="63"/>
              </a:cxn>
              <a:cxn ang="0">
                <a:pos x="180" y="64"/>
              </a:cxn>
              <a:cxn ang="0">
                <a:pos x="177" y="67"/>
              </a:cxn>
              <a:cxn ang="0">
                <a:pos x="168" y="72"/>
              </a:cxn>
              <a:cxn ang="0">
                <a:pos x="160" y="79"/>
              </a:cxn>
              <a:cxn ang="0">
                <a:pos x="154" y="86"/>
              </a:cxn>
              <a:cxn ang="0">
                <a:pos x="147" y="93"/>
              </a:cxn>
              <a:cxn ang="0">
                <a:pos x="143" y="99"/>
              </a:cxn>
              <a:cxn ang="0">
                <a:pos x="139" y="105"/>
              </a:cxn>
              <a:cxn ang="0">
                <a:pos x="120" y="97"/>
              </a:cxn>
              <a:cxn ang="0">
                <a:pos x="102" y="89"/>
              </a:cxn>
              <a:cxn ang="0">
                <a:pos x="86" y="80"/>
              </a:cxn>
              <a:cxn ang="0">
                <a:pos x="69" y="71"/>
              </a:cxn>
              <a:cxn ang="0">
                <a:pos x="53" y="61"/>
              </a:cxn>
              <a:cxn ang="0">
                <a:pos x="36" y="53"/>
              </a:cxn>
              <a:cxn ang="0">
                <a:pos x="19" y="44"/>
              </a:cxn>
              <a:cxn ang="0">
                <a:pos x="0" y="37"/>
              </a:cxn>
              <a:cxn ang="0">
                <a:pos x="0" y="13"/>
              </a:cxn>
              <a:cxn ang="0">
                <a:pos x="7" y="7"/>
              </a:cxn>
              <a:cxn ang="0">
                <a:pos x="16" y="4"/>
              </a:cxn>
              <a:cxn ang="0">
                <a:pos x="29" y="1"/>
              </a:cxn>
              <a:cxn ang="0">
                <a:pos x="40" y="0"/>
              </a:cxn>
              <a:cxn ang="0">
                <a:pos x="60" y="2"/>
              </a:cxn>
              <a:cxn ang="0">
                <a:pos x="93" y="5"/>
              </a:cxn>
              <a:cxn ang="0">
                <a:pos x="111" y="7"/>
              </a:cxn>
              <a:cxn ang="0">
                <a:pos x="128" y="7"/>
              </a:cxn>
              <a:cxn ang="0">
                <a:pos x="143" y="7"/>
              </a:cxn>
              <a:cxn ang="0">
                <a:pos x="153" y="6"/>
              </a:cxn>
              <a:cxn ang="0">
                <a:pos x="155" y="11"/>
              </a:cxn>
              <a:cxn ang="0">
                <a:pos x="159" y="17"/>
              </a:cxn>
              <a:cxn ang="0">
                <a:pos x="161" y="20"/>
              </a:cxn>
              <a:cxn ang="0">
                <a:pos x="164" y="23"/>
              </a:cxn>
              <a:cxn ang="0">
                <a:pos x="165" y="27"/>
              </a:cxn>
              <a:cxn ang="0">
                <a:pos x="166" y="31"/>
              </a:cxn>
              <a:cxn ang="0">
                <a:pos x="170" y="32"/>
              </a:cxn>
              <a:cxn ang="0">
                <a:pos x="177" y="33"/>
              </a:cxn>
              <a:cxn ang="0">
                <a:pos x="180" y="34"/>
              </a:cxn>
              <a:cxn ang="0">
                <a:pos x="183" y="34"/>
              </a:cxn>
              <a:cxn ang="0">
                <a:pos x="188" y="33"/>
              </a:cxn>
              <a:cxn ang="0">
                <a:pos x="192" y="31"/>
              </a:cxn>
              <a:cxn ang="0">
                <a:pos x="192" y="61"/>
              </a:cxn>
            </a:cxnLst>
            <a:rect l="0" t="0" r="r" b="b"/>
            <a:pathLst>
              <a:path w="192" h="105">
                <a:moveTo>
                  <a:pt x="192" y="61"/>
                </a:moveTo>
                <a:lnTo>
                  <a:pt x="189" y="62"/>
                </a:lnTo>
                <a:lnTo>
                  <a:pt x="184" y="63"/>
                </a:lnTo>
                <a:lnTo>
                  <a:pt x="180" y="64"/>
                </a:lnTo>
                <a:lnTo>
                  <a:pt x="177" y="67"/>
                </a:lnTo>
                <a:lnTo>
                  <a:pt x="168" y="72"/>
                </a:lnTo>
                <a:lnTo>
                  <a:pt x="160" y="79"/>
                </a:lnTo>
                <a:lnTo>
                  <a:pt x="154" y="86"/>
                </a:lnTo>
                <a:lnTo>
                  <a:pt x="147" y="93"/>
                </a:lnTo>
                <a:lnTo>
                  <a:pt x="143" y="99"/>
                </a:lnTo>
                <a:lnTo>
                  <a:pt x="139" y="105"/>
                </a:lnTo>
                <a:lnTo>
                  <a:pt x="120" y="97"/>
                </a:lnTo>
                <a:lnTo>
                  <a:pt x="102" y="89"/>
                </a:lnTo>
                <a:lnTo>
                  <a:pt x="86" y="80"/>
                </a:lnTo>
                <a:lnTo>
                  <a:pt x="69" y="71"/>
                </a:lnTo>
                <a:lnTo>
                  <a:pt x="53" y="61"/>
                </a:lnTo>
                <a:lnTo>
                  <a:pt x="36" y="53"/>
                </a:lnTo>
                <a:lnTo>
                  <a:pt x="19" y="44"/>
                </a:lnTo>
                <a:lnTo>
                  <a:pt x="0" y="37"/>
                </a:lnTo>
                <a:lnTo>
                  <a:pt x="0" y="13"/>
                </a:lnTo>
                <a:lnTo>
                  <a:pt x="7" y="7"/>
                </a:lnTo>
                <a:lnTo>
                  <a:pt x="16" y="4"/>
                </a:lnTo>
                <a:lnTo>
                  <a:pt x="29" y="1"/>
                </a:lnTo>
                <a:lnTo>
                  <a:pt x="40" y="0"/>
                </a:lnTo>
                <a:lnTo>
                  <a:pt x="60" y="2"/>
                </a:lnTo>
                <a:lnTo>
                  <a:pt x="93" y="5"/>
                </a:lnTo>
                <a:lnTo>
                  <a:pt x="111" y="7"/>
                </a:lnTo>
                <a:lnTo>
                  <a:pt x="128" y="7"/>
                </a:lnTo>
                <a:lnTo>
                  <a:pt x="143" y="7"/>
                </a:lnTo>
                <a:lnTo>
                  <a:pt x="153" y="6"/>
                </a:lnTo>
                <a:lnTo>
                  <a:pt x="155" y="11"/>
                </a:lnTo>
                <a:lnTo>
                  <a:pt x="159" y="17"/>
                </a:lnTo>
                <a:lnTo>
                  <a:pt x="161" y="20"/>
                </a:lnTo>
                <a:lnTo>
                  <a:pt x="164" y="23"/>
                </a:lnTo>
                <a:lnTo>
                  <a:pt x="165" y="27"/>
                </a:lnTo>
                <a:lnTo>
                  <a:pt x="166" y="31"/>
                </a:lnTo>
                <a:lnTo>
                  <a:pt x="170" y="32"/>
                </a:lnTo>
                <a:lnTo>
                  <a:pt x="177" y="33"/>
                </a:lnTo>
                <a:lnTo>
                  <a:pt x="180" y="34"/>
                </a:lnTo>
                <a:lnTo>
                  <a:pt x="183" y="34"/>
                </a:lnTo>
                <a:lnTo>
                  <a:pt x="188" y="33"/>
                </a:lnTo>
                <a:lnTo>
                  <a:pt x="192" y="31"/>
                </a:lnTo>
                <a:lnTo>
                  <a:pt x="192" y="61"/>
                </a:lnTo>
              </a:path>
            </a:pathLst>
          </a:custGeom>
          <a:solidFill>
            <a:srgbClr val="007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280" name="Freeform 232"/>
          <p:cNvSpPr>
            <a:spLocks/>
          </p:cNvSpPr>
          <p:nvPr>
            <p:custDataLst>
              <p:tags r:id="rId159"/>
            </p:custDataLst>
          </p:nvPr>
        </p:nvSpPr>
        <p:spPr bwMode="auto">
          <a:xfrm>
            <a:off x="4830770" y="1946676"/>
            <a:ext cx="33337" cy="98822"/>
          </a:xfrm>
          <a:custGeom>
            <a:avLst/>
            <a:gdLst/>
            <a:ahLst/>
            <a:cxnLst>
              <a:cxn ang="0">
                <a:pos x="33" y="0"/>
              </a:cxn>
              <a:cxn ang="0">
                <a:pos x="37" y="2"/>
              </a:cxn>
              <a:cxn ang="0">
                <a:pos x="40" y="4"/>
              </a:cxn>
              <a:cxn ang="0">
                <a:pos x="43" y="7"/>
              </a:cxn>
              <a:cxn ang="0">
                <a:pos x="46" y="10"/>
              </a:cxn>
              <a:cxn ang="0">
                <a:pos x="52" y="18"/>
              </a:cxn>
              <a:cxn ang="0">
                <a:pos x="56" y="25"/>
              </a:cxn>
              <a:cxn ang="0">
                <a:pos x="62" y="32"/>
              </a:cxn>
              <a:cxn ang="0">
                <a:pos x="67" y="38"/>
              </a:cxn>
              <a:cxn ang="0">
                <a:pos x="70" y="40"/>
              </a:cxn>
              <a:cxn ang="0">
                <a:pos x="73" y="42"/>
              </a:cxn>
              <a:cxn ang="0">
                <a:pos x="76" y="43"/>
              </a:cxn>
              <a:cxn ang="0">
                <a:pos x="80" y="44"/>
              </a:cxn>
              <a:cxn ang="0">
                <a:pos x="80" y="53"/>
              </a:cxn>
              <a:cxn ang="0">
                <a:pos x="80" y="62"/>
              </a:cxn>
              <a:cxn ang="0">
                <a:pos x="53" y="254"/>
              </a:cxn>
              <a:cxn ang="0">
                <a:pos x="0" y="93"/>
              </a:cxn>
              <a:cxn ang="0">
                <a:pos x="4" y="88"/>
              </a:cxn>
              <a:cxn ang="0">
                <a:pos x="11" y="71"/>
              </a:cxn>
              <a:cxn ang="0">
                <a:pos x="17" y="57"/>
              </a:cxn>
              <a:cxn ang="0">
                <a:pos x="22" y="41"/>
              </a:cxn>
              <a:cxn ang="0">
                <a:pos x="28" y="23"/>
              </a:cxn>
              <a:cxn ang="0">
                <a:pos x="33" y="0"/>
              </a:cxn>
            </a:cxnLst>
            <a:rect l="0" t="0" r="r" b="b"/>
            <a:pathLst>
              <a:path w="80" h="254">
                <a:moveTo>
                  <a:pt x="33" y="0"/>
                </a:moveTo>
                <a:lnTo>
                  <a:pt x="37" y="2"/>
                </a:lnTo>
                <a:lnTo>
                  <a:pt x="40" y="4"/>
                </a:lnTo>
                <a:lnTo>
                  <a:pt x="43" y="7"/>
                </a:lnTo>
                <a:lnTo>
                  <a:pt x="46" y="10"/>
                </a:lnTo>
                <a:lnTo>
                  <a:pt x="52" y="18"/>
                </a:lnTo>
                <a:lnTo>
                  <a:pt x="56" y="25"/>
                </a:lnTo>
                <a:lnTo>
                  <a:pt x="62" y="32"/>
                </a:lnTo>
                <a:lnTo>
                  <a:pt x="67" y="38"/>
                </a:lnTo>
                <a:lnTo>
                  <a:pt x="70" y="40"/>
                </a:lnTo>
                <a:lnTo>
                  <a:pt x="73" y="42"/>
                </a:lnTo>
                <a:lnTo>
                  <a:pt x="76" y="43"/>
                </a:lnTo>
                <a:lnTo>
                  <a:pt x="80" y="44"/>
                </a:lnTo>
                <a:lnTo>
                  <a:pt x="80" y="53"/>
                </a:lnTo>
                <a:lnTo>
                  <a:pt x="80" y="62"/>
                </a:lnTo>
                <a:lnTo>
                  <a:pt x="53" y="254"/>
                </a:lnTo>
                <a:lnTo>
                  <a:pt x="0" y="93"/>
                </a:lnTo>
                <a:lnTo>
                  <a:pt x="4" y="88"/>
                </a:lnTo>
                <a:lnTo>
                  <a:pt x="11" y="71"/>
                </a:lnTo>
                <a:lnTo>
                  <a:pt x="17" y="57"/>
                </a:lnTo>
                <a:lnTo>
                  <a:pt x="22" y="41"/>
                </a:lnTo>
                <a:lnTo>
                  <a:pt x="28" y="23"/>
                </a:lnTo>
                <a:lnTo>
                  <a:pt x="3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281" name="Freeform 233"/>
          <p:cNvSpPr>
            <a:spLocks/>
          </p:cNvSpPr>
          <p:nvPr>
            <p:custDataLst>
              <p:tags r:id="rId160"/>
            </p:custDataLst>
          </p:nvPr>
        </p:nvSpPr>
        <p:spPr bwMode="auto">
          <a:xfrm>
            <a:off x="4779963" y="1985971"/>
            <a:ext cx="69850" cy="97631"/>
          </a:xfrm>
          <a:custGeom>
            <a:avLst/>
            <a:gdLst/>
            <a:ahLst/>
            <a:cxnLst>
              <a:cxn ang="0">
                <a:pos x="114" y="0"/>
              </a:cxn>
              <a:cxn ang="0">
                <a:pos x="167" y="155"/>
              </a:cxn>
              <a:cxn ang="0">
                <a:pos x="121" y="259"/>
              </a:cxn>
              <a:cxn ang="0">
                <a:pos x="113" y="259"/>
              </a:cxn>
              <a:cxn ang="0">
                <a:pos x="107" y="257"/>
              </a:cxn>
              <a:cxn ang="0">
                <a:pos x="100" y="254"/>
              </a:cxn>
              <a:cxn ang="0">
                <a:pos x="95" y="251"/>
              </a:cxn>
              <a:cxn ang="0">
                <a:pos x="89" y="245"/>
              </a:cxn>
              <a:cxn ang="0">
                <a:pos x="85" y="240"/>
              </a:cxn>
              <a:cxn ang="0">
                <a:pos x="80" y="235"/>
              </a:cxn>
              <a:cxn ang="0">
                <a:pos x="76" y="229"/>
              </a:cxn>
              <a:cxn ang="0">
                <a:pos x="69" y="217"/>
              </a:cxn>
              <a:cxn ang="0">
                <a:pos x="65" y="205"/>
              </a:cxn>
              <a:cxn ang="0">
                <a:pos x="62" y="194"/>
              </a:cxn>
              <a:cxn ang="0">
                <a:pos x="62" y="185"/>
              </a:cxn>
              <a:cxn ang="0">
                <a:pos x="55" y="184"/>
              </a:cxn>
              <a:cxn ang="0">
                <a:pos x="51" y="183"/>
              </a:cxn>
              <a:cxn ang="0">
                <a:pos x="45" y="182"/>
              </a:cxn>
              <a:cxn ang="0">
                <a:pos x="42" y="180"/>
              </a:cxn>
              <a:cxn ang="0">
                <a:pos x="39" y="177"/>
              </a:cxn>
              <a:cxn ang="0">
                <a:pos x="36" y="174"/>
              </a:cxn>
              <a:cxn ang="0">
                <a:pos x="34" y="170"/>
              </a:cxn>
              <a:cxn ang="0">
                <a:pos x="32" y="167"/>
              </a:cxn>
              <a:cxn ang="0">
                <a:pos x="30" y="158"/>
              </a:cxn>
              <a:cxn ang="0">
                <a:pos x="29" y="149"/>
              </a:cxn>
              <a:cxn ang="0">
                <a:pos x="28" y="140"/>
              </a:cxn>
              <a:cxn ang="0">
                <a:pos x="28" y="129"/>
              </a:cxn>
              <a:cxn ang="0">
                <a:pos x="21" y="129"/>
              </a:cxn>
              <a:cxn ang="0">
                <a:pos x="16" y="127"/>
              </a:cxn>
              <a:cxn ang="0">
                <a:pos x="11" y="125"/>
              </a:cxn>
              <a:cxn ang="0">
                <a:pos x="7" y="121"/>
              </a:cxn>
              <a:cxn ang="0">
                <a:pos x="5" y="117"/>
              </a:cxn>
              <a:cxn ang="0">
                <a:pos x="2" y="112"/>
              </a:cxn>
              <a:cxn ang="0">
                <a:pos x="0" y="107"/>
              </a:cxn>
              <a:cxn ang="0">
                <a:pos x="0" y="101"/>
              </a:cxn>
              <a:cxn ang="0">
                <a:pos x="0" y="75"/>
              </a:cxn>
              <a:cxn ang="0">
                <a:pos x="1" y="50"/>
              </a:cxn>
              <a:cxn ang="0">
                <a:pos x="12" y="52"/>
              </a:cxn>
              <a:cxn ang="0">
                <a:pos x="22" y="53"/>
              </a:cxn>
              <a:cxn ang="0">
                <a:pos x="32" y="53"/>
              </a:cxn>
              <a:cxn ang="0">
                <a:pos x="42" y="52"/>
              </a:cxn>
              <a:cxn ang="0">
                <a:pos x="50" y="51"/>
              </a:cxn>
              <a:cxn ang="0">
                <a:pos x="58" y="49"/>
              </a:cxn>
              <a:cxn ang="0">
                <a:pos x="66" y="47"/>
              </a:cxn>
              <a:cxn ang="0">
                <a:pos x="73" y="44"/>
              </a:cxn>
              <a:cxn ang="0">
                <a:pos x="79" y="40"/>
              </a:cxn>
              <a:cxn ang="0">
                <a:pos x="86" y="36"/>
              </a:cxn>
              <a:cxn ang="0">
                <a:pos x="91" y="31"/>
              </a:cxn>
              <a:cxn ang="0">
                <a:pos x="97" y="26"/>
              </a:cxn>
              <a:cxn ang="0">
                <a:pos x="107" y="13"/>
              </a:cxn>
              <a:cxn ang="0">
                <a:pos x="114" y="0"/>
              </a:cxn>
            </a:cxnLst>
            <a:rect l="0" t="0" r="r" b="b"/>
            <a:pathLst>
              <a:path w="167" h="259">
                <a:moveTo>
                  <a:pt x="114" y="0"/>
                </a:moveTo>
                <a:lnTo>
                  <a:pt x="167" y="155"/>
                </a:lnTo>
                <a:lnTo>
                  <a:pt x="121" y="259"/>
                </a:lnTo>
                <a:lnTo>
                  <a:pt x="113" y="259"/>
                </a:lnTo>
                <a:lnTo>
                  <a:pt x="107" y="257"/>
                </a:lnTo>
                <a:lnTo>
                  <a:pt x="100" y="254"/>
                </a:lnTo>
                <a:lnTo>
                  <a:pt x="95" y="251"/>
                </a:lnTo>
                <a:lnTo>
                  <a:pt x="89" y="245"/>
                </a:lnTo>
                <a:lnTo>
                  <a:pt x="85" y="240"/>
                </a:lnTo>
                <a:lnTo>
                  <a:pt x="80" y="235"/>
                </a:lnTo>
                <a:lnTo>
                  <a:pt x="76" y="229"/>
                </a:lnTo>
                <a:lnTo>
                  <a:pt x="69" y="217"/>
                </a:lnTo>
                <a:lnTo>
                  <a:pt x="65" y="205"/>
                </a:lnTo>
                <a:lnTo>
                  <a:pt x="62" y="194"/>
                </a:lnTo>
                <a:lnTo>
                  <a:pt x="62" y="185"/>
                </a:lnTo>
                <a:lnTo>
                  <a:pt x="55" y="184"/>
                </a:lnTo>
                <a:lnTo>
                  <a:pt x="51" y="183"/>
                </a:lnTo>
                <a:lnTo>
                  <a:pt x="45" y="182"/>
                </a:lnTo>
                <a:lnTo>
                  <a:pt x="42" y="180"/>
                </a:lnTo>
                <a:lnTo>
                  <a:pt x="39" y="177"/>
                </a:lnTo>
                <a:lnTo>
                  <a:pt x="36" y="174"/>
                </a:lnTo>
                <a:lnTo>
                  <a:pt x="34" y="170"/>
                </a:lnTo>
                <a:lnTo>
                  <a:pt x="32" y="167"/>
                </a:lnTo>
                <a:lnTo>
                  <a:pt x="30" y="158"/>
                </a:lnTo>
                <a:lnTo>
                  <a:pt x="29" y="149"/>
                </a:lnTo>
                <a:lnTo>
                  <a:pt x="28" y="140"/>
                </a:lnTo>
                <a:lnTo>
                  <a:pt x="28" y="129"/>
                </a:lnTo>
                <a:lnTo>
                  <a:pt x="21" y="129"/>
                </a:lnTo>
                <a:lnTo>
                  <a:pt x="16" y="127"/>
                </a:lnTo>
                <a:lnTo>
                  <a:pt x="11" y="125"/>
                </a:lnTo>
                <a:lnTo>
                  <a:pt x="7" y="121"/>
                </a:lnTo>
                <a:lnTo>
                  <a:pt x="5" y="117"/>
                </a:lnTo>
                <a:lnTo>
                  <a:pt x="2" y="112"/>
                </a:lnTo>
                <a:lnTo>
                  <a:pt x="0" y="107"/>
                </a:lnTo>
                <a:lnTo>
                  <a:pt x="0" y="101"/>
                </a:lnTo>
                <a:lnTo>
                  <a:pt x="0" y="75"/>
                </a:lnTo>
                <a:lnTo>
                  <a:pt x="1" y="50"/>
                </a:lnTo>
                <a:lnTo>
                  <a:pt x="12" y="52"/>
                </a:lnTo>
                <a:lnTo>
                  <a:pt x="22" y="53"/>
                </a:lnTo>
                <a:lnTo>
                  <a:pt x="32" y="53"/>
                </a:lnTo>
                <a:lnTo>
                  <a:pt x="42" y="52"/>
                </a:lnTo>
                <a:lnTo>
                  <a:pt x="50" y="51"/>
                </a:lnTo>
                <a:lnTo>
                  <a:pt x="58" y="49"/>
                </a:lnTo>
                <a:lnTo>
                  <a:pt x="66" y="47"/>
                </a:lnTo>
                <a:lnTo>
                  <a:pt x="73" y="44"/>
                </a:lnTo>
                <a:lnTo>
                  <a:pt x="79" y="40"/>
                </a:lnTo>
                <a:lnTo>
                  <a:pt x="86" y="36"/>
                </a:lnTo>
                <a:lnTo>
                  <a:pt x="91" y="31"/>
                </a:lnTo>
                <a:lnTo>
                  <a:pt x="97" y="26"/>
                </a:lnTo>
                <a:lnTo>
                  <a:pt x="107" y="13"/>
                </a:lnTo>
                <a:lnTo>
                  <a:pt x="11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282" name="Freeform 234"/>
          <p:cNvSpPr>
            <a:spLocks/>
          </p:cNvSpPr>
          <p:nvPr>
            <p:custDataLst>
              <p:tags r:id="rId161"/>
            </p:custDataLst>
          </p:nvPr>
        </p:nvSpPr>
        <p:spPr bwMode="auto">
          <a:xfrm>
            <a:off x="3781425" y="1426376"/>
            <a:ext cx="96838" cy="108347"/>
          </a:xfrm>
          <a:custGeom>
            <a:avLst/>
            <a:gdLst/>
            <a:ahLst/>
            <a:cxnLst>
              <a:cxn ang="0">
                <a:pos x="185" y="67"/>
              </a:cxn>
              <a:cxn ang="0">
                <a:pos x="173" y="78"/>
              </a:cxn>
              <a:cxn ang="0">
                <a:pos x="159" y="82"/>
              </a:cxn>
              <a:cxn ang="0">
                <a:pos x="163" y="93"/>
              </a:cxn>
              <a:cxn ang="0">
                <a:pos x="174" y="101"/>
              </a:cxn>
              <a:cxn ang="0">
                <a:pos x="195" y="105"/>
              </a:cxn>
              <a:cxn ang="0">
                <a:pos x="225" y="106"/>
              </a:cxn>
              <a:cxn ang="0">
                <a:pos x="225" y="152"/>
              </a:cxn>
              <a:cxn ang="0">
                <a:pos x="224" y="176"/>
              </a:cxn>
              <a:cxn ang="0">
                <a:pos x="215" y="187"/>
              </a:cxn>
              <a:cxn ang="0">
                <a:pos x="197" y="205"/>
              </a:cxn>
              <a:cxn ang="0">
                <a:pos x="192" y="214"/>
              </a:cxn>
              <a:cxn ang="0">
                <a:pos x="179" y="218"/>
              </a:cxn>
              <a:cxn ang="0">
                <a:pos x="164" y="225"/>
              </a:cxn>
              <a:cxn ang="0">
                <a:pos x="159" y="236"/>
              </a:cxn>
              <a:cxn ang="0">
                <a:pos x="140" y="242"/>
              </a:cxn>
              <a:cxn ang="0">
                <a:pos x="128" y="252"/>
              </a:cxn>
              <a:cxn ang="0">
                <a:pos x="101" y="255"/>
              </a:cxn>
              <a:cxn ang="0">
                <a:pos x="60" y="261"/>
              </a:cxn>
              <a:cxn ang="0">
                <a:pos x="19" y="261"/>
              </a:cxn>
              <a:cxn ang="0">
                <a:pos x="0" y="217"/>
              </a:cxn>
              <a:cxn ang="0">
                <a:pos x="21" y="212"/>
              </a:cxn>
              <a:cxn ang="0">
                <a:pos x="26" y="205"/>
              </a:cxn>
              <a:cxn ang="0">
                <a:pos x="60" y="202"/>
              </a:cxn>
              <a:cxn ang="0">
                <a:pos x="72" y="193"/>
              </a:cxn>
              <a:cxn ang="0">
                <a:pos x="48" y="198"/>
              </a:cxn>
              <a:cxn ang="0">
                <a:pos x="40" y="197"/>
              </a:cxn>
              <a:cxn ang="0">
                <a:pos x="39" y="188"/>
              </a:cxn>
              <a:cxn ang="0">
                <a:pos x="46" y="173"/>
              </a:cxn>
              <a:cxn ang="0">
                <a:pos x="39" y="160"/>
              </a:cxn>
              <a:cxn ang="0">
                <a:pos x="14" y="150"/>
              </a:cxn>
              <a:cxn ang="0">
                <a:pos x="6" y="130"/>
              </a:cxn>
              <a:cxn ang="0">
                <a:pos x="22" y="115"/>
              </a:cxn>
              <a:cxn ang="0">
                <a:pos x="35" y="102"/>
              </a:cxn>
              <a:cxn ang="0">
                <a:pos x="68" y="94"/>
              </a:cxn>
              <a:cxn ang="0">
                <a:pos x="90" y="94"/>
              </a:cxn>
              <a:cxn ang="0">
                <a:pos x="100" y="88"/>
              </a:cxn>
              <a:cxn ang="0">
                <a:pos x="108" y="52"/>
              </a:cxn>
              <a:cxn ang="0">
                <a:pos x="120" y="31"/>
              </a:cxn>
              <a:cxn ang="0">
                <a:pos x="130" y="20"/>
              </a:cxn>
              <a:cxn ang="0">
                <a:pos x="141" y="7"/>
              </a:cxn>
              <a:cxn ang="0">
                <a:pos x="155" y="1"/>
              </a:cxn>
              <a:cxn ang="0">
                <a:pos x="179" y="3"/>
              </a:cxn>
              <a:cxn ang="0">
                <a:pos x="195" y="38"/>
              </a:cxn>
              <a:cxn ang="0">
                <a:pos x="196" y="47"/>
              </a:cxn>
              <a:cxn ang="0">
                <a:pos x="190" y="56"/>
              </a:cxn>
            </a:cxnLst>
            <a:rect l="0" t="0" r="r" b="b"/>
            <a:pathLst>
              <a:path w="225" h="273">
                <a:moveTo>
                  <a:pt x="192" y="58"/>
                </a:moveTo>
                <a:lnTo>
                  <a:pt x="189" y="63"/>
                </a:lnTo>
                <a:lnTo>
                  <a:pt x="185" y="67"/>
                </a:lnTo>
                <a:lnTo>
                  <a:pt x="182" y="71"/>
                </a:lnTo>
                <a:lnTo>
                  <a:pt x="178" y="75"/>
                </a:lnTo>
                <a:lnTo>
                  <a:pt x="173" y="78"/>
                </a:lnTo>
                <a:lnTo>
                  <a:pt x="169" y="80"/>
                </a:lnTo>
                <a:lnTo>
                  <a:pt x="163" y="82"/>
                </a:lnTo>
                <a:lnTo>
                  <a:pt x="159" y="82"/>
                </a:lnTo>
                <a:lnTo>
                  <a:pt x="159" y="86"/>
                </a:lnTo>
                <a:lnTo>
                  <a:pt x="161" y="90"/>
                </a:lnTo>
                <a:lnTo>
                  <a:pt x="163" y="93"/>
                </a:lnTo>
                <a:lnTo>
                  <a:pt x="167" y="96"/>
                </a:lnTo>
                <a:lnTo>
                  <a:pt x="170" y="99"/>
                </a:lnTo>
                <a:lnTo>
                  <a:pt x="174" y="101"/>
                </a:lnTo>
                <a:lnTo>
                  <a:pt x="179" y="102"/>
                </a:lnTo>
                <a:lnTo>
                  <a:pt x="184" y="103"/>
                </a:lnTo>
                <a:lnTo>
                  <a:pt x="195" y="105"/>
                </a:lnTo>
                <a:lnTo>
                  <a:pt x="206" y="106"/>
                </a:lnTo>
                <a:lnTo>
                  <a:pt x="216" y="106"/>
                </a:lnTo>
                <a:lnTo>
                  <a:pt x="225" y="106"/>
                </a:lnTo>
                <a:lnTo>
                  <a:pt x="225" y="124"/>
                </a:lnTo>
                <a:lnTo>
                  <a:pt x="225" y="138"/>
                </a:lnTo>
                <a:lnTo>
                  <a:pt x="225" y="152"/>
                </a:lnTo>
                <a:lnTo>
                  <a:pt x="225" y="169"/>
                </a:lnTo>
                <a:lnTo>
                  <a:pt x="225" y="172"/>
                </a:lnTo>
                <a:lnTo>
                  <a:pt x="224" y="176"/>
                </a:lnTo>
                <a:lnTo>
                  <a:pt x="222" y="179"/>
                </a:lnTo>
                <a:lnTo>
                  <a:pt x="220" y="182"/>
                </a:lnTo>
                <a:lnTo>
                  <a:pt x="215" y="187"/>
                </a:lnTo>
                <a:lnTo>
                  <a:pt x="208" y="193"/>
                </a:lnTo>
                <a:lnTo>
                  <a:pt x="203" y="199"/>
                </a:lnTo>
                <a:lnTo>
                  <a:pt x="197" y="205"/>
                </a:lnTo>
                <a:lnTo>
                  <a:pt x="195" y="208"/>
                </a:lnTo>
                <a:lnTo>
                  <a:pt x="193" y="211"/>
                </a:lnTo>
                <a:lnTo>
                  <a:pt x="192" y="214"/>
                </a:lnTo>
                <a:lnTo>
                  <a:pt x="192" y="217"/>
                </a:lnTo>
                <a:lnTo>
                  <a:pt x="184" y="218"/>
                </a:lnTo>
                <a:lnTo>
                  <a:pt x="179" y="218"/>
                </a:lnTo>
                <a:lnTo>
                  <a:pt x="172" y="220"/>
                </a:lnTo>
                <a:lnTo>
                  <a:pt x="168" y="223"/>
                </a:lnTo>
                <a:lnTo>
                  <a:pt x="164" y="225"/>
                </a:lnTo>
                <a:lnTo>
                  <a:pt x="161" y="229"/>
                </a:lnTo>
                <a:lnTo>
                  <a:pt x="159" y="232"/>
                </a:lnTo>
                <a:lnTo>
                  <a:pt x="159" y="236"/>
                </a:lnTo>
                <a:lnTo>
                  <a:pt x="151" y="237"/>
                </a:lnTo>
                <a:lnTo>
                  <a:pt x="146" y="239"/>
                </a:lnTo>
                <a:lnTo>
                  <a:pt x="140" y="242"/>
                </a:lnTo>
                <a:lnTo>
                  <a:pt x="136" y="246"/>
                </a:lnTo>
                <a:lnTo>
                  <a:pt x="131" y="249"/>
                </a:lnTo>
                <a:lnTo>
                  <a:pt x="128" y="252"/>
                </a:lnTo>
                <a:lnTo>
                  <a:pt x="124" y="254"/>
                </a:lnTo>
                <a:lnTo>
                  <a:pt x="118" y="255"/>
                </a:lnTo>
                <a:lnTo>
                  <a:pt x="101" y="255"/>
                </a:lnTo>
                <a:lnTo>
                  <a:pt x="85" y="257"/>
                </a:lnTo>
                <a:lnTo>
                  <a:pt x="72" y="259"/>
                </a:lnTo>
                <a:lnTo>
                  <a:pt x="60" y="261"/>
                </a:lnTo>
                <a:lnTo>
                  <a:pt x="38" y="267"/>
                </a:lnTo>
                <a:lnTo>
                  <a:pt x="13" y="273"/>
                </a:lnTo>
                <a:lnTo>
                  <a:pt x="19" y="261"/>
                </a:lnTo>
                <a:lnTo>
                  <a:pt x="10" y="261"/>
                </a:lnTo>
                <a:lnTo>
                  <a:pt x="0" y="261"/>
                </a:lnTo>
                <a:lnTo>
                  <a:pt x="0" y="217"/>
                </a:lnTo>
                <a:lnTo>
                  <a:pt x="8" y="216"/>
                </a:lnTo>
                <a:lnTo>
                  <a:pt x="17" y="214"/>
                </a:lnTo>
                <a:lnTo>
                  <a:pt x="21" y="212"/>
                </a:lnTo>
                <a:lnTo>
                  <a:pt x="24" y="210"/>
                </a:lnTo>
                <a:lnTo>
                  <a:pt x="25" y="208"/>
                </a:lnTo>
                <a:lnTo>
                  <a:pt x="26" y="205"/>
                </a:lnTo>
                <a:lnTo>
                  <a:pt x="40" y="205"/>
                </a:lnTo>
                <a:lnTo>
                  <a:pt x="54" y="204"/>
                </a:lnTo>
                <a:lnTo>
                  <a:pt x="60" y="202"/>
                </a:lnTo>
                <a:lnTo>
                  <a:pt x="64" y="200"/>
                </a:lnTo>
                <a:lnTo>
                  <a:pt x="69" y="197"/>
                </a:lnTo>
                <a:lnTo>
                  <a:pt x="72" y="193"/>
                </a:lnTo>
                <a:lnTo>
                  <a:pt x="64" y="195"/>
                </a:lnTo>
                <a:lnTo>
                  <a:pt x="54" y="198"/>
                </a:lnTo>
                <a:lnTo>
                  <a:pt x="48" y="198"/>
                </a:lnTo>
                <a:lnTo>
                  <a:pt x="44" y="198"/>
                </a:lnTo>
                <a:lnTo>
                  <a:pt x="41" y="198"/>
                </a:lnTo>
                <a:lnTo>
                  <a:pt x="40" y="197"/>
                </a:lnTo>
                <a:lnTo>
                  <a:pt x="39" y="195"/>
                </a:lnTo>
                <a:lnTo>
                  <a:pt x="39" y="193"/>
                </a:lnTo>
                <a:lnTo>
                  <a:pt x="39" y="188"/>
                </a:lnTo>
                <a:lnTo>
                  <a:pt x="41" y="183"/>
                </a:lnTo>
                <a:lnTo>
                  <a:pt x="44" y="178"/>
                </a:lnTo>
                <a:lnTo>
                  <a:pt x="46" y="173"/>
                </a:lnTo>
                <a:lnTo>
                  <a:pt x="50" y="166"/>
                </a:lnTo>
                <a:lnTo>
                  <a:pt x="52" y="162"/>
                </a:lnTo>
                <a:lnTo>
                  <a:pt x="39" y="160"/>
                </a:lnTo>
                <a:lnTo>
                  <a:pt x="28" y="157"/>
                </a:lnTo>
                <a:lnTo>
                  <a:pt x="21" y="154"/>
                </a:lnTo>
                <a:lnTo>
                  <a:pt x="14" y="150"/>
                </a:lnTo>
                <a:lnTo>
                  <a:pt x="10" y="145"/>
                </a:lnTo>
                <a:lnTo>
                  <a:pt x="7" y="138"/>
                </a:lnTo>
                <a:lnTo>
                  <a:pt x="6" y="130"/>
                </a:lnTo>
                <a:lnTo>
                  <a:pt x="6" y="120"/>
                </a:lnTo>
                <a:lnTo>
                  <a:pt x="15" y="117"/>
                </a:lnTo>
                <a:lnTo>
                  <a:pt x="22" y="115"/>
                </a:lnTo>
                <a:lnTo>
                  <a:pt x="26" y="112"/>
                </a:lnTo>
                <a:lnTo>
                  <a:pt x="30" y="109"/>
                </a:lnTo>
                <a:lnTo>
                  <a:pt x="35" y="102"/>
                </a:lnTo>
                <a:lnTo>
                  <a:pt x="39" y="94"/>
                </a:lnTo>
                <a:lnTo>
                  <a:pt x="56" y="94"/>
                </a:lnTo>
                <a:lnTo>
                  <a:pt x="68" y="94"/>
                </a:lnTo>
                <a:lnTo>
                  <a:pt x="77" y="94"/>
                </a:lnTo>
                <a:lnTo>
                  <a:pt x="85" y="94"/>
                </a:lnTo>
                <a:lnTo>
                  <a:pt x="90" y="94"/>
                </a:lnTo>
                <a:lnTo>
                  <a:pt x="94" y="93"/>
                </a:lnTo>
                <a:lnTo>
                  <a:pt x="97" y="91"/>
                </a:lnTo>
                <a:lnTo>
                  <a:pt x="100" y="88"/>
                </a:lnTo>
                <a:lnTo>
                  <a:pt x="104" y="82"/>
                </a:lnTo>
                <a:lnTo>
                  <a:pt x="106" y="73"/>
                </a:lnTo>
                <a:lnTo>
                  <a:pt x="108" y="52"/>
                </a:lnTo>
                <a:lnTo>
                  <a:pt x="112" y="33"/>
                </a:lnTo>
                <a:lnTo>
                  <a:pt x="117" y="32"/>
                </a:lnTo>
                <a:lnTo>
                  <a:pt x="120" y="31"/>
                </a:lnTo>
                <a:lnTo>
                  <a:pt x="124" y="29"/>
                </a:lnTo>
                <a:lnTo>
                  <a:pt x="126" y="26"/>
                </a:lnTo>
                <a:lnTo>
                  <a:pt x="130" y="20"/>
                </a:lnTo>
                <a:lnTo>
                  <a:pt x="136" y="13"/>
                </a:lnTo>
                <a:lnTo>
                  <a:pt x="138" y="10"/>
                </a:lnTo>
                <a:lnTo>
                  <a:pt x="141" y="7"/>
                </a:lnTo>
                <a:lnTo>
                  <a:pt x="145" y="4"/>
                </a:lnTo>
                <a:lnTo>
                  <a:pt x="149" y="2"/>
                </a:lnTo>
                <a:lnTo>
                  <a:pt x="155" y="1"/>
                </a:lnTo>
                <a:lnTo>
                  <a:pt x="161" y="0"/>
                </a:lnTo>
                <a:lnTo>
                  <a:pt x="169" y="1"/>
                </a:lnTo>
                <a:lnTo>
                  <a:pt x="179" y="3"/>
                </a:lnTo>
                <a:lnTo>
                  <a:pt x="186" y="20"/>
                </a:lnTo>
                <a:lnTo>
                  <a:pt x="194" y="34"/>
                </a:lnTo>
                <a:lnTo>
                  <a:pt x="195" y="38"/>
                </a:lnTo>
                <a:lnTo>
                  <a:pt x="196" y="41"/>
                </a:lnTo>
                <a:lnTo>
                  <a:pt x="196" y="44"/>
                </a:lnTo>
                <a:lnTo>
                  <a:pt x="196" y="47"/>
                </a:lnTo>
                <a:lnTo>
                  <a:pt x="195" y="50"/>
                </a:lnTo>
                <a:lnTo>
                  <a:pt x="193" y="52"/>
                </a:lnTo>
                <a:lnTo>
                  <a:pt x="190" y="56"/>
                </a:lnTo>
                <a:lnTo>
                  <a:pt x="185" y="58"/>
                </a:lnTo>
                <a:lnTo>
                  <a:pt x="192" y="58"/>
                </a:lnTo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283" name="Freeform 235"/>
          <p:cNvSpPr>
            <a:spLocks/>
          </p:cNvSpPr>
          <p:nvPr>
            <p:custDataLst>
              <p:tags r:id="rId162"/>
            </p:custDataLst>
          </p:nvPr>
        </p:nvSpPr>
        <p:spPr bwMode="auto">
          <a:xfrm>
            <a:off x="3594100" y="2109794"/>
            <a:ext cx="306388" cy="292894"/>
          </a:xfrm>
          <a:custGeom>
            <a:avLst/>
            <a:gdLst/>
            <a:ahLst/>
            <a:cxnLst>
              <a:cxn ang="0">
                <a:pos x="94" y="246"/>
              </a:cxn>
              <a:cxn ang="0">
                <a:pos x="96" y="243"/>
              </a:cxn>
              <a:cxn ang="0">
                <a:pos x="98" y="238"/>
              </a:cxn>
              <a:cxn ang="0">
                <a:pos x="100" y="232"/>
              </a:cxn>
              <a:cxn ang="0">
                <a:pos x="103" y="231"/>
              </a:cxn>
              <a:cxn ang="0">
                <a:pos x="104" y="238"/>
              </a:cxn>
              <a:cxn ang="0">
                <a:pos x="106" y="241"/>
              </a:cxn>
              <a:cxn ang="0">
                <a:pos x="108" y="242"/>
              </a:cxn>
              <a:cxn ang="0">
                <a:pos x="110" y="242"/>
              </a:cxn>
              <a:cxn ang="0">
                <a:pos x="113" y="241"/>
              </a:cxn>
              <a:cxn ang="0">
                <a:pos x="116" y="238"/>
              </a:cxn>
              <a:cxn ang="0">
                <a:pos x="216" y="234"/>
              </a:cxn>
              <a:cxn ang="0">
                <a:pos x="213" y="204"/>
              </a:cxn>
              <a:cxn ang="0">
                <a:pos x="207" y="138"/>
              </a:cxn>
              <a:cxn ang="0">
                <a:pos x="201" y="73"/>
              </a:cxn>
              <a:cxn ang="0">
                <a:pos x="198" y="43"/>
              </a:cxn>
              <a:cxn ang="0">
                <a:pos x="215" y="44"/>
              </a:cxn>
              <a:cxn ang="0">
                <a:pos x="232" y="46"/>
              </a:cxn>
              <a:cxn ang="0">
                <a:pos x="161" y="2"/>
              </a:cxn>
              <a:cxn ang="0">
                <a:pos x="160" y="8"/>
              </a:cxn>
              <a:cxn ang="0">
                <a:pos x="161" y="18"/>
              </a:cxn>
              <a:cxn ang="0">
                <a:pos x="98" y="24"/>
              </a:cxn>
              <a:cxn ang="0">
                <a:pos x="98" y="74"/>
              </a:cxn>
              <a:cxn ang="0">
                <a:pos x="95" y="76"/>
              </a:cxn>
              <a:cxn ang="0">
                <a:pos x="87" y="78"/>
              </a:cxn>
              <a:cxn ang="0">
                <a:pos x="72" y="82"/>
              </a:cxn>
              <a:cxn ang="0">
                <a:pos x="74" y="88"/>
              </a:cxn>
              <a:cxn ang="0">
                <a:pos x="78" y="96"/>
              </a:cxn>
              <a:cxn ang="0">
                <a:pos x="80" y="105"/>
              </a:cxn>
              <a:cxn ang="0">
                <a:pos x="81" y="115"/>
              </a:cxn>
              <a:cxn ang="0">
                <a:pos x="9" y="119"/>
              </a:cxn>
              <a:cxn ang="0">
                <a:pos x="5" y="130"/>
              </a:cxn>
              <a:cxn ang="0">
                <a:pos x="6" y="143"/>
              </a:cxn>
              <a:cxn ang="0">
                <a:pos x="8" y="155"/>
              </a:cxn>
              <a:cxn ang="0">
                <a:pos x="9" y="168"/>
              </a:cxn>
              <a:cxn ang="0">
                <a:pos x="9" y="182"/>
              </a:cxn>
              <a:cxn ang="0">
                <a:pos x="8" y="194"/>
              </a:cxn>
              <a:cxn ang="0">
                <a:pos x="6" y="206"/>
              </a:cxn>
              <a:cxn ang="0">
                <a:pos x="2" y="216"/>
              </a:cxn>
              <a:cxn ang="0">
                <a:pos x="2" y="219"/>
              </a:cxn>
              <a:cxn ang="0">
                <a:pos x="3" y="220"/>
              </a:cxn>
              <a:cxn ang="0">
                <a:pos x="3" y="222"/>
              </a:cxn>
              <a:cxn ang="0">
                <a:pos x="7" y="217"/>
              </a:cxn>
              <a:cxn ang="0">
                <a:pos x="18" y="213"/>
              </a:cxn>
              <a:cxn ang="0">
                <a:pos x="36" y="207"/>
              </a:cxn>
              <a:cxn ang="0">
                <a:pos x="45" y="208"/>
              </a:cxn>
              <a:cxn ang="0">
                <a:pos x="51" y="212"/>
              </a:cxn>
              <a:cxn ang="0">
                <a:pos x="56" y="214"/>
              </a:cxn>
              <a:cxn ang="0">
                <a:pos x="62" y="215"/>
              </a:cxn>
              <a:cxn ang="0">
                <a:pos x="66" y="219"/>
              </a:cxn>
              <a:cxn ang="0">
                <a:pos x="67" y="225"/>
              </a:cxn>
              <a:cxn ang="0">
                <a:pos x="70" y="231"/>
              </a:cxn>
              <a:cxn ang="0">
                <a:pos x="74" y="235"/>
              </a:cxn>
              <a:cxn ang="0">
                <a:pos x="85" y="243"/>
              </a:cxn>
            </a:cxnLst>
            <a:rect l="0" t="0" r="r" b="b"/>
            <a:pathLst>
              <a:path w="232" h="248">
                <a:moveTo>
                  <a:pt x="91" y="248"/>
                </a:moveTo>
                <a:lnTo>
                  <a:pt x="94" y="246"/>
                </a:lnTo>
                <a:lnTo>
                  <a:pt x="95" y="245"/>
                </a:lnTo>
                <a:lnTo>
                  <a:pt x="96" y="243"/>
                </a:lnTo>
                <a:lnTo>
                  <a:pt x="97" y="240"/>
                </a:lnTo>
                <a:lnTo>
                  <a:pt x="98" y="238"/>
                </a:lnTo>
                <a:lnTo>
                  <a:pt x="99" y="235"/>
                </a:lnTo>
                <a:lnTo>
                  <a:pt x="100" y="232"/>
                </a:lnTo>
                <a:lnTo>
                  <a:pt x="103" y="230"/>
                </a:lnTo>
                <a:lnTo>
                  <a:pt x="103" y="231"/>
                </a:lnTo>
                <a:lnTo>
                  <a:pt x="103" y="236"/>
                </a:lnTo>
                <a:lnTo>
                  <a:pt x="104" y="238"/>
                </a:lnTo>
                <a:lnTo>
                  <a:pt x="105" y="240"/>
                </a:lnTo>
                <a:lnTo>
                  <a:pt x="106" y="241"/>
                </a:lnTo>
                <a:lnTo>
                  <a:pt x="107" y="241"/>
                </a:lnTo>
                <a:lnTo>
                  <a:pt x="108" y="242"/>
                </a:lnTo>
                <a:lnTo>
                  <a:pt x="109" y="242"/>
                </a:lnTo>
                <a:lnTo>
                  <a:pt x="110" y="242"/>
                </a:lnTo>
                <a:lnTo>
                  <a:pt x="112" y="241"/>
                </a:lnTo>
                <a:lnTo>
                  <a:pt x="113" y="241"/>
                </a:lnTo>
                <a:lnTo>
                  <a:pt x="114" y="240"/>
                </a:lnTo>
                <a:lnTo>
                  <a:pt x="116" y="238"/>
                </a:lnTo>
                <a:lnTo>
                  <a:pt x="118" y="236"/>
                </a:lnTo>
                <a:lnTo>
                  <a:pt x="216" y="234"/>
                </a:lnTo>
                <a:lnTo>
                  <a:pt x="215" y="225"/>
                </a:lnTo>
                <a:lnTo>
                  <a:pt x="213" y="204"/>
                </a:lnTo>
                <a:lnTo>
                  <a:pt x="210" y="173"/>
                </a:lnTo>
                <a:lnTo>
                  <a:pt x="207" y="138"/>
                </a:lnTo>
                <a:lnTo>
                  <a:pt x="204" y="103"/>
                </a:lnTo>
                <a:lnTo>
                  <a:pt x="201" y="73"/>
                </a:lnTo>
                <a:lnTo>
                  <a:pt x="199" y="51"/>
                </a:lnTo>
                <a:lnTo>
                  <a:pt x="198" y="43"/>
                </a:lnTo>
                <a:lnTo>
                  <a:pt x="203" y="43"/>
                </a:lnTo>
                <a:lnTo>
                  <a:pt x="215" y="44"/>
                </a:lnTo>
                <a:lnTo>
                  <a:pt x="226" y="45"/>
                </a:lnTo>
                <a:lnTo>
                  <a:pt x="232" y="46"/>
                </a:lnTo>
                <a:lnTo>
                  <a:pt x="161" y="0"/>
                </a:lnTo>
                <a:lnTo>
                  <a:pt x="161" y="2"/>
                </a:lnTo>
                <a:lnTo>
                  <a:pt x="160" y="5"/>
                </a:lnTo>
                <a:lnTo>
                  <a:pt x="160" y="8"/>
                </a:lnTo>
                <a:lnTo>
                  <a:pt x="161" y="11"/>
                </a:lnTo>
                <a:lnTo>
                  <a:pt x="161" y="18"/>
                </a:lnTo>
                <a:lnTo>
                  <a:pt x="161" y="24"/>
                </a:lnTo>
                <a:lnTo>
                  <a:pt x="98" y="24"/>
                </a:lnTo>
                <a:lnTo>
                  <a:pt x="94" y="22"/>
                </a:lnTo>
                <a:lnTo>
                  <a:pt x="98" y="74"/>
                </a:lnTo>
                <a:lnTo>
                  <a:pt x="97" y="75"/>
                </a:lnTo>
                <a:lnTo>
                  <a:pt x="95" y="76"/>
                </a:lnTo>
                <a:lnTo>
                  <a:pt x="91" y="77"/>
                </a:lnTo>
                <a:lnTo>
                  <a:pt x="87" y="78"/>
                </a:lnTo>
                <a:lnTo>
                  <a:pt x="78" y="80"/>
                </a:lnTo>
                <a:lnTo>
                  <a:pt x="72" y="82"/>
                </a:lnTo>
                <a:lnTo>
                  <a:pt x="73" y="85"/>
                </a:lnTo>
                <a:lnTo>
                  <a:pt x="74" y="88"/>
                </a:lnTo>
                <a:lnTo>
                  <a:pt x="76" y="92"/>
                </a:lnTo>
                <a:lnTo>
                  <a:pt x="78" y="96"/>
                </a:lnTo>
                <a:lnTo>
                  <a:pt x="79" y="99"/>
                </a:lnTo>
                <a:lnTo>
                  <a:pt x="80" y="105"/>
                </a:lnTo>
                <a:lnTo>
                  <a:pt x="80" y="112"/>
                </a:lnTo>
                <a:lnTo>
                  <a:pt x="81" y="115"/>
                </a:lnTo>
                <a:lnTo>
                  <a:pt x="13" y="115"/>
                </a:lnTo>
                <a:lnTo>
                  <a:pt x="9" y="119"/>
                </a:lnTo>
                <a:lnTo>
                  <a:pt x="4" y="123"/>
                </a:lnTo>
                <a:lnTo>
                  <a:pt x="5" y="130"/>
                </a:lnTo>
                <a:lnTo>
                  <a:pt x="5" y="137"/>
                </a:lnTo>
                <a:lnTo>
                  <a:pt x="6" y="143"/>
                </a:lnTo>
                <a:lnTo>
                  <a:pt x="7" y="149"/>
                </a:lnTo>
                <a:lnTo>
                  <a:pt x="8" y="155"/>
                </a:lnTo>
                <a:lnTo>
                  <a:pt x="8" y="161"/>
                </a:lnTo>
                <a:lnTo>
                  <a:pt x="9" y="168"/>
                </a:lnTo>
                <a:lnTo>
                  <a:pt x="9" y="176"/>
                </a:lnTo>
                <a:lnTo>
                  <a:pt x="9" y="182"/>
                </a:lnTo>
                <a:lnTo>
                  <a:pt x="8" y="188"/>
                </a:lnTo>
                <a:lnTo>
                  <a:pt x="8" y="194"/>
                </a:lnTo>
                <a:lnTo>
                  <a:pt x="7" y="200"/>
                </a:lnTo>
                <a:lnTo>
                  <a:pt x="6" y="206"/>
                </a:lnTo>
                <a:lnTo>
                  <a:pt x="4" y="211"/>
                </a:lnTo>
                <a:lnTo>
                  <a:pt x="2" y="216"/>
                </a:lnTo>
                <a:lnTo>
                  <a:pt x="0" y="221"/>
                </a:lnTo>
                <a:lnTo>
                  <a:pt x="2" y="219"/>
                </a:lnTo>
                <a:lnTo>
                  <a:pt x="3" y="219"/>
                </a:lnTo>
                <a:lnTo>
                  <a:pt x="3" y="220"/>
                </a:lnTo>
                <a:lnTo>
                  <a:pt x="3" y="221"/>
                </a:lnTo>
                <a:lnTo>
                  <a:pt x="3" y="222"/>
                </a:lnTo>
                <a:lnTo>
                  <a:pt x="4" y="217"/>
                </a:lnTo>
                <a:lnTo>
                  <a:pt x="7" y="217"/>
                </a:lnTo>
                <a:lnTo>
                  <a:pt x="12" y="215"/>
                </a:lnTo>
                <a:lnTo>
                  <a:pt x="18" y="213"/>
                </a:lnTo>
                <a:lnTo>
                  <a:pt x="25" y="211"/>
                </a:lnTo>
                <a:lnTo>
                  <a:pt x="36" y="207"/>
                </a:lnTo>
                <a:lnTo>
                  <a:pt x="41" y="205"/>
                </a:lnTo>
                <a:lnTo>
                  <a:pt x="45" y="208"/>
                </a:lnTo>
                <a:lnTo>
                  <a:pt x="48" y="210"/>
                </a:lnTo>
                <a:lnTo>
                  <a:pt x="51" y="212"/>
                </a:lnTo>
                <a:lnTo>
                  <a:pt x="53" y="213"/>
                </a:lnTo>
                <a:lnTo>
                  <a:pt x="56" y="214"/>
                </a:lnTo>
                <a:lnTo>
                  <a:pt x="59" y="215"/>
                </a:lnTo>
                <a:lnTo>
                  <a:pt x="62" y="215"/>
                </a:lnTo>
                <a:lnTo>
                  <a:pt x="66" y="215"/>
                </a:lnTo>
                <a:lnTo>
                  <a:pt x="66" y="219"/>
                </a:lnTo>
                <a:lnTo>
                  <a:pt x="66" y="222"/>
                </a:lnTo>
                <a:lnTo>
                  <a:pt x="67" y="225"/>
                </a:lnTo>
                <a:lnTo>
                  <a:pt x="69" y="228"/>
                </a:lnTo>
                <a:lnTo>
                  <a:pt x="70" y="231"/>
                </a:lnTo>
                <a:lnTo>
                  <a:pt x="72" y="233"/>
                </a:lnTo>
                <a:lnTo>
                  <a:pt x="74" y="235"/>
                </a:lnTo>
                <a:lnTo>
                  <a:pt x="76" y="237"/>
                </a:lnTo>
                <a:lnTo>
                  <a:pt x="85" y="243"/>
                </a:lnTo>
                <a:lnTo>
                  <a:pt x="91" y="24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284" name="Freeform 236"/>
          <p:cNvSpPr>
            <a:spLocks/>
          </p:cNvSpPr>
          <p:nvPr>
            <p:custDataLst>
              <p:tags r:id="rId163"/>
            </p:custDataLst>
          </p:nvPr>
        </p:nvSpPr>
        <p:spPr bwMode="auto">
          <a:xfrm>
            <a:off x="3709995" y="2155040"/>
            <a:ext cx="414337" cy="351235"/>
          </a:xfrm>
          <a:custGeom>
            <a:avLst/>
            <a:gdLst/>
            <a:ahLst/>
            <a:cxnLst>
              <a:cxn ang="0">
                <a:pos x="90" y="788"/>
              </a:cxn>
              <a:cxn ang="0">
                <a:pos x="121" y="788"/>
              </a:cxn>
              <a:cxn ang="0">
                <a:pos x="146" y="783"/>
              </a:cxn>
              <a:cxn ang="0">
                <a:pos x="186" y="776"/>
              </a:cxn>
              <a:cxn ang="0">
                <a:pos x="197" y="813"/>
              </a:cxn>
              <a:cxn ang="0">
                <a:pos x="212" y="835"/>
              </a:cxn>
              <a:cxn ang="0">
                <a:pos x="226" y="846"/>
              </a:cxn>
              <a:cxn ang="0">
                <a:pos x="246" y="850"/>
              </a:cxn>
              <a:cxn ang="0">
                <a:pos x="246" y="881"/>
              </a:cxn>
              <a:cxn ang="0">
                <a:pos x="326" y="889"/>
              </a:cxn>
              <a:cxn ang="0">
                <a:pos x="334" y="876"/>
              </a:cxn>
              <a:cxn ang="0">
                <a:pos x="347" y="871"/>
              </a:cxn>
              <a:cxn ang="0">
                <a:pos x="348" y="888"/>
              </a:cxn>
              <a:cxn ang="0">
                <a:pos x="358" y="893"/>
              </a:cxn>
              <a:cxn ang="0">
                <a:pos x="385" y="893"/>
              </a:cxn>
              <a:cxn ang="0">
                <a:pos x="401" y="854"/>
              </a:cxn>
              <a:cxn ang="0">
                <a:pos x="412" y="788"/>
              </a:cxn>
              <a:cxn ang="0">
                <a:pos x="424" y="771"/>
              </a:cxn>
              <a:cxn ang="0">
                <a:pos x="452" y="754"/>
              </a:cxn>
              <a:cxn ang="0">
                <a:pos x="485" y="743"/>
              </a:cxn>
              <a:cxn ang="0">
                <a:pos x="501" y="729"/>
              </a:cxn>
              <a:cxn ang="0">
                <a:pos x="515" y="702"/>
              </a:cxn>
              <a:cxn ang="0">
                <a:pos x="535" y="668"/>
              </a:cxn>
              <a:cxn ang="0">
                <a:pos x="547" y="660"/>
              </a:cxn>
              <a:cxn ang="0">
                <a:pos x="572" y="659"/>
              </a:cxn>
              <a:cxn ang="0">
                <a:pos x="605" y="644"/>
              </a:cxn>
              <a:cxn ang="0">
                <a:pos x="639" y="624"/>
              </a:cxn>
              <a:cxn ang="0">
                <a:pos x="674" y="613"/>
              </a:cxn>
              <a:cxn ang="0">
                <a:pos x="724" y="610"/>
              </a:cxn>
              <a:cxn ang="0">
                <a:pos x="788" y="602"/>
              </a:cxn>
              <a:cxn ang="0">
                <a:pos x="815" y="594"/>
              </a:cxn>
              <a:cxn ang="0">
                <a:pos x="863" y="590"/>
              </a:cxn>
              <a:cxn ang="0">
                <a:pos x="901" y="583"/>
              </a:cxn>
              <a:cxn ang="0">
                <a:pos x="913" y="574"/>
              </a:cxn>
              <a:cxn ang="0">
                <a:pos x="931" y="544"/>
              </a:cxn>
              <a:cxn ang="0">
                <a:pos x="943" y="504"/>
              </a:cxn>
              <a:cxn ang="0">
                <a:pos x="948" y="461"/>
              </a:cxn>
              <a:cxn ang="0">
                <a:pos x="947" y="421"/>
              </a:cxn>
              <a:cxn ang="0">
                <a:pos x="943" y="363"/>
              </a:cxn>
              <a:cxn ang="0">
                <a:pos x="922" y="356"/>
              </a:cxn>
              <a:cxn ang="0">
                <a:pos x="862" y="322"/>
              </a:cxn>
              <a:cxn ang="0">
                <a:pos x="794" y="278"/>
              </a:cxn>
              <a:cxn ang="0">
                <a:pos x="738" y="216"/>
              </a:cxn>
              <a:cxn ang="0">
                <a:pos x="412" y="12"/>
              </a:cxn>
              <a:cxn ang="0">
                <a:pos x="348" y="102"/>
              </a:cxn>
              <a:cxn ang="0">
                <a:pos x="379" y="405"/>
              </a:cxn>
              <a:cxn ang="0">
                <a:pos x="392" y="565"/>
              </a:cxn>
              <a:cxn ang="0">
                <a:pos x="93" y="591"/>
              </a:cxn>
              <a:cxn ang="0">
                <a:pos x="79" y="606"/>
              </a:cxn>
              <a:cxn ang="0">
                <a:pos x="67" y="610"/>
              </a:cxn>
              <a:cxn ang="0">
                <a:pos x="57" y="607"/>
              </a:cxn>
              <a:cxn ang="0">
                <a:pos x="49" y="591"/>
              </a:cxn>
              <a:cxn ang="0">
                <a:pos x="40" y="581"/>
              </a:cxn>
              <a:cxn ang="0">
                <a:pos x="29" y="605"/>
              </a:cxn>
              <a:cxn ang="0">
                <a:pos x="15" y="623"/>
              </a:cxn>
              <a:cxn ang="0">
                <a:pos x="67" y="733"/>
              </a:cxn>
              <a:cxn ang="0">
                <a:pos x="61" y="748"/>
              </a:cxn>
              <a:cxn ang="0">
                <a:pos x="62" y="760"/>
              </a:cxn>
              <a:cxn ang="0">
                <a:pos x="54" y="788"/>
              </a:cxn>
            </a:cxnLst>
            <a:rect l="0" t="0" r="r" b="b"/>
            <a:pathLst>
              <a:path w="948" h="893">
                <a:moveTo>
                  <a:pt x="54" y="788"/>
                </a:moveTo>
                <a:lnTo>
                  <a:pt x="74" y="788"/>
                </a:lnTo>
                <a:lnTo>
                  <a:pt x="90" y="788"/>
                </a:lnTo>
                <a:lnTo>
                  <a:pt x="100" y="788"/>
                </a:lnTo>
                <a:lnTo>
                  <a:pt x="106" y="788"/>
                </a:lnTo>
                <a:lnTo>
                  <a:pt x="121" y="788"/>
                </a:lnTo>
                <a:lnTo>
                  <a:pt x="135" y="787"/>
                </a:lnTo>
                <a:lnTo>
                  <a:pt x="140" y="785"/>
                </a:lnTo>
                <a:lnTo>
                  <a:pt x="146" y="783"/>
                </a:lnTo>
                <a:lnTo>
                  <a:pt x="150" y="780"/>
                </a:lnTo>
                <a:lnTo>
                  <a:pt x="152" y="776"/>
                </a:lnTo>
                <a:lnTo>
                  <a:pt x="186" y="776"/>
                </a:lnTo>
                <a:lnTo>
                  <a:pt x="189" y="788"/>
                </a:lnTo>
                <a:lnTo>
                  <a:pt x="193" y="800"/>
                </a:lnTo>
                <a:lnTo>
                  <a:pt x="197" y="813"/>
                </a:lnTo>
                <a:lnTo>
                  <a:pt x="204" y="825"/>
                </a:lnTo>
                <a:lnTo>
                  <a:pt x="207" y="830"/>
                </a:lnTo>
                <a:lnTo>
                  <a:pt x="212" y="835"/>
                </a:lnTo>
                <a:lnTo>
                  <a:pt x="216" y="839"/>
                </a:lnTo>
                <a:lnTo>
                  <a:pt x="221" y="843"/>
                </a:lnTo>
                <a:lnTo>
                  <a:pt x="226" y="846"/>
                </a:lnTo>
                <a:lnTo>
                  <a:pt x="233" y="848"/>
                </a:lnTo>
                <a:lnTo>
                  <a:pt x="239" y="849"/>
                </a:lnTo>
                <a:lnTo>
                  <a:pt x="246" y="850"/>
                </a:lnTo>
                <a:lnTo>
                  <a:pt x="246" y="862"/>
                </a:lnTo>
                <a:lnTo>
                  <a:pt x="246" y="871"/>
                </a:lnTo>
                <a:lnTo>
                  <a:pt x="246" y="881"/>
                </a:lnTo>
                <a:lnTo>
                  <a:pt x="246" y="893"/>
                </a:lnTo>
                <a:lnTo>
                  <a:pt x="326" y="893"/>
                </a:lnTo>
                <a:lnTo>
                  <a:pt x="326" y="889"/>
                </a:lnTo>
                <a:lnTo>
                  <a:pt x="328" y="884"/>
                </a:lnTo>
                <a:lnTo>
                  <a:pt x="330" y="880"/>
                </a:lnTo>
                <a:lnTo>
                  <a:pt x="334" y="876"/>
                </a:lnTo>
                <a:lnTo>
                  <a:pt x="339" y="868"/>
                </a:lnTo>
                <a:lnTo>
                  <a:pt x="346" y="862"/>
                </a:lnTo>
                <a:lnTo>
                  <a:pt x="347" y="871"/>
                </a:lnTo>
                <a:lnTo>
                  <a:pt x="348" y="880"/>
                </a:lnTo>
                <a:lnTo>
                  <a:pt x="349" y="884"/>
                </a:lnTo>
                <a:lnTo>
                  <a:pt x="348" y="888"/>
                </a:lnTo>
                <a:lnTo>
                  <a:pt x="348" y="891"/>
                </a:lnTo>
                <a:lnTo>
                  <a:pt x="346" y="893"/>
                </a:lnTo>
                <a:lnTo>
                  <a:pt x="358" y="893"/>
                </a:lnTo>
                <a:lnTo>
                  <a:pt x="371" y="893"/>
                </a:lnTo>
                <a:lnTo>
                  <a:pt x="381" y="893"/>
                </a:lnTo>
                <a:lnTo>
                  <a:pt x="385" y="893"/>
                </a:lnTo>
                <a:lnTo>
                  <a:pt x="392" y="881"/>
                </a:lnTo>
                <a:lnTo>
                  <a:pt x="397" y="868"/>
                </a:lnTo>
                <a:lnTo>
                  <a:pt x="401" y="854"/>
                </a:lnTo>
                <a:lnTo>
                  <a:pt x="404" y="841"/>
                </a:lnTo>
                <a:lnTo>
                  <a:pt x="408" y="813"/>
                </a:lnTo>
                <a:lnTo>
                  <a:pt x="412" y="788"/>
                </a:lnTo>
                <a:lnTo>
                  <a:pt x="415" y="782"/>
                </a:lnTo>
                <a:lnTo>
                  <a:pt x="418" y="776"/>
                </a:lnTo>
                <a:lnTo>
                  <a:pt x="424" y="771"/>
                </a:lnTo>
                <a:lnTo>
                  <a:pt x="428" y="767"/>
                </a:lnTo>
                <a:lnTo>
                  <a:pt x="440" y="759"/>
                </a:lnTo>
                <a:lnTo>
                  <a:pt x="452" y="754"/>
                </a:lnTo>
                <a:lnTo>
                  <a:pt x="464" y="750"/>
                </a:lnTo>
                <a:lnTo>
                  <a:pt x="475" y="746"/>
                </a:lnTo>
                <a:lnTo>
                  <a:pt x="485" y="743"/>
                </a:lnTo>
                <a:lnTo>
                  <a:pt x="492" y="739"/>
                </a:lnTo>
                <a:lnTo>
                  <a:pt x="496" y="734"/>
                </a:lnTo>
                <a:lnTo>
                  <a:pt x="501" y="729"/>
                </a:lnTo>
                <a:lnTo>
                  <a:pt x="505" y="723"/>
                </a:lnTo>
                <a:lnTo>
                  <a:pt x="508" y="716"/>
                </a:lnTo>
                <a:lnTo>
                  <a:pt x="515" y="702"/>
                </a:lnTo>
                <a:lnTo>
                  <a:pt x="521" y="690"/>
                </a:lnTo>
                <a:lnTo>
                  <a:pt x="528" y="678"/>
                </a:lnTo>
                <a:lnTo>
                  <a:pt x="535" y="668"/>
                </a:lnTo>
                <a:lnTo>
                  <a:pt x="539" y="664"/>
                </a:lnTo>
                <a:lnTo>
                  <a:pt x="542" y="662"/>
                </a:lnTo>
                <a:lnTo>
                  <a:pt x="547" y="660"/>
                </a:lnTo>
                <a:lnTo>
                  <a:pt x="551" y="659"/>
                </a:lnTo>
                <a:lnTo>
                  <a:pt x="562" y="660"/>
                </a:lnTo>
                <a:lnTo>
                  <a:pt x="572" y="659"/>
                </a:lnTo>
                <a:lnTo>
                  <a:pt x="581" y="657"/>
                </a:lnTo>
                <a:lnTo>
                  <a:pt x="588" y="653"/>
                </a:lnTo>
                <a:lnTo>
                  <a:pt x="605" y="644"/>
                </a:lnTo>
                <a:lnTo>
                  <a:pt x="620" y="634"/>
                </a:lnTo>
                <a:lnTo>
                  <a:pt x="629" y="629"/>
                </a:lnTo>
                <a:lnTo>
                  <a:pt x="639" y="624"/>
                </a:lnTo>
                <a:lnTo>
                  <a:pt x="649" y="620"/>
                </a:lnTo>
                <a:lnTo>
                  <a:pt x="661" y="616"/>
                </a:lnTo>
                <a:lnTo>
                  <a:pt x="674" y="613"/>
                </a:lnTo>
                <a:lnTo>
                  <a:pt x="688" y="610"/>
                </a:lnTo>
                <a:lnTo>
                  <a:pt x="706" y="609"/>
                </a:lnTo>
                <a:lnTo>
                  <a:pt x="724" y="610"/>
                </a:lnTo>
                <a:lnTo>
                  <a:pt x="777" y="610"/>
                </a:lnTo>
                <a:lnTo>
                  <a:pt x="783" y="606"/>
                </a:lnTo>
                <a:lnTo>
                  <a:pt x="788" y="602"/>
                </a:lnTo>
                <a:lnTo>
                  <a:pt x="795" y="600"/>
                </a:lnTo>
                <a:lnTo>
                  <a:pt x="800" y="598"/>
                </a:lnTo>
                <a:lnTo>
                  <a:pt x="815" y="594"/>
                </a:lnTo>
                <a:lnTo>
                  <a:pt x="830" y="592"/>
                </a:lnTo>
                <a:lnTo>
                  <a:pt x="845" y="591"/>
                </a:lnTo>
                <a:lnTo>
                  <a:pt x="863" y="590"/>
                </a:lnTo>
                <a:lnTo>
                  <a:pt x="879" y="588"/>
                </a:lnTo>
                <a:lnTo>
                  <a:pt x="897" y="585"/>
                </a:lnTo>
                <a:lnTo>
                  <a:pt x="901" y="583"/>
                </a:lnTo>
                <a:lnTo>
                  <a:pt x="906" y="580"/>
                </a:lnTo>
                <a:lnTo>
                  <a:pt x="909" y="577"/>
                </a:lnTo>
                <a:lnTo>
                  <a:pt x="913" y="574"/>
                </a:lnTo>
                <a:lnTo>
                  <a:pt x="920" y="565"/>
                </a:lnTo>
                <a:lnTo>
                  <a:pt x="925" y="555"/>
                </a:lnTo>
                <a:lnTo>
                  <a:pt x="931" y="544"/>
                </a:lnTo>
                <a:lnTo>
                  <a:pt x="935" y="531"/>
                </a:lnTo>
                <a:lnTo>
                  <a:pt x="940" y="518"/>
                </a:lnTo>
                <a:lnTo>
                  <a:pt x="943" y="504"/>
                </a:lnTo>
                <a:lnTo>
                  <a:pt x="945" y="490"/>
                </a:lnTo>
                <a:lnTo>
                  <a:pt x="947" y="475"/>
                </a:lnTo>
                <a:lnTo>
                  <a:pt x="948" y="461"/>
                </a:lnTo>
                <a:lnTo>
                  <a:pt x="948" y="447"/>
                </a:lnTo>
                <a:lnTo>
                  <a:pt x="948" y="434"/>
                </a:lnTo>
                <a:lnTo>
                  <a:pt x="947" y="421"/>
                </a:lnTo>
                <a:lnTo>
                  <a:pt x="945" y="410"/>
                </a:lnTo>
                <a:lnTo>
                  <a:pt x="943" y="400"/>
                </a:lnTo>
                <a:lnTo>
                  <a:pt x="943" y="363"/>
                </a:lnTo>
                <a:lnTo>
                  <a:pt x="939" y="362"/>
                </a:lnTo>
                <a:lnTo>
                  <a:pt x="931" y="359"/>
                </a:lnTo>
                <a:lnTo>
                  <a:pt x="922" y="356"/>
                </a:lnTo>
                <a:lnTo>
                  <a:pt x="912" y="350"/>
                </a:lnTo>
                <a:lnTo>
                  <a:pt x="888" y="337"/>
                </a:lnTo>
                <a:lnTo>
                  <a:pt x="862" y="322"/>
                </a:lnTo>
                <a:lnTo>
                  <a:pt x="835" y="305"/>
                </a:lnTo>
                <a:lnTo>
                  <a:pt x="811" y="290"/>
                </a:lnTo>
                <a:lnTo>
                  <a:pt x="794" y="278"/>
                </a:lnTo>
                <a:lnTo>
                  <a:pt x="784" y="271"/>
                </a:lnTo>
                <a:lnTo>
                  <a:pt x="764" y="240"/>
                </a:lnTo>
                <a:lnTo>
                  <a:pt x="738" y="216"/>
                </a:lnTo>
                <a:lnTo>
                  <a:pt x="405" y="0"/>
                </a:lnTo>
                <a:lnTo>
                  <a:pt x="408" y="6"/>
                </a:lnTo>
                <a:lnTo>
                  <a:pt x="412" y="12"/>
                </a:lnTo>
                <a:lnTo>
                  <a:pt x="339" y="12"/>
                </a:lnTo>
                <a:lnTo>
                  <a:pt x="341" y="36"/>
                </a:lnTo>
                <a:lnTo>
                  <a:pt x="348" y="102"/>
                </a:lnTo>
                <a:lnTo>
                  <a:pt x="358" y="193"/>
                </a:lnTo>
                <a:lnTo>
                  <a:pt x="368" y="299"/>
                </a:lnTo>
                <a:lnTo>
                  <a:pt x="379" y="405"/>
                </a:lnTo>
                <a:lnTo>
                  <a:pt x="386" y="498"/>
                </a:lnTo>
                <a:lnTo>
                  <a:pt x="390" y="535"/>
                </a:lnTo>
                <a:lnTo>
                  <a:pt x="392" y="565"/>
                </a:lnTo>
                <a:lnTo>
                  <a:pt x="393" y="583"/>
                </a:lnTo>
                <a:lnTo>
                  <a:pt x="392" y="591"/>
                </a:lnTo>
                <a:lnTo>
                  <a:pt x="93" y="591"/>
                </a:lnTo>
                <a:lnTo>
                  <a:pt x="88" y="597"/>
                </a:lnTo>
                <a:lnTo>
                  <a:pt x="82" y="603"/>
                </a:lnTo>
                <a:lnTo>
                  <a:pt x="79" y="606"/>
                </a:lnTo>
                <a:lnTo>
                  <a:pt x="76" y="608"/>
                </a:lnTo>
                <a:lnTo>
                  <a:pt x="71" y="609"/>
                </a:lnTo>
                <a:lnTo>
                  <a:pt x="67" y="610"/>
                </a:lnTo>
                <a:lnTo>
                  <a:pt x="64" y="609"/>
                </a:lnTo>
                <a:lnTo>
                  <a:pt x="60" y="608"/>
                </a:lnTo>
                <a:lnTo>
                  <a:pt x="57" y="607"/>
                </a:lnTo>
                <a:lnTo>
                  <a:pt x="55" y="604"/>
                </a:lnTo>
                <a:lnTo>
                  <a:pt x="51" y="598"/>
                </a:lnTo>
                <a:lnTo>
                  <a:pt x="49" y="591"/>
                </a:lnTo>
                <a:lnTo>
                  <a:pt x="47" y="578"/>
                </a:lnTo>
                <a:lnTo>
                  <a:pt x="47" y="573"/>
                </a:lnTo>
                <a:lnTo>
                  <a:pt x="40" y="581"/>
                </a:lnTo>
                <a:lnTo>
                  <a:pt x="36" y="590"/>
                </a:lnTo>
                <a:lnTo>
                  <a:pt x="33" y="598"/>
                </a:lnTo>
                <a:lnTo>
                  <a:pt x="29" y="605"/>
                </a:lnTo>
                <a:lnTo>
                  <a:pt x="26" y="612"/>
                </a:lnTo>
                <a:lnTo>
                  <a:pt x="22" y="618"/>
                </a:lnTo>
                <a:lnTo>
                  <a:pt x="15" y="623"/>
                </a:lnTo>
                <a:lnTo>
                  <a:pt x="6" y="628"/>
                </a:lnTo>
                <a:lnTo>
                  <a:pt x="0" y="709"/>
                </a:lnTo>
                <a:lnTo>
                  <a:pt x="67" y="733"/>
                </a:lnTo>
                <a:lnTo>
                  <a:pt x="65" y="738"/>
                </a:lnTo>
                <a:lnTo>
                  <a:pt x="62" y="743"/>
                </a:lnTo>
                <a:lnTo>
                  <a:pt x="61" y="748"/>
                </a:lnTo>
                <a:lnTo>
                  <a:pt x="61" y="753"/>
                </a:lnTo>
                <a:lnTo>
                  <a:pt x="61" y="757"/>
                </a:lnTo>
                <a:lnTo>
                  <a:pt x="62" y="760"/>
                </a:lnTo>
                <a:lnTo>
                  <a:pt x="65" y="763"/>
                </a:lnTo>
                <a:lnTo>
                  <a:pt x="67" y="764"/>
                </a:lnTo>
                <a:lnTo>
                  <a:pt x="54" y="78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285" name="Freeform 237"/>
          <p:cNvSpPr>
            <a:spLocks/>
          </p:cNvSpPr>
          <p:nvPr>
            <p:custDataLst>
              <p:tags r:id="rId164"/>
            </p:custDataLst>
          </p:nvPr>
        </p:nvSpPr>
        <p:spPr bwMode="auto">
          <a:xfrm>
            <a:off x="3808418" y="1859761"/>
            <a:ext cx="493712" cy="434579"/>
          </a:xfrm>
          <a:custGeom>
            <a:avLst/>
            <a:gdLst/>
            <a:ahLst/>
            <a:cxnLst>
              <a:cxn ang="0">
                <a:pos x="238" y="367"/>
              </a:cxn>
              <a:cxn ang="0">
                <a:pos x="244" y="365"/>
              </a:cxn>
              <a:cxn ang="0">
                <a:pos x="255" y="368"/>
              </a:cxn>
              <a:cxn ang="0">
                <a:pos x="372" y="277"/>
              </a:cxn>
              <a:cxn ang="0">
                <a:pos x="369" y="270"/>
              </a:cxn>
              <a:cxn ang="0">
                <a:pos x="361" y="264"/>
              </a:cxn>
              <a:cxn ang="0">
                <a:pos x="347" y="259"/>
              </a:cxn>
              <a:cxn ang="0">
                <a:pos x="339" y="254"/>
              </a:cxn>
              <a:cxn ang="0">
                <a:pos x="336" y="247"/>
              </a:cxn>
              <a:cxn ang="0">
                <a:pos x="337" y="228"/>
              </a:cxn>
              <a:cxn ang="0">
                <a:pos x="337" y="196"/>
              </a:cxn>
              <a:cxn ang="0">
                <a:pos x="334" y="168"/>
              </a:cxn>
              <a:cxn ang="0">
                <a:pos x="329" y="155"/>
              </a:cxn>
              <a:cxn ang="0">
                <a:pos x="323" y="142"/>
              </a:cxn>
              <a:cxn ang="0">
                <a:pos x="315" y="109"/>
              </a:cxn>
              <a:cxn ang="0">
                <a:pos x="306" y="90"/>
              </a:cxn>
              <a:cxn ang="0">
                <a:pos x="297" y="78"/>
              </a:cxn>
              <a:cxn ang="0">
                <a:pos x="300" y="63"/>
              </a:cxn>
              <a:cxn ang="0">
                <a:pos x="301" y="43"/>
              </a:cxn>
              <a:cxn ang="0">
                <a:pos x="302" y="23"/>
              </a:cxn>
              <a:cxn ang="0">
                <a:pos x="310" y="7"/>
              </a:cxn>
              <a:cxn ang="0">
                <a:pos x="302" y="6"/>
              </a:cxn>
              <a:cxn ang="0">
                <a:pos x="278" y="12"/>
              </a:cxn>
              <a:cxn ang="0">
                <a:pos x="245" y="12"/>
              </a:cxn>
              <a:cxn ang="0">
                <a:pos x="206" y="14"/>
              </a:cxn>
              <a:cxn ang="0">
                <a:pos x="168" y="24"/>
              </a:cxn>
              <a:cxn ang="0">
                <a:pos x="145" y="32"/>
              </a:cxn>
              <a:cxn ang="0">
                <a:pos x="124" y="44"/>
              </a:cxn>
              <a:cxn ang="0">
                <a:pos x="123" y="52"/>
              </a:cxn>
              <a:cxn ang="0">
                <a:pos x="131" y="89"/>
              </a:cxn>
              <a:cxn ang="0">
                <a:pos x="134" y="93"/>
              </a:cxn>
              <a:cxn ang="0">
                <a:pos x="141" y="98"/>
              </a:cxn>
              <a:cxn ang="0">
                <a:pos x="142" y="102"/>
              </a:cxn>
              <a:cxn ang="0">
                <a:pos x="139" y="107"/>
              </a:cxn>
              <a:cxn ang="0">
                <a:pos x="128" y="107"/>
              </a:cxn>
              <a:cxn ang="0">
                <a:pos x="106" y="113"/>
              </a:cxn>
              <a:cxn ang="0">
                <a:pos x="95" y="122"/>
              </a:cxn>
              <a:cxn ang="0">
                <a:pos x="90" y="131"/>
              </a:cxn>
              <a:cxn ang="0">
                <a:pos x="82" y="137"/>
              </a:cxn>
              <a:cxn ang="0">
                <a:pos x="66" y="150"/>
              </a:cxn>
              <a:cxn ang="0">
                <a:pos x="51" y="158"/>
              </a:cxn>
              <a:cxn ang="0">
                <a:pos x="31" y="160"/>
              </a:cxn>
              <a:cxn ang="0">
                <a:pos x="20" y="164"/>
              </a:cxn>
              <a:cxn ang="0">
                <a:pos x="8" y="174"/>
              </a:cxn>
              <a:cxn ang="0">
                <a:pos x="0" y="200"/>
              </a:cxn>
              <a:cxn ang="0">
                <a:pos x="179" y="331"/>
              </a:cxn>
              <a:cxn ang="0">
                <a:pos x="201" y="352"/>
              </a:cxn>
              <a:cxn ang="0">
                <a:pos x="229" y="368"/>
              </a:cxn>
            </a:cxnLst>
            <a:rect l="0" t="0" r="r" b="b"/>
            <a:pathLst>
              <a:path w="373" h="370">
                <a:moveTo>
                  <a:pt x="235" y="370"/>
                </a:moveTo>
                <a:lnTo>
                  <a:pt x="237" y="369"/>
                </a:lnTo>
                <a:lnTo>
                  <a:pt x="238" y="367"/>
                </a:lnTo>
                <a:lnTo>
                  <a:pt x="238" y="367"/>
                </a:lnTo>
                <a:lnTo>
                  <a:pt x="240" y="366"/>
                </a:lnTo>
                <a:lnTo>
                  <a:pt x="241" y="366"/>
                </a:lnTo>
                <a:lnTo>
                  <a:pt x="242" y="365"/>
                </a:lnTo>
                <a:lnTo>
                  <a:pt x="244" y="365"/>
                </a:lnTo>
                <a:lnTo>
                  <a:pt x="245" y="365"/>
                </a:lnTo>
                <a:lnTo>
                  <a:pt x="249" y="366"/>
                </a:lnTo>
                <a:lnTo>
                  <a:pt x="252" y="367"/>
                </a:lnTo>
                <a:lnTo>
                  <a:pt x="255" y="368"/>
                </a:lnTo>
                <a:lnTo>
                  <a:pt x="257" y="370"/>
                </a:lnTo>
                <a:lnTo>
                  <a:pt x="373" y="282"/>
                </a:lnTo>
                <a:lnTo>
                  <a:pt x="373" y="279"/>
                </a:lnTo>
                <a:lnTo>
                  <a:pt x="372" y="277"/>
                </a:lnTo>
                <a:lnTo>
                  <a:pt x="372" y="275"/>
                </a:lnTo>
                <a:lnTo>
                  <a:pt x="371" y="273"/>
                </a:lnTo>
                <a:lnTo>
                  <a:pt x="370" y="271"/>
                </a:lnTo>
                <a:lnTo>
                  <a:pt x="369" y="270"/>
                </a:lnTo>
                <a:lnTo>
                  <a:pt x="368" y="268"/>
                </a:lnTo>
                <a:lnTo>
                  <a:pt x="367" y="267"/>
                </a:lnTo>
                <a:lnTo>
                  <a:pt x="364" y="265"/>
                </a:lnTo>
                <a:lnTo>
                  <a:pt x="361" y="264"/>
                </a:lnTo>
                <a:lnTo>
                  <a:pt x="358" y="262"/>
                </a:lnTo>
                <a:lnTo>
                  <a:pt x="354" y="261"/>
                </a:lnTo>
                <a:lnTo>
                  <a:pt x="351" y="260"/>
                </a:lnTo>
                <a:lnTo>
                  <a:pt x="347" y="259"/>
                </a:lnTo>
                <a:lnTo>
                  <a:pt x="344" y="258"/>
                </a:lnTo>
                <a:lnTo>
                  <a:pt x="342" y="256"/>
                </a:lnTo>
                <a:lnTo>
                  <a:pt x="340" y="255"/>
                </a:lnTo>
                <a:lnTo>
                  <a:pt x="339" y="254"/>
                </a:lnTo>
                <a:lnTo>
                  <a:pt x="338" y="252"/>
                </a:lnTo>
                <a:lnTo>
                  <a:pt x="337" y="251"/>
                </a:lnTo>
                <a:lnTo>
                  <a:pt x="337" y="249"/>
                </a:lnTo>
                <a:lnTo>
                  <a:pt x="336" y="247"/>
                </a:lnTo>
                <a:lnTo>
                  <a:pt x="336" y="245"/>
                </a:lnTo>
                <a:lnTo>
                  <a:pt x="336" y="243"/>
                </a:lnTo>
                <a:lnTo>
                  <a:pt x="336" y="235"/>
                </a:lnTo>
                <a:lnTo>
                  <a:pt x="337" y="228"/>
                </a:lnTo>
                <a:lnTo>
                  <a:pt x="338" y="220"/>
                </a:lnTo>
                <a:lnTo>
                  <a:pt x="338" y="214"/>
                </a:lnTo>
                <a:lnTo>
                  <a:pt x="338" y="205"/>
                </a:lnTo>
                <a:lnTo>
                  <a:pt x="337" y="196"/>
                </a:lnTo>
                <a:lnTo>
                  <a:pt x="337" y="186"/>
                </a:lnTo>
                <a:lnTo>
                  <a:pt x="336" y="177"/>
                </a:lnTo>
                <a:lnTo>
                  <a:pt x="335" y="172"/>
                </a:lnTo>
                <a:lnTo>
                  <a:pt x="334" y="168"/>
                </a:lnTo>
                <a:lnTo>
                  <a:pt x="333" y="164"/>
                </a:lnTo>
                <a:lnTo>
                  <a:pt x="332" y="160"/>
                </a:lnTo>
                <a:lnTo>
                  <a:pt x="330" y="157"/>
                </a:lnTo>
                <a:lnTo>
                  <a:pt x="329" y="155"/>
                </a:lnTo>
                <a:lnTo>
                  <a:pt x="327" y="153"/>
                </a:lnTo>
                <a:lnTo>
                  <a:pt x="325" y="152"/>
                </a:lnTo>
                <a:lnTo>
                  <a:pt x="324" y="147"/>
                </a:lnTo>
                <a:lnTo>
                  <a:pt x="323" y="142"/>
                </a:lnTo>
                <a:lnTo>
                  <a:pt x="322" y="136"/>
                </a:lnTo>
                <a:lnTo>
                  <a:pt x="321" y="130"/>
                </a:lnTo>
                <a:lnTo>
                  <a:pt x="319" y="120"/>
                </a:lnTo>
                <a:lnTo>
                  <a:pt x="315" y="109"/>
                </a:lnTo>
                <a:lnTo>
                  <a:pt x="313" y="104"/>
                </a:lnTo>
                <a:lnTo>
                  <a:pt x="311" y="99"/>
                </a:lnTo>
                <a:lnTo>
                  <a:pt x="308" y="94"/>
                </a:lnTo>
                <a:lnTo>
                  <a:pt x="306" y="90"/>
                </a:lnTo>
                <a:lnTo>
                  <a:pt x="304" y="86"/>
                </a:lnTo>
                <a:lnTo>
                  <a:pt x="301" y="83"/>
                </a:lnTo>
                <a:lnTo>
                  <a:pt x="299" y="80"/>
                </a:lnTo>
                <a:lnTo>
                  <a:pt x="297" y="78"/>
                </a:lnTo>
                <a:lnTo>
                  <a:pt x="298" y="74"/>
                </a:lnTo>
                <a:lnTo>
                  <a:pt x="299" y="69"/>
                </a:lnTo>
                <a:lnTo>
                  <a:pt x="300" y="66"/>
                </a:lnTo>
                <a:lnTo>
                  <a:pt x="300" y="63"/>
                </a:lnTo>
                <a:lnTo>
                  <a:pt x="301" y="60"/>
                </a:lnTo>
                <a:lnTo>
                  <a:pt x="303" y="57"/>
                </a:lnTo>
                <a:lnTo>
                  <a:pt x="302" y="50"/>
                </a:lnTo>
                <a:lnTo>
                  <a:pt x="301" y="43"/>
                </a:lnTo>
                <a:lnTo>
                  <a:pt x="301" y="37"/>
                </a:lnTo>
                <a:lnTo>
                  <a:pt x="301" y="32"/>
                </a:lnTo>
                <a:lnTo>
                  <a:pt x="301" y="27"/>
                </a:lnTo>
                <a:lnTo>
                  <a:pt x="302" y="23"/>
                </a:lnTo>
                <a:lnTo>
                  <a:pt x="303" y="19"/>
                </a:lnTo>
                <a:lnTo>
                  <a:pt x="304" y="16"/>
                </a:lnTo>
                <a:lnTo>
                  <a:pt x="307" y="11"/>
                </a:lnTo>
                <a:lnTo>
                  <a:pt x="310" y="7"/>
                </a:lnTo>
                <a:lnTo>
                  <a:pt x="312" y="3"/>
                </a:lnTo>
                <a:lnTo>
                  <a:pt x="314" y="0"/>
                </a:lnTo>
                <a:lnTo>
                  <a:pt x="308" y="3"/>
                </a:lnTo>
                <a:lnTo>
                  <a:pt x="302" y="6"/>
                </a:lnTo>
                <a:lnTo>
                  <a:pt x="297" y="8"/>
                </a:lnTo>
                <a:lnTo>
                  <a:pt x="290" y="9"/>
                </a:lnTo>
                <a:lnTo>
                  <a:pt x="284" y="11"/>
                </a:lnTo>
                <a:lnTo>
                  <a:pt x="278" y="12"/>
                </a:lnTo>
                <a:lnTo>
                  <a:pt x="271" y="12"/>
                </a:lnTo>
                <a:lnTo>
                  <a:pt x="264" y="12"/>
                </a:lnTo>
                <a:lnTo>
                  <a:pt x="256" y="12"/>
                </a:lnTo>
                <a:lnTo>
                  <a:pt x="245" y="12"/>
                </a:lnTo>
                <a:lnTo>
                  <a:pt x="233" y="12"/>
                </a:lnTo>
                <a:lnTo>
                  <a:pt x="222" y="12"/>
                </a:lnTo>
                <a:lnTo>
                  <a:pt x="215" y="13"/>
                </a:lnTo>
                <a:lnTo>
                  <a:pt x="206" y="14"/>
                </a:lnTo>
                <a:lnTo>
                  <a:pt x="197" y="16"/>
                </a:lnTo>
                <a:lnTo>
                  <a:pt x="187" y="18"/>
                </a:lnTo>
                <a:lnTo>
                  <a:pt x="177" y="21"/>
                </a:lnTo>
                <a:lnTo>
                  <a:pt x="168" y="24"/>
                </a:lnTo>
                <a:lnTo>
                  <a:pt x="159" y="26"/>
                </a:lnTo>
                <a:lnTo>
                  <a:pt x="153" y="29"/>
                </a:lnTo>
                <a:lnTo>
                  <a:pt x="150" y="30"/>
                </a:lnTo>
                <a:lnTo>
                  <a:pt x="145" y="32"/>
                </a:lnTo>
                <a:lnTo>
                  <a:pt x="140" y="34"/>
                </a:lnTo>
                <a:lnTo>
                  <a:pt x="135" y="37"/>
                </a:lnTo>
                <a:lnTo>
                  <a:pt x="130" y="40"/>
                </a:lnTo>
                <a:lnTo>
                  <a:pt x="124" y="44"/>
                </a:lnTo>
                <a:lnTo>
                  <a:pt x="119" y="48"/>
                </a:lnTo>
                <a:lnTo>
                  <a:pt x="116" y="51"/>
                </a:lnTo>
                <a:lnTo>
                  <a:pt x="118" y="52"/>
                </a:lnTo>
                <a:lnTo>
                  <a:pt x="123" y="52"/>
                </a:lnTo>
                <a:lnTo>
                  <a:pt x="128" y="53"/>
                </a:lnTo>
                <a:lnTo>
                  <a:pt x="131" y="53"/>
                </a:lnTo>
                <a:lnTo>
                  <a:pt x="131" y="88"/>
                </a:lnTo>
                <a:lnTo>
                  <a:pt x="131" y="89"/>
                </a:lnTo>
                <a:lnTo>
                  <a:pt x="131" y="90"/>
                </a:lnTo>
                <a:lnTo>
                  <a:pt x="132" y="91"/>
                </a:lnTo>
                <a:lnTo>
                  <a:pt x="133" y="92"/>
                </a:lnTo>
                <a:lnTo>
                  <a:pt x="134" y="93"/>
                </a:lnTo>
                <a:lnTo>
                  <a:pt x="136" y="94"/>
                </a:lnTo>
                <a:lnTo>
                  <a:pt x="138" y="95"/>
                </a:lnTo>
                <a:lnTo>
                  <a:pt x="140" y="97"/>
                </a:lnTo>
                <a:lnTo>
                  <a:pt x="141" y="98"/>
                </a:lnTo>
                <a:lnTo>
                  <a:pt x="141" y="99"/>
                </a:lnTo>
                <a:lnTo>
                  <a:pt x="142" y="100"/>
                </a:lnTo>
                <a:lnTo>
                  <a:pt x="142" y="101"/>
                </a:lnTo>
                <a:lnTo>
                  <a:pt x="142" y="102"/>
                </a:lnTo>
                <a:lnTo>
                  <a:pt x="141" y="104"/>
                </a:lnTo>
                <a:lnTo>
                  <a:pt x="141" y="105"/>
                </a:lnTo>
                <a:lnTo>
                  <a:pt x="140" y="106"/>
                </a:lnTo>
                <a:lnTo>
                  <a:pt x="139" y="107"/>
                </a:lnTo>
                <a:lnTo>
                  <a:pt x="138" y="107"/>
                </a:lnTo>
                <a:lnTo>
                  <a:pt x="136" y="107"/>
                </a:lnTo>
                <a:lnTo>
                  <a:pt x="135" y="108"/>
                </a:lnTo>
                <a:lnTo>
                  <a:pt x="128" y="107"/>
                </a:lnTo>
                <a:lnTo>
                  <a:pt x="120" y="107"/>
                </a:lnTo>
                <a:lnTo>
                  <a:pt x="116" y="108"/>
                </a:lnTo>
                <a:lnTo>
                  <a:pt x="112" y="111"/>
                </a:lnTo>
                <a:lnTo>
                  <a:pt x="106" y="113"/>
                </a:lnTo>
                <a:lnTo>
                  <a:pt x="101" y="116"/>
                </a:lnTo>
                <a:lnTo>
                  <a:pt x="99" y="118"/>
                </a:lnTo>
                <a:lnTo>
                  <a:pt x="97" y="120"/>
                </a:lnTo>
                <a:lnTo>
                  <a:pt x="95" y="122"/>
                </a:lnTo>
                <a:lnTo>
                  <a:pt x="93" y="124"/>
                </a:lnTo>
                <a:lnTo>
                  <a:pt x="92" y="126"/>
                </a:lnTo>
                <a:lnTo>
                  <a:pt x="91" y="128"/>
                </a:lnTo>
                <a:lnTo>
                  <a:pt x="90" y="131"/>
                </a:lnTo>
                <a:lnTo>
                  <a:pt x="90" y="133"/>
                </a:lnTo>
                <a:lnTo>
                  <a:pt x="87" y="134"/>
                </a:lnTo>
                <a:lnTo>
                  <a:pt x="84" y="135"/>
                </a:lnTo>
                <a:lnTo>
                  <a:pt x="82" y="137"/>
                </a:lnTo>
                <a:lnTo>
                  <a:pt x="79" y="139"/>
                </a:lnTo>
                <a:lnTo>
                  <a:pt x="74" y="143"/>
                </a:lnTo>
                <a:lnTo>
                  <a:pt x="69" y="148"/>
                </a:lnTo>
                <a:lnTo>
                  <a:pt x="66" y="150"/>
                </a:lnTo>
                <a:lnTo>
                  <a:pt x="62" y="152"/>
                </a:lnTo>
                <a:lnTo>
                  <a:pt x="59" y="155"/>
                </a:lnTo>
                <a:lnTo>
                  <a:pt x="55" y="156"/>
                </a:lnTo>
                <a:lnTo>
                  <a:pt x="51" y="158"/>
                </a:lnTo>
                <a:lnTo>
                  <a:pt x="46" y="159"/>
                </a:lnTo>
                <a:lnTo>
                  <a:pt x="41" y="160"/>
                </a:lnTo>
                <a:lnTo>
                  <a:pt x="35" y="160"/>
                </a:lnTo>
                <a:lnTo>
                  <a:pt x="31" y="160"/>
                </a:lnTo>
                <a:lnTo>
                  <a:pt x="29" y="161"/>
                </a:lnTo>
                <a:lnTo>
                  <a:pt x="26" y="161"/>
                </a:lnTo>
                <a:lnTo>
                  <a:pt x="24" y="162"/>
                </a:lnTo>
                <a:lnTo>
                  <a:pt x="20" y="164"/>
                </a:lnTo>
                <a:lnTo>
                  <a:pt x="17" y="167"/>
                </a:lnTo>
                <a:lnTo>
                  <a:pt x="13" y="169"/>
                </a:lnTo>
                <a:lnTo>
                  <a:pt x="10" y="172"/>
                </a:lnTo>
                <a:lnTo>
                  <a:pt x="8" y="174"/>
                </a:lnTo>
                <a:lnTo>
                  <a:pt x="6" y="175"/>
                </a:lnTo>
                <a:lnTo>
                  <a:pt x="3" y="176"/>
                </a:lnTo>
                <a:lnTo>
                  <a:pt x="0" y="177"/>
                </a:lnTo>
                <a:lnTo>
                  <a:pt x="0" y="200"/>
                </a:lnTo>
                <a:lnTo>
                  <a:pt x="0" y="208"/>
                </a:lnTo>
                <a:lnTo>
                  <a:pt x="69" y="253"/>
                </a:lnTo>
                <a:lnTo>
                  <a:pt x="170" y="323"/>
                </a:lnTo>
                <a:lnTo>
                  <a:pt x="179" y="331"/>
                </a:lnTo>
                <a:lnTo>
                  <a:pt x="185" y="341"/>
                </a:lnTo>
                <a:lnTo>
                  <a:pt x="189" y="344"/>
                </a:lnTo>
                <a:lnTo>
                  <a:pt x="194" y="347"/>
                </a:lnTo>
                <a:lnTo>
                  <a:pt x="201" y="352"/>
                </a:lnTo>
                <a:lnTo>
                  <a:pt x="210" y="357"/>
                </a:lnTo>
                <a:lnTo>
                  <a:pt x="218" y="362"/>
                </a:lnTo>
                <a:lnTo>
                  <a:pt x="226" y="366"/>
                </a:lnTo>
                <a:lnTo>
                  <a:pt x="229" y="368"/>
                </a:lnTo>
                <a:lnTo>
                  <a:pt x="232" y="369"/>
                </a:lnTo>
                <a:lnTo>
                  <a:pt x="234" y="370"/>
                </a:lnTo>
                <a:lnTo>
                  <a:pt x="235" y="37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286" name="Freeform 238"/>
          <p:cNvSpPr>
            <a:spLocks/>
          </p:cNvSpPr>
          <p:nvPr>
            <p:custDataLst>
              <p:tags r:id="rId165"/>
            </p:custDataLst>
          </p:nvPr>
        </p:nvSpPr>
        <p:spPr bwMode="auto">
          <a:xfrm>
            <a:off x="4244975" y="1960962"/>
            <a:ext cx="384175" cy="327422"/>
          </a:xfrm>
          <a:custGeom>
            <a:avLst/>
            <a:gdLst/>
            <a:ahLst/>
            <a:cxnLst>
              <a:cxn ang="0">
                <a:pos x="36" y="141"/>
              </a:cxn>
              <a:cxn ang="0">
                <a:pos x="46" y="109"/>
              </a:cxn>
              <a:cxn ang="0">
                <a:pos x="46" y="70"/>
              </a:cxn>
              <a:cxn ang="0">
                <a:pos x="61" y="64"/>
              </a:cxn>
              <a:cxn ang="0">
                <a:pos x="89" y="55"/>
              </a:cxn>
              <a:cxn ang="0">
                <a:pos x="99" y="20"/>
              </a:cxn>
              <a:cxn ang="0">
                <a:pos x="168" y="6"/>
              </a:cxn>
              <a:cxn ang="0">
                <a:pos x="242" y="24"/>
              </a:cxn>
              <a:cxn ang="0">
                <a:pos x="273" y="43"/>
              </a:cxn>
              <a:cxn ang="0">
                <a:pos x="285" y="78"/>
              </a:cxn>
              <a:cxn ang="0">
                <a:pos x="295" y="101"/>
              </a:cxn>
              <a:cxn ang="0">
                <a:pos x="325" y="110"/>
              </a:cxn>
              <a:cxn ang="0">
                <a:pos x="363" y="109"/>
              </a:cxn>
              <a:cxn ang="0">
                <a:pos x="421" y="133"/>
              </a:cxn>
              <a:cxn ang="0">
                <a:pos x="478" y="162"/>
              </a:cxn>
              <a:cxn ang="0">
                <a:pos x="513" y="166"/>
              </a:cxn>
              <a:cxn ang="0">
                <a:pos x="538" y="158"/>
              </a:cxn>
              <a:cxn ang="0">
                <a:pos x="549" y="126"/>
              </a:cxn>
              <a:cxn ang="0">
                <a:pos x="544" y="103"/>
              </a:cxn>
              <a:cxn ang="0">
                <a:pos x="531" y="81"/>
              </a:cxn>
              <a:cxn ang="0">
                <a:pos x="539" y="49"/>
              </a:cxn>
              <a:cxn ang="0">
                <a:pos x="574" y="34"/>
              </a:cxn>
              <a:cxn ang="0">
                <a:pos x="617" y="4"/>
              </a:cxn>
              <a:cxn ang="0">
                <a:pos x="650" y="0"/>
              </a:cxn>
              <a:cxn ang="0">
                <a:pos x="681" y="6"/>
              </a:cxn>
              <a:cxn ang="0">
                <a:pos x="695" y="24"/>
              </a:cxn>
              <a:cxn ang="0">
                <a:pos x="706" y="50"/>
              </a:cxn>
              <a:cxn ang="0">
                <a:pos x="728" y="63"/>
              </a:cxn>
              <a:cxn ang="0">
                <a:pos x="798" y="71"/>
              </a:cxn>
              <a:cxn ang="0">
                <a:pos x="830" y="97"/>
              </a:cxn>
              <a:cxn ang="0">
                <a:pos x="834" y="117"/>
              </a:cxn>
              <a:cxn ang="0">
                <a:pos x="843" y="140"/>
              </a:cxn>
              <a:cxn ang="0">
                <a:pos x="836" y="159"/>
              </a:cxn>
              <a:cxn ang="0">
                <a:pos x="824" y="170"/>
              </a:cxn>
              <a:cxn ang="0">
                <a:pos x="829" y="207"/>
              </a:cxn>
              <a:cxn ang="0">
                <a:pos x="858" y="245"/>
              </a:cxn>
              <a:cxn ang="0">
                <a:pos x="876" y="687"/>
              </a:cxn>
              <a:cxn ang="0">
                <a:pos x="877" y="741"/>
              </a:cxn>
              <a:cxn ang="0">
                <a:pos x="870" y="775"/>
              </a:cxn>
              <a:cxn ang="0">
                <a:pos x="848" y="783"/>
              </a:cxn>
              <a:cxn ang="0">
                <a:pos x="830" y="804"/>
              </a:cxn>
              <a:cxn ang="0">
                <a:pos x="366" y="593"/>
              </a:cxn>
              <a:cxn ang="0">
                <a:pos x="331" y="607"/>
              </a:cxn>
              <a:cxn ang="0">
                <a:pos x="292" y="626"/>
              </a:cxn>
              <a:cxn ang="0">
                <a:pos x="263" y="627"/>
              </a:cxn>
              <a:cxn ang="0">
                <a:pos x="230" y="609"/>
              </a:cxn>
              <a:cxn ang="0">
                <a:pos x="193" y="586"/>
              </a:cxn>
              <a:cxn ang="0">
                <a:pos x="152" y="578"/>
              </a:cxn>
              <a:cxn ang="0">
                <a:pos x="138" y="577"/>
              </a:cxn>
              <a:cxn ang="0">
                <a:pos x="130" y="553"/>
              </a:cxn>
              <a:cxn ang="0">
                <a:pos x="109" y="535"/>
              </a:cxn>
              <a:cxn ang="0">
                <a:pos x="63" y="517"/>
              </a:cxn>
              <a:cxn ang="0">
                <a:pos x="28" y="499"/>
              </a:cxn>
              <a:cxn ang="0">
                <a:pos x="16" y="482"/>
              </a:cxn>
              <a:cxn ang="0">
                <a:pos x="14" y="439"/>
              </a:cxn>
              <a:cxn ang="0">
                <a:pos x="19" y="352"/>
              </a:cxn>
              <a:cxn ang="0">
                <a:pos x="17" y="258"/>
              </a:cxn>
              <a:cxn ang="0">
                <a:pos x="4" y="202"/>
              </a:cxn>
            </a:cxnLst>
            <a:rect l="0" t="0" r="r" b="b"/>
            <a:pathLst>
              <a:path w="877" h="826">
                <a:moveTo>
                  <a:pt x="0" y="190"/>
                </a:moveTo>
                <a:lnTo>
                  <a:pt x="16" y="167"/>
                </a:lnTo>
                <a:lnTo>
                  <a:pt x="33" y="147"/>
                </a:lnTo>
                <a:lnTo>
                  <a:pt x="36" y="141"/>
                </a:lnTo>
                <a:lnTo>
                  <a:pt x="39" y="133"/>
                </a:lnTo>
                <a:lnTo>
                  <a:pt x="41" y="126"/>
                </a:lnTo>
                <a:lnTo>
                  <a:pt x="43" y="118"/>
                </a:lnTo>
                <a:lnTo>
                  <a:pt x="46" y="109"/>
                </a:lnTo>
                <a:lnTo>
                  <a:pt x="47" y="99"/>
                </a:lnTo>
                <a:lnTo>
                  <a:pt x="47" y="87"/>
                </a:lnTo>
                <a:lnTo>
                  <a:pt x="46" y="73"/>
                </a:lnTo>
                <a:lnTo>
                  <a:pt x="46" y="70"/>
                </a:lnTo>
                <a:lnTo>
                  <a:pt x="47" y="67"/>
                </a:lnTo>
                <a:lnTo>
                  <a:pt x="49" y="66"/>
                </a:lnTo>
                <a:lnTo>
                  <a:pt x="52" y="65"/>
                </a:lnTo>
                <a:lnTo>
                  <a:pt x="61" y="64"/>
                </a:lnTo>
                <a:lnTo>
                  <a:pt x="72" y="63"/>
                </a:lnTo>
                <a:lnTo>
                  <a:pt x="78" y="61"/>
                </a:lnTo>
                <a:lnTo>
                  <a:pt x="83" y="59"/>
                </a:lnTo>
                <a:lnTo>
                  <a:pt x="89" y="55"/>
                </a:lnTo>
                <a:lnTo>
                  <a:pt x="93" y="50"/>
                </a:lnTo>
                <a:lnTo>
                  <a:pt x="96" y="42"/>
                </a:lnTo>
                <a:lnTo>
                  <a:pt x="98" y="33"/>
                </a:lnTo>
                <a:lnTo>
                  <a:pt x="99" y="20"/>
                </a:lnTo>
                <a:lnTo>
                  <a:pt x="98" y="6"/>
                </a:lnTo>
                <a:lnTo>
                  <a:pt x="124" y="4"/>
                </a:lnTo>
                <a:lnTo>
                  <a:pt x="147" y="5"/>
                </a:lnTo>
                <a:lnTo>
                  <a:pt x="168" y="6"/>
                </a:lnTo>
                <a:lnTo>
                  <a:pt x="188" y="9"/>
                </a:lnTo>
                <a:lnTo>
                  <a:pt x="208" y="13"/>
                </a:lnTo>
                <a:lnTo>
                  <a:pt x="226" y="18"/>
                </a:lnTo>
                <a:lnTo>
                  <a:pt x="242" y="24"/>
                </a:lnTo>
                <a:lnTo>
                  <a:pt x="259" y="31"/>
                </a:lnTo>
                <a:lnTo>
                  <a:pt x="264" y="35"/>
                </a:lnTo>
                <a:lnTo>
                  <a:pt x="269" y="39"/>
                </a:lnTo>
                <a:lnTo>
                  <a:pt x="273" y="43"/>
                </a:lnTo>
                <a:lnTo>
                  <a:pt x="276" y="47"/>
                </a:lnTo>
                <a:lnTo>
                  <a:pt x="281" y="57"/>
                </a:lnTo>
                <a:lnTo>
                  <a:pt x="283" y="67"/>
                </a:lnTo>
                <a:lnTo>
                  <a:pt x="285" y="78"/>
                </a:lnTo>
                <a:lnTo>
                  <a:pt x="288" y="88"/>
                </a:lnTo>
                <a:lnTo>
                  <a:pt x="289" y="93"/>
                </a:lnTo>
                <a:lnTo>
                  <a:pt x="292" y="97"/>
                </a:lnTo>
                <a:lnTo>
                  <a:pt x="295" y="101"/>
                </a:lnTo>
                <a:lnTo>
                  <a:pt x="298" y="105"/>
                </a:lnTo>
                <a:lnTo>
                  <a:pt x="306" y="108"/>
                </a:lnTo>
                <a:lnTo>
                  <a:pt x="315" y="110"/>
                </a:lnTo>
                <a:lnTo>
                  <a:pt x="325" y="110"/>
                </a:lnTo>
                <a:lnTo>
                  <a:pt x="334" y="110"/>
                </a:lnTo>
                <a:lnTo>
                  <a:pt x="344" y="109"/>
                </a:lnTo>
                <a:lnTo>
                  <a:pt x="354" y="109"/>
                </a:lnTo>
                <a:lnTo>
                  <a:pt x="363" y="109"/>
                </a:lnTo>
                <a:lnTo>
                  <a:pt x="372" y="111"/>
                </a:lnTo>
                <a:lnTo>
                  <a:pt x="388" y="117"/>
                </a:lnTo>
                <a:lnTo>
                  <a:pt x="405" y="124"/>
                </a:lnTo>
                <a:lnTo>
                  <a:pt x="421" y="133"/>
                </a:lnTo>
                <a:lnTo>
                  <a:pt x="438" y="143"/>
                </a:lnTo>
                <a:lnTo>
                  <a:pt x="454" y="152"/>
                </a:lnTo>
                <a:lnTo>
                  <a:pt x="471" y="159"/>
                </a:lnTo>
                <a:lnTo>
                  <a:pt x="478" y="162"/>
                </a:lnTo>
                <a:lnTo>
                  <a:pt x="487" y="164"/>
                </a:lnTo>
                <a:lnTo>
                  <a:pt x="496" y="166"/>
                </a:lnTo>
                <a:lnTo>
                  <a:pt x="505" y="166"/>
                </a:lnTo>
                <a:lnTo>
                  <a:pt x="513" y="166"/>
                </a:lnTo>
                <a:lnTo>
                  <a:pt x="521" y="166"/>
                </a:lnTo>
                <a:lnTo>
                  <a:pt x="529" y="166"/>
                </a:lnTo>
                <a:lnTo>
                  <a:pt x="538" y="166"/>
                </a:lnTo>
                <a:lnTo>
                  <a:pt x="538" y="158"/>
                </a:lnTo>
                <a:lnTo>
                  <a:pt x="540" y="150"/>
                </a:lnTo>
                <a:lnTo>
                  <a:pt x="542" y="143"/>
                </a:lnTo>
                <a:lnTo>
                  <a:pt x="544" y="137"/>
                </a:lnTo>
                <a:lnTo>
                  <a:pt x="549" y="126"/>
                </a:lnTo>
                <a:lnTo>
                  <a:pt x="551" y="117"/>
                </a:lnTo>
                <a:lnTo>
                  <a:pt x="550" y="112"/>
                </a:lnTo>
                <a:lnTo>
                  <a:pt x="547" y="108"/>
                </a:lnTo>
                <a:lnTo>
                  <a:pt x="544" y="103"/>
                </a:lnTo>
                <a:lnTo>
                  <a:pt x="541" y="98"/>
                </a:lnTo>
                <a:lnTo>
                  <a:pt x="537" y="93"/>
                </a:lnTo>
                <a:lnTo>
                  <a:pt x="534" y="87"/>
                </a:lnTo>
                <a:lnTo>
                  <a:pt x="531" y="81"/>
                </a:lnTo>
                <a:lnTo>
                  <a:pt x="531" y="73"/>
                </a:lnTo>
                <a:lnTo>
                  <a:pt x="531" y="61"/>
                </a:lnTo>
                <a:lnTo>
                  <a:pt x="531" y="49"/>
                </a:lnTo>
                <a:lnTo>
                  <a:pt x="539" y="49"/>
                </a:lnTo>
                <a:lnTo>
                  <a:pt x="547" y="47"/>
                </a:lnTo>
                <a:lnTo>
                  <a:pt x="554" y="45"/>
                </a:lnTo>
                <a:lnTo>
                  <a:pt x="562" y="42"/>
                </a:lnTo>
                <a:lnTo>
                  <a:pt x="574" y="34"/>
                </a:lnTo>
                <a:lnTo>
                  <a:pt x="586" y="24"/>
                </a:lnTo>
                <a:lnTo>
                  <a:pt x="598" y="15"/>
                </a:lnTo>
                <a:lnTo>
                  <a:pt x="610" y="7"/>
                </a:lnTo>
                <a:lnTo>
                  <a:pt x="617" y="4"/>
                </a:lnTo>
                <a:lnTo>
                  <a:pt x="623" y="2"/>
                </a:lnTo>
                <a:lnTo>
                  <a:pt x="630" y="0"/>
                </a:lnTo>
                <a:lnTo>
                  <a:pt x="638" y="0"/>
                </a:lnTo>
                <a:lnTo>
                  <a:pt x="650" y="0"/>
                </a:lnTo>
                <a:lnTo>
                  <a:pt x="659" y="1"/>
                </a:lnTo>
                <a:lnTo>
                  <a:pt x="668" y="2"/>
                </a:lnTo>
                <a:lnTo>
                  <a:pt x="676" y="4"/>
                </a:lnTo>
                <a:lnTo>
                  <a:pt x="681" y="6"/>
                </a:lnTo>
                <a:lnTo>
                  <a:pt x="685" y="9"/>
                </a:lnTo>
                <a:lnTo>
                  <a:pt x="688" y="12"/>
                </a:lnTo>
                <a:lnTo>
                  <a:pt x="691" y="16"/>
                </a:lnTo>
                <a:lnTo>
                  <a:pt x="695" y="24"/>
                </a:lnTo>
                <a:lnTo>
                  <a:pt x="698" y="34"/>
                </a:lnTo>
                <a:lnTo>
                  <a:pt x="700" y="39"/>
                </a:lnTo>
                <a:lnTo>
                  <a:pt x="702" y="44"/>
                </a:lnTo>
                <a:lnTo>
                  <a:pt x="706" y="50"/>
                </a:lnTo>
                <a:lnTo>
                  <a:pt x="710" y="55"/>
                </a:lnTo>
                <a:lnTo>
                  <a:pt x="715" y="58"/>
                </a:lnTo>
                <a:lnTo>
                  <a:pt x="721" y="61"/>
                </a:lnTo>
                <a:lnTo>
                  <a:pt x="728" y="63"/>
                </a:lnTo>
                <a:lnTo>
                  <a:pt x="734" y="65"/>
                </a:lnTo>
                <a:lnTo>
                  <a:pt x="750" y="67"/>
                </a:lnTo>
                <a:lnTo>
                  <a:pt x="765" y="69"/>
                </a:lnTo>
                <a:lnTo>
                  <a:pt x="798" y="71"/>
                </a:lnTo>
                <a:lnTo>
                  <a:pt x="830" y="73"/>
                </a:lnTo>
                <a:lnTo>
                  <a:pt x="830" y="83"/>
                </a:lnTo>
                <a:lnTo>
                  <a:pt x="830" y="90"/>
                </a:lnTo>
                <a:lnTo>
                  <a:pt x="830" y="97"/>
                </a:lnTo>
                <a:lnTo>
                  <a:pt x="830" y="105"/>
                </a:lnTo>
                <a:lnTo>
                  <a:pt x="830" y="109"/>
                </a:lnTo>
                <a:lnTo>
                  <a:pt x="832" y="113"/>
                </a:lnTo>
                <a:lnTo>
                  <a:pt x="834" y="117"/>
                </a:lnTo>
                <a:lnTo>
                  <a:pt x="836" y="121"/>
                </a:lnTo>
                <a:lnTo>
                  <a:pt x="838" y="126"/>
                </a:lnTo>
                <a:lnTo>
                  <a:pt x="841" y="132"/>
                </a:lnTo>
                <a:lnTo>
                  <a:pt x="843" y="140"/>
                </a:lnTo>
                <a:lnTo>
                  <a:pt x="843" y="148"/>
                </a:lnTo>
                <a:lnTo>
                  <a:pt x="842" y="152"/>
                </a:lnTo>
                <a:lnTo>
                  <a:pt x="840" y="156"/>
                </a:lnTo>
                <a:lnTo>
                  <a:pt x="836" y="159"/>
                </a:lnTo>
                <a:lnTo>
                  <a:pt x="833" y="162"/>
                </a:lnTo>
                <a:lnTo>
                  <a:pt x="830" y="165"/>
                </a:lnTo>
                <a:lnTo>
                  <a:pt x="826" y="168"/>
                </a:lnTo>
                <a:lnTo>
                  <a:pt x="824" y="170"/>
                </a:lnTo>
                <a:lnTo>
                  <a:pt x="823" y="172"/>
                </a:lnTo>
                <a:lnTo>
                  <a:pt x="824" y="184"/>
                </a:lnTo>
                <a:lnTo>
                  <a:pt x="825" y="196"/>
                </a:lnTo>
                <a:lnTo>
                  <a:pt x="829" y="207"/>
                </a:lnTo>
                <a:lnTo>
                  <a:pt x="834" y="217"/>
                </a:lnTo>
                <a:lnTo>
                  <a:pt x="841" y="227"/>
                </a:lnTo>
                <a:lnTo>
                  <a:pt x="848" y="236"/>
                </a:lnTo>
                <a:lnTo>
                  <a:pt x="858" y="245"/>
                </a:lnTo>
                <a:lnTo>
                  <a:pt x="869" y="253"/>
                </a:lnTo>
                <a:lnTo>
                  <a:pt x="876" y="671"/>
                </a:lnTo>
                <a:lnTo>
                  <a:pt x="876" y="680"/>
                </a:lnTo>
                <a:lnTo>
                  <a:pt x="876" y="687"/>
                </a:lnTo>
                <a:lnTo>
                  <a:pt x="876" y="697"/>
                </a:lnTo>
                <a:lnTo>
                  <a:pt x="876" y="709"/>
                </a:lnTo>
                <a:lnTo>
                  <a:pt x="877" y="726"/>
                </a:lnTo>
                <a:lnTo>
                  <a:pt x="877" y="741"/>
                </a:lnTo>
                <a:lnTo>
                  <a:pt x="877" y="756"/>
                </a:lnTo>
                <a:lnTo>
                  <a:pt x="876" y="766"/>
                </a:lnTo>
                <a:lnTo>
                  <a:pt x="874" y="771"/>
                </a:lnTo>
                <a:lnTo>
                  <a:pt x="870" y="775"/>
                </a:lnTo>
                <a:lnTo>
                  <a:pt x="867" y="778"/>
                </a:lnTo>
                <a:lnTo>
                  <a:pt x="863" y="780"/>
                </a:lnTo>
                <a:lnTo>
                  <a:pt x="856" y="782"/>
                </a:lnTo>
                <a:lnTo>
                  <a:pt x="848" y="783"/>
                </a:lnTo>
                <a:lnTo>
                  <a:pt x="840" y="783"/>
                </a:lnTo>
                <a:lnTo>
                  <a:pt x="830" y="782"/>
                </a:lnTo>
                <a:lnTo>
                  <a:pt x="830" y="792"/>
                </a:lnTo>
                <a:lnTo>
                  <a:pt x="830" y="804"/>
                </a:lnTo>
                <a:lnTo>
                  <a:pt x="830" y="816"/>
                </a:lnTo>
                <a:lnTo>
                  <a:pt x="830" y="826"/>
                </a:lnTo>
                <a:lnTo>
                  <a:pt x="378" y="592"/>
                </a:lnTo>
                <a:lnTo>
                  <a:pt x="366" y="593"/>
                </a:lnTo>
                <a:lnTo>
                  <a:pt x="359" y="595"/>
                </a:lnTo>
                <a:lnTo>
                  <a:pt x="353" y="597"/>
                </a:lnTo>
                <a:lnTo>
                  <a:pt x="344" y="598"/>
                </a:lnTo>
                <a:lnTo>
                  <a:pt x="331" y="607"/>
                </a:lnTo>
                <a:lnTo>
                  <a:pt x="318" y="616"/>
                </a:lnTo>
                <a:lnTo>
                  <a:pt x="308" y="620"/>
                </a:lnTo>
                <a:lnTo>
                  <a:pt x="297" y="624"/>
                </a:lnTo>
                <a:lnTo>
                  <a:pt x="292" y="626"/>
                </a:lnTo>
                <a:lnTo>
                  <a:pt x="285" y="627"/>
                </a:lnTo>
                <a:lnTo>
                  <a:pt x="278" y="628"/>
                </a:lnTo>
                <a:lnTo>
                  <a:pt x="272" y="628"/>
                </a:lnTo>
                <a:lnTo>
                  <a:pt x="263" y="627"/>
                </a:lnTo>
                <a:lnTo>
                  <a:pt x="254" y="624"/>
                </a:lnTo>
                <a:lnTo>
                  <a:pt x="246" y="620"/>
                </a:lnTo>
                <a:lnTo>
                  <a:pt x="238" y="614"/>
                </a:lnTo>
                <a:lnTo>
                  <a:pt x="230" y="609"/>
                </a:lnTo>
                <a:lnTo>
                  <a:pt x="224" y="602"/>
                </a:lnTo>
                <a:lnTo>
                  <a:pt x="220" y="597"/>
                </a:lnTo>
                <a:lnTo>
                  <a:pt x="218" y="592"/>
                </a:lnTo>
                <a:lnTo>
                  <a:pt x="193" y="586"/>
                </a:lnTo>
                <a:lnTo>
                  <a:pt x="173" y="579"/>
                </a:lnTo>
                <a:lnTo>
                  <a:pt x="165" y="577"/>
                </a:lnTo>
                <a:lnTo>
                  <a:pt x="157" y="577"/>
                </a:lnTo>
                <a:lnTo>
                  <a:pt x="152" y="578"/>
                </a:lnTo>
                <a:lnTo>
                  <a:pt x="148" y="579"/>
                </a:lnTo>
                <a:lnTo>
                  <a:pt x="143" y="583"/>
                </a:lnTo>
                <a:lnTo>
                  <a:pt x="139" y="586"/>
                </a:lnTo>
                <a:lnTo>
                  <a:pt x="138" y="577"/>
                </a:lnTo>
                <a:lnTo>
                  <a:pt x="137" y="570"/>
                </a:lnTo>
                <a:lnTo>
                  <a:pt x="136" y="564"/>
                </a:lnTo>
                <a:lnTo>
                  <a:pt x="134" y="558"/>
                </a:lnTo>
                <a:lnTo>
                  <a:pt x="130" y="553"/>
                </a:lnTo>
                <a:lnTo>
                  <a:pt x="127" y="549"/>
                </a:lnTo>
                <a:lnTo>
                  <a:pt x="124" y="545"/>
                </a:lnTo>
                <a:lnTo>
                  <a:pt x="119" y="541"/>
                </a:lnTo>
                <a:lnTo>
                  <a:pt x="109" y="535"/>
                </a:lnTo>
                <a:lnTo>
                  <a:pt x="98" y="530"/>
                </a:lnTo>
                <a:lnTo>
                  <a:pt x="87" y="526"/>
                </a:lnTo>
                <a:lnTo>
                  <a:pt x="75" y="521"/>
                </a:lnTo>
                <a:lnTo>
                  <a:pt x="63" y="517"/>
                </a:lnTo>
                <a:lnTo>
                  <a:pt x="52" y="513"/>
                </a:lnTo>
                <a:lnTo>
                  <a:pt x="41" y="509"/>
                </a:lnTo>
                <a:lnTo>
                  <a:pt x="33" y="503"/>
                </a:lnTo>
                <a:lnTo>
                  <a:pt x="28" y="499"/>
                </a:lnTo>
                <a:lnTo>
                  <a:pt x="24" y="496"/>
                </a:lnTo>
                <a:lnTo>
                  <a:pt x="20" y="492"/>
                </a:lnTo>
                <a:lnTo>
                  <a:pt x="18" y="487"/>
                </a:lnTo>
                <a:lnTo>
                  <a:pt x="16" y="482"/>
                </a:lnTo>
                <a:lnTo>
                  <a:pt x="14" y="476"/>
                </a:lnTo>
                <a:lnTo>
                  <a:pt x="13" y="469"/>
                </a:lnTo>
                <a:lnTo>
                  <a:pt x="13" y="462"/>
                </a:lnTo>
                <a:lnTo>
                  <a:pt x="14" y="439"/>
                </a:lnTo>
                <a:lnTo>
                  <a:pt x="16" y="417"/>
                </a:lnTo>
                <a:lnTo>
                  <a:pt x="18" y="395"/>
                </a:lnTo>
                <a:lnTo>
                  <a:pt x="19" y="376"/>
                </a:lnTo>
                <a:lnTo>
                  <a:pt x="19" y="352"/>
                </a:lnTo>
                <a:lnTo>
                  <a:pt x="19" y="329"/>
                </a:lnTo>
                <a:lnTo>
                  <a:pt x="19" y="305"/>
                </a:lnTo>
                <a:lnTo>
                  <a:pt x="19" y="281"/>
                </a:lnTo>
                <a:lnTo>
                  <a:pt x="17" y="258"/>
                </a:lnTo>
                <a:lnTo>
                  <a:pt x="14" y="234"/>
                </a:lnTo>
                <a:lnTo>
                  <a:pt x="11" y="223"/>
                </a:lnTo>
                <a:lnTo>
                  <a:pt x="7" y="212"/>
                </a:lnTo>
                <a:lnTo>
                  <a:pt x="4" y="202"/>
                </a:lnTo>
                <a:lnTo>
                  <a:pt x="0" y="19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287" name="Freeform 239"/>
          <p:cNvSpPr>
            <a:spLocks/>
          </p:cNvSpPr>
          <p:nvPr>
            <p:custDataLst>
              <p:tags r:id="rId166"/>
            </p:custDataLst>
          </p:nvPr>
        </p:nvSpPr>
        <p:spPr bwMode="auto">
          <a:xfrm>
            <a:off x="4197353" y="1859760"/>
            <a:ext cx="93663" cy="177404"/>
          </a:xfrm>
          <a:custGeom>
            <a:avLst/>
            <a:gdLst/>
            <a:ahLst/>
            <a:cxnLst>
              <a:cxn ang="0">
                <a:pos x="103" y="441"/>
              </a:cxn>
              <a:cxn ang="0">
                <a:pos x="125" y="420"/>
              </a:cxn>
              <a:cxn ang="0">
                <a:pos x="140" y="404"/>
              </a:cxn>
              <a:cxn ang="0">
                <a:pos x="147" y="390"/>
              </a:cxn>
              <a:cxn ang="0">
                <a:pos x="152" y="373"/>
              </a:cxn>
              <a:cxn ang="0">
                <a:pos x="154" y="352"/>
              </a:cxn>
              <a:cxn ang="0">
                <a:pos x="153" y="335"/>
              </a:cxn>
              <a:cxn ang="0">
                <a:pos x="156" y="331"/>
              </a:cxn>
              <a:cxn ang="0">
                <a:pos x="168" y="329"/>
              </a:cxn>
              <a:cxn ang="0">
                <a:pos x="185" y="325"/>
              </a:cxn>
              <a:cxn ang="0">
                <a:pos x="196" y="318"/>
              </a:cxn>
              <a:cxn ang="0">
                <a:pos x="203" y="304"/>
              </a:cxn>
              <a:cxn ang="0">
                <a:pos x="206" y="280"/>
              </a:cxn>
              <a:cxn ang="0">
                <a:pos x="202" y="265"/>
              </a:cxn>
              <a:cxn ang="0">
                <a:pos x="193" y="264"/>
              </a:cxn>
              <a:cxn ang="0">
                <a:pos x="177" y="256"/>
              </a:cxn>
              <a:cxn ang="0">
                <a:pos x="155" y="242"/>
              </a:cxn>
              <a:cxn ang="0">
                <a:pos x="140" y="231"/>
              </a:cxn>
              <a:cxn ang="0">
                <a:pos x="130" y="228"/>
              </a:cxn>
              <a:cxn ang="0">
                <a:pos x="119" y="222"/>
              </a:cxn>
              <a:cxn ang="0">
                <a:pos x="101" y="212"/>
              </a:cxn>
              <a:cxn ang="0">
                <a:pos x="95" y="206"/>
              </a:cxn>
              <a:cxn ang="0">
                <a:pos x="95" y="199"/>
              </a:cxn>
              <a:cxn ang="0">
                <a:pos x="104" y="181"/>
              </a:cxn>
              <a:cxn ang="0">
                <a:pos x="119" y="158"/>
              </a:cxn>
              <a:cxn ang="0">
                <a:pos x="134" y="140"/>
              </a:cxn>
              <a:cxn ang="0">
                <a:pos x="136" y="129"/>
              </a:cxn>
              <a:cxn ang="0">
                <a:pos x="126" y="116"/>
              </a:cxn>
              <a:cxn ang="0">
                <a:pos x="115" y="105"/>
              </a:cxn>
              <a:cxn ang="0">
                <a:pos x="108" y="93"/>
              </a:cxn>
              <a:cxn ang="0">
                <a:pos x="107" y="84"/>
              </a:cxn>
              <a:cxn ang="0">
                <a:pos x="111" y="78"/>
              </a:cxn>
              <a:cxn ang="0">
                <a:pos x="116" y="72"/>
              </a:cxn>
              <a:cxn ang="0">
                <a:pos x="123" y="69"/>
              </a:cxn>
              <a:cxn ang="0">
                <a:pos x="126" y="37"/>
              </a:cxn>
              <a:cxn ang="0">
                <a:pos x="110" y="32"/>
              </a:cxn>
              <a:cxn ang="0">
                <a:pos x="87" y="21"/>
              </a:cxn>
              <a:cxn ang="0">
                <a:pos x="53" y="0"/>
              </a:cxn>
              <a:cxn ang="0">
                <a:pos x="47" y="11"/>
              </a:cxn>
              <a:cxn ang="0">
                <a:pos x="34" y="44"/>
              </a:cxn>
              <a:cxn ang="0">
                <a:pos x="28" y="70"/>
              </a:cxn>
              <a:cxn ang="0">
                <a:pos x="22" y="99"/>
              </a:cxn>
              <a:cxn ang="0">
                <a:pos x="20" y="133"/>
              </a:cxn>
              <a:cxn ang="0">
                <a:pos x="20" y="172"/>
              </a:cxn>
              <a:cxn ang="0">
                <a:pos x="12" y="188"/>
              </a:cxn>
              <a:cxn ang="0">
                <a:pos x="8" y="206"/>
              </a:cxn>
              <a:cxn ang="0">
                <a:pos x="0" y="235"/>
              </a:cxn>
              <a:cxn ang="0">
                <a:pos x="22" y="259"/>
              </a:cxn>
              <a:cxn ang="0">
                <a:pos x="41" y="281"/>
              </a:cxn>
              <a:cxn ang="0">
                <a:pos x="55" y="305"/>
              </a:cxn>
              <a:cxn ang="0">
                <a:pos x="66" y="329"/>
              </a:cxn>
              <a:cxn ang="0">
                <a:pos x="75" y="355"/>
              </a:cxn>
              <a:cxn ang="0">
                <a:pos x="82" y="384"/>
              </a:cxn>
              <a:cxn ang="0">
                <a:pos x="93" y="455"/>
              </a:cxn>
            </a:cxnLst>
            <a:rect l="0" t="0" r="r" b="b"/>
            <a:pathLst>
              <a:path w="206" h="455">
                <a:moveTo>
                  <a:pt x="93" y="455"/>
                </a:moveTo>
                <a:lnTo>
                  <a:pt x="103" y="441"/>
                </a:lnTo>
                <a:lnTo>
                  <a:pt x="114" y="430"/>
                </a:lnTo>
                <a:lnTo>
                  <a:pt x="125" y="420"/>
                </a:lnTo>
                <a:lnTo>
                  <a:pt x="135" y="409"/>
                </a:lnTo>
                <a:lnTo>
                  <a:pt x="140" y="404"/>
                </a:lnTo>
                <a:lnTo>
                  <a:pt x="144" y="397"/>
                </a:lnTo>
                <a:lnTo>
                  <a:pt x="147" y="390"/>
                </a:lnTo>
                <a:lnTo>
                  <a:pt x="149" y="382"/>
                </a:lnTo>
                <a:lnTo>
                  <a:pt x="152" y="373"/>
                </a:lnTo>
                <a:lnTo>
                  <a:pt x="153" y="363"/>
                </a:lnTo>
                <a:lnTo>
                  <a:pt x="154" y="352"/>
                </a:lnTo>
                <a:lnTo>
                  <a:pt x="153" y="338"/>
                </a:lnTo>
                <a:lnTo>
                  <a:pt x="153" y="335"/>
                </a:lnTo>
                <a:lnTo>
                  <a:pt x="154" y="332"/>
                </a:lnTo>
                <a:lnTo>
                  <a:pt x="156" y="331"/>
                </a:lnTo>
                <a:lnTo>
                  <a:pt x="159" y="330"/>
                </a:lnTo>
                <a:lnTo>
                  <a:pt x="168" y="329"/>
                </a:lnTo>
                <a:lnTo>
                  <a:pt x="179" y="327"/>
                </a:lnTo>
                <a:lnTo>
                  <a:pt x="185" y="325"/>
                </a:lnTo>
                <a:lnTo>
                  <a:pt x="190" y="322"/>
                </a:lnTo>
                <a:lnTo>
                  <a:pt x="196" y="318"/>
                </a:lnTo>
                <a:lnTo>
                  <a:pt x="200" y="312"/>
                </a:lnTo>
                <a:lnTo>
                  <a:pt x="203" y="304"/>
                </a:lnTo>
                <a:lnTo>
                  <a:pt x="205" y="294"/>
                </a:lnTo>
                <a:lnTo>
                  <a:pt x="206" y="280"/>
                </a:lnTo>
                <a:lnTo>
                  <a:pt x="205" y="265"/>
                </a:lnTo>
                <a:lnTo>
                  <a:pt x="202" y="265"/>
                </a:lnTo>
                <a:lnTo>
                  <a:pt x="198" y="265"/>
                </a:lnTo>
                <a:lnTo>
                  <a:pt x="193" y="264"/>
                </a:lnTo>
                <a:lnTo>
                  <a:pt x="188" y="262"/>
                </a:lnTo>
                <a:lnTo>
                  <a:pt x="177" y="256"/>
                </a:lnTo>
                <a:lnTo>
                  <a:pt x="166" y="249"/>
                </a:lnTo>
                <a:lnTo>
                  <a:pt x="155" y="242"/>
                </a:lnTo>
                <a:lnTo>
                  <a:pt x="144" y="235"/>
                </a:lnTo>
                <a:lnTo>
                  <a:pt x="140" y="231"/>
                </a:lnTo>
                <a:lnTo>
                  <a:pt x="134" y="229"/>
                </a:lnTo>
                <a:lnTo>
                  <a:pt x="130" y="228"/>
                </a:lnTo>
                <a:lnTo>
                  <a:pt x="126" y="227"/>
                </a:lnTo>
                <a:lnTo>
                  <a:pt x="119" y="222"/>
                </a:lnTo>
                <a:lnTo>
                  <a:pt x="107" y="215"/>
                </a:lnTo>
                <a:lnTo>
                  <a:pt x="101" y="212"/>
                </a:lnTo>
                <a:lnTo>
                  <a:pt x="97" y="209"/>
                </a:lnTo>
                <a:lnTo>
                  <a:pt x="95" y="206"/>
                </a:lnTo>
                <a:lnTo>
                  <a:pt x="93" y="203"/>
                </a:lnTo>
                <a:lnTo>
                  <a:pt x="95" y="199"/>
                </a:lnTo>
                <a:lnTo>
                  <a:pt x="98" y="191"/>
                </a:lnTo>
                <a:lnTo>
                  <a:pt x="104" y="181"/>
                </a:lnTo>
                <a:lnTo>
                  <a:pt x="111" y="169"/>
                </a:lnTo>
                <a:lnTo>
                  <a:pt x="119" y="158"/>
                </a:lnTo>
                <a:lnTo>
                  <a:pt x="126" y="148"/>
                </a:lnTo>
                <a:lnTo>
                  <a:pt x="134" y="140"/>
                </a:lnTo>
                <a:lnTo>
                  <a:pt x="140" y="136"/>
                </a:lnTo>
                <a:lnTo>
                  <a:pt x="136" y="129"/>
                </a:lnTo>
                <a:lnTo>
                  <a:pt x="132" y="122"/>
                </a:lnTo>
                <a:lnTo>
                  <a:pt x="126" y="116"/>
                </a:lnTo>
                <a:lnTo>
                  <a:pt x="121" y="111"/>
                </a:lnTo>
                <a:lnTo>
                  <a:pt x="115" y="105"/>
                </a:lnTo>
                <a:lnTo>
                  <a:pt x="111" y="99"/>
                </a:lnTo>
                <a:lnTo>
                  <a:pt x="108" y="93"/>
                </a:lnTo>
                <a:lnTo>
                  <a:pt x="107" y="86"/>
                </a:lnTo>
                <a:lnTo>
                  <a:pt x="107" y="84"/>
                </a:lnTo>
                <a:lnTo>
                  <a:pt x="109" y="81"/>
                </a:lnTo>
                <a:lnTo>
                  <a:pt x="111" y="78"/>
                </a:lnTo>
                <a:lnTo>
                  <a:pt x="113" y="75"/>
                </a:lnTo>
                <a:lnTo>
                  <a:pt x="116" y="72"/>
                </a:lnTo>
                <a:lnTo>
                  <a:pt x="120" y="70"/>
                </a:lnTo>
                <a:lnTo>
                  <a:pt x="123" y="69"/>
                </a:lnTo>
                <a:lnTo>
                  <a:pt x="126" y="68"/>
                </a:lnTo>
                <a:lnTo>
                  <a:pt x="126" y="37"/>
                </a:lnTo>
                <a:lnTo>
                  <a:pt x="120" y="36"/>
                </a:lnTo>
                <a:lnTo>
                  <a:pt x="110" y="32"/>
                </a:lnTo>
                <a:lnTo>
                  <a:pt x="99" y="27"/>
                </a:lnTo>
                <a:lnTo>
                  <a:pt x="87" y="21"/>
                </a:lnTo>
                <a:lnTo>
                  <a:pt x="65" y="8"/>
                </a:lnTo>
                <a:lnTo>
                  <a:pt x="53" y="0"/>
                </a:lnTo>
                <a:lnTo>
                  <a:pt x="52" y="2"/>
                </a:lnTo>
                <a:lnTo>
                  <a:pt x="47" y="11"/>
                </a:lnTo>
                <a:lnTo>
                  <a:pt x="41" y="26"/>
                </a:lnTo>
                <a:lnTo>
                  <a:pt x="34" y="44"/>
                </a:lnTo>
                <a:lnTo>
                  <a:pt x="31" y="56"/>
                </a:lnTo>
                <a:lnTo>
                  <a:pt x="28" y="70"/>
                </a:lnTo>
                <a:lnTo>
                  <a:pt x="24" y="83"/>
                </a:lnTo>
                <a:lnTo>
                  <a:pt x="22" y="99"/>
                </a:lnTo>
                <a:lnTo>
                  <a:pt x="20" y="115"/>
                </a:lnTo>
                <a:lnTo>
                  <a:pt x="20" y="133"/>
                </a:lnTo>
                <a:lnTo>
                  <a:pt x="19" y="152"/>
                </a:lnTo>
                <a:lnTo>
                  <a:pt x="20" y="172"/>
                </a:lnTo>
                <a:lnTo>
                  <a:pt x="15" y="180"/>
                </a:lnTo>
                <a:lnTo>
                  <a:pt x="12" y="188"/>
                </a:lnTo>
                <a:lnTo>
                  <a:pt x="9" y="197"/>
                </a:lnTo>
                <a:lnTo>
                  <a:pt x="8" y="206"/>
                </a:lnTo>
                <a:lnTo>
                  <a:pt x="3" y="222"/>
                </a:lnTo>
                <a:lnTo>
                  <a:pt x="0" y="235"/>
                </a:lnTo>
                <a:lnTo>
                  <a:pt x="12" y="247"/>
                </a:lnTo>
                <a:lnTo>
                  <a:pt x="22" y="259"/>
                </a:lnTo>
                <a:lnTo>
                  <a:pt x="32" y="270"/>
                </a:lnTo>
                <a:lnTo>
                  <a:pt x="41" y="281"/>
                </a:lnTo>
                <a:lnTo>
                  <a:pt x="48" y="294"/>
                </a:lnTo>
                <a:lnTo>
                  <a:pt x="55" y="305"/>
                </a:lnTo>
                <a:lnTo>
                  <a:pt x="60" y="317"/>
                </a:lnTo>
                <a:lnTo>
                  <a:pt x="66" y="329"/>
                </a:lnTo>
                <a:lnTo>
                  <a:pt x="71" y="341"/>
                </a:lnTo>
                <a:lnTo>
                  <a:pt x="75" y="355"/>
                </a:lnTo>
                <a:lnTo>
                  <a:pt x="79" y="369"/>
                </a:lnTo>
                <a:lnTo>
                  <a:pt x="82" y="384"/>
                </a:lnTo>
                <a:lnTo>
                  <a:pt x="88" y="417"/>
                </a:lnTo>
                <a:lnTo>
                  <a:pt x="93" y="45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288" name="Freeform 240"/>
          <p:cNvSpPr>
            <a:spLocks/>
          </p:cNvSpPr>
          <p:nvPr>
            <p:custDataLst>
              <p:tags r:id="rId167"/>
            </p:custDataLst>
          </p:nvPr>
        </p:nvSpPr>
        <p:spPr bwMode="auto">
          <a:xfrm>
            <a:off x="3579813" y="2093120"/>
            <a:ext cx="231775" cy="161925"/>
          </a:xfrm>
          <a:custGeom>
            <a:avLst/>
            <a:gdLst/>
            <a:ahLst/>
            <a:cxnLst>
              <a:cxn ang="0">
                <a:pos x="326" y="110"/>
              </a:cxn>
              <a:cxn ang="0">
                <a:pos x="326" y="259"/>
              </a:cxn>
              <a:cxn ang="0">
                <a:pos x="315" y="264"/>
              </a:cxn>
              <a:cxn ang="0">
                <a:pos x="291" y="271"/>
              </a:cxn>
              <a:cxn ang="0">
                <a:pos x="246" y="283"/>
              </a:cxn>
              <a:cxn ang="0">
                <a:pos x="253" y="302"/>
              </a:cxn>
              <a:cxn ang="0">
                <a:pos x="265" y="326"/>
              </a:cxn>
              <a:cxn ang="0">
                <a:pos x="269" y="353"/>
              </a:cxn>
              <a:cxn ang="0">
                <a:pos x="272" y="382"/>
              </a:cxn>
              <a:cxn ang="0">
                <a:pos x="52" y="394"/>
              </a:cxn>
              <a:cxn ang="0">
                <a:pos x="22" y="406"/>
              </a:cxn>
              <a:cxn ang="0">
                <a:pos x="5" y="403"/>
              </a:cxn>
              <a:cxn ang="0">
                <a:pos x="1" y="398"/>
              </a:cxn>
              <a:cxn ang="0">
                <a:pos x="1" y="385"/>
              </a:cxn>
              <a:cxn ang="0">
                <a:pos x="4" y="371"/>
              </a:cxn>
              <a:cxn ang="0">
                <a:pos x="11" y="354"/>
              </a:cxn>
              <a:cxn ang="0">
                <a:pos x="20" y="341"/>
              </a:cxn>
              <a:cxn ang="0">
                <a:pos x="30" y="334"/>
              </a:cxn>
              <a:cxn ang="0">
                <a:pos x="38" y="326"/>
              </a:cxn>
              <a:cxn ang="0">
                <a:pos x="44" y="317"/>
              </a:cxn>
              <a:cxn ang="0">
                <a:pos x="49" y="292"/>
              </a:cxn>
              <a:cxn ang="0">
                <a:pos x="56" y="265"/>
              </a:cxn>
              <a:cxn ang="0">
                <a:pos x="62" y="257"/>
              </a:cxn>
              <a:cxn ang="0">
                <a:pos x="74" y="246"/>
              </a:cxn>
              <a:cxn ang="0">
                <a:pos x="92" y="238"/>
              </a:cxn>
              <a:cxn ang="0">
                <a:pos x="107" y="231"/>
              </a:cxn>
              <a:cxn ang="0">
                <a:pos x="122" y="218"/>
              </a:cxn>
              <a:cxn ang="0">
                <a:pos x="136" y="195"/>
              </a:cxn>
              <a:cxn ang="0">
                <a:pos x="150" y="156"/>
              </a:cxn>
              <a:cxn ang="0">
                <a:pos x="162" y="117"/>
              </a:cxn>
              <a:cxn ang="0">
                <a:pos x="172" y="94"/>
              </a:cxn>
              <a:cxn ang="0">
                <a:pos x="186" y="73"/>
              </a:cxn>
              <a:cxn ang="0">
                <a:pos x="201" y="62"/>
              </a:cxn>
              <a:cxn ang="0">
                <a:pos x="213" y="57"/>
              </a:cxn>
              <a:cxn ang="0">
                <a:pos x="219" y="44"/>
              </a:cxn>
              <a:cxn ang="0">
                <a:pos x="223" y="28"/>
              </a:cxn>
              <a:cxn ang="0">
                <a:pos x="228" y="16"/>
              </a:cxn>
              <a:cxn ang="0">
                <a:pos x="239" y="8"/>
              </a:cxn>
              <a:cxn ang="0">
                <a:pos x="511" y="0"/>
              </a:cxn>
              <a:cxn ang="0">
                <a:pos x="515" y="46"/>
              </a:cxn>
              <a:cxn ang="0">
                <a:pos x="518" y="110"/>
              </a:cxn>
            </a:cxnLst>
            <a:rect l="0" t="0" r="r" b="b"/>
            <a:pathLst>
              <a:path w="518" h="406">
                <a:moveTo>
                  <a:pt x="518" y="110"/>
                </a:moveTo>
                <a:lnTo>
                  <a:pt x="326" y="110"/>
                </a:lnTo>
                <a:lnTo>
                  <a:pt x="312" y="104"/>
                </a:lnTo>
                <a:lnTo>
                  <a:pt x="326" y="259"/>
                </a:lnTo>
                <a:lnTo>
                  <a:pt x="323" y="261"/>
                </a:lnTo>
                <a:lnTo>
                  <a:pt x="315" y="264"/>
                </a:lnTo>
                <a:lnTo>
                  <a:pt x="304" y="267"/>
                </a:lnTo>
                <a:lnTo>
                  <a:pt x="291" y="271"/>
                </a:lnTo>
                <a:lnTo>
                  <a:pt x="263" y="277"/>
                </a:lnTo>
                <a:lnTo>
                  <a:pt x="246" y="283"/>
                </a:lnTo>
                <a:lnTo>
                  <a:pt x="250" y="292"/>
                </a:lnTo>
                <a:lnTo>
                  <a:pt x="253" y="302"/>
                </a:lnTo>
                <a:lnTo>
                  <a:pt x="258" y="314"/>
                </a:lnTo>
                <a:lnTo>
                  <a:pt x="265" y="326"/>
                </a:lnTo>
                <a:lnTo>
                  <a:pt x="267" y="335"/>
                </a:lnTo>
                <a:lnTo>
                  <a:pt x="269" y="353"/>
                </a:lnTo>
                <a:lnTo>
                  <a:pt x="271" y="373"/>
                </a:lnTo>
                <a:lnTo>
                  <a:pt x="272" y="382"/>
                </a:lnTo>
                <a:lnTo>
                  <a:pt x="67" y="382"/>
                </a:lnTo>
                <a:lnTo>
                  <a:pt x="52" y="394"/>
                </a:lnTo>
                <a:lnTo>
                  <a:pt x="39" y="406"/>
                </a:lnTo>
                <a:lnTo>
                  <a:pt x="22" y="406"/>
                </a:lnTo>
                <a:lnTo>
                  <a:pt x="10" y="404"/>
                </a:lnTo>
                <a:lnTo>
                  <a:pt x="5" y="403"/>
                </a:lnTo>
                <a:lnTo>
                  <a:pt x="2" y="401"/>
                </a:lnTo>
                <a:lnTo>
                  <a:pt x="1" y="398"/>
                </a:lnTo>
                <a:lnTo>
                  <a:pt x="0" y="394"/>
                </a:lnTo>
                <a:lnTo>
                  <a:pt x="1" y="385"/>
                </a:lnTo>
                <a:lnTo>
                  <a:pt x="2" y="378"/>
                </a:lnTo>
                <a:lnTo>
                  <a:pt x="4" y="371"/>
                </a:lnTo>
                <a:lnTo>
                  <a:pt x="6" y="365"/>
                </a:lnTo>
                <a:lnTo>
                  <a:pt x="11" y="354"/>
                </a:lnTo>
                <a:lnTo>
                  <a:pt x="13" y="344"/>
                </a:lnTo>
                <a:lnTo>
                  <a:pt x="20" y="341"/>
                </a:lnTo>
                <a:lnTo>
                  <a:pt x="26" y="337"/>
                </a:lnTo>
                <a:lnTo>
                  <a:pt x="30" y="334"/>
                </a:lnTo>
                <a:lnTo>
                  <a:pt x="35" y="330"/>
                </a:lnTo>
                <a:lnTo>
                  <a:pt x="38" y="326"/>
                </a:lnTo>
                <a:lnTo>
                  <a:pt x="41" y="321"/>
                </a:lnTo>
                <a:lnTo>
                  <a:pt x="44" y="317"/>
                </a:lnTo>
                <a:lnTo>
                  <a:pt x="46" y="313"/>
                </a:lnTo>
                <a:lnTo>
                  <a:pt x="49" y="292"/>
                </a:lnTo>
                <a:lnTo>
                  <a:pt x="52" y="271"/>
                </a:lnTo>
                <a:lnTo>
                  <a:pt x="56" y="265"/>
                </a:lnTo>
                <a:lnTo>
                  <a:pt x="59" y="261"/>
                </a:lnTo>
                <a:lnTo>
                  <a:pt x="62" y="257"/>
                </a:lnTo>
                <a:lnTo>
                  <a:pt x="66" y="253"/>
                </a:lnTo>
                <a:lnTo>
                  <a:pt x="74" y="246"/>
                </a:lnTo>
                <a:lnTo>
                  <a:pt x="83" y="242"/>
                </a:lnTo>
                <a:lnTo>
                  <a:pt x="92" y="238"/>
                </a:lnTo>
                <a:lnTo>
                  <a:pt x="100" y="235"/>
                </a:lnTo>
                <a:lnTo>
                  <a:pt x="107" y="231"/>
                </a:lnTo>
                <a:lnTo>
                  <a:pt x="113" y="227"/>
                </a:lnTo>
                <a:lnTo>
                  <a:pt x="122" y="218"/>
                </a:lnTo>
                <a:lnTo>
                  <a:pt x="129" y="207"/>
                </a:lnTo>
                <a:lnTo>
                  <a:pt x="136" y="195"/>
                </a:lnTo>
                <a:lnTo>
                  <a:pt x="141" y="182"/>
                </a:lnTo>
                <a:lnTo>
                  <a:pt x="150" y="156"/>
                </a:lnTo>
                <a:lnTo>
                  <a:pt x="158" y="129"/>
                </a:lnTo>
                <a:lnTo>
                  <a:pt x="162" y="117"/>
                </a:lnTo>
                <a:lnTo>
                  <a:pt x="168" y="105"/>
                </a:lnTo>
                <a:lnTo>
                  <a:pt x="172" y="94"/>
                </a:lnTo>
                <a:lnTo>
                  <a:pt x="179" y="83"/>
                </a:lnTo>
                <a:lnTo>
                  <a:pt x="186" y="73"/>
                </a:lnTo>
                <a:lnTo>
                  <a:pt x="195" y="66"/>
                </a:lnTo>
                <a:lnTo>
                  <a:pt x="201" y="62"/>
                </a:lnTo>
                <a:lnTo>
                  <a:pt x="206" y="59"/>
                </a:lnTo>
                <a:lnTo>
                  <a:pt x="213" y="57"/>
                </a:lnTo>
                <a:lnTo>
                  <a:pt x="219" y="55"/>
                </a:lnTo>
                <a:lnTo>
                  <a:pt x="219" y="44"/>
                </a:lnTo>
                <a:lnTo>
                  <a:pt x="220" y="36"/>
                </a:lnTo>
                <a:lnTo>
                  <a:pt x="223" y="28"/>
                </a:lnTo>
                <a:lnTo>
                  <a:pt x="225" y="21"/>
                </a:lnTo>
                <a:lnTo>
                  <a:pt x="228" y="16"/>
                </a:lnTo>
                <a:lnTo>
                  <a:pt x="233" y="11"/>
                </a:lnTo>
                <a:lnTo>
                  <a:pt x="239" y="8"/>
                </a:lnTo>
                <a:lnTo>
                  <a:pt x="246" y="6"/>
                </a:lnTo>
                <a:lnTo>
                  <a:pt x="511" y="0"/>
                </a:lnTo>
                <a:lnTo>
                  <a:pt x="513" y="13"/>
                </a:lnTo>
                <a:lnTo>
                  <a:pt x="515" y="46"/>
                </a:lnTo>
                <a:lnTo>
                  <a:pt x="517" y="83"/>
                </a:lnTo>
                <a:lnTo>
                  <a:pt x="518" y="11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289" name="Freeform 241"/>
          <p:cNvSpPr>
            <a:spLocks/>
          </p:cNvSpPr>
          <p:nvPr>
            <p:custDataLst>
              <p:tags r:id="rId168"/>
            </p:custDataLst>
          </p:nvPr>
        </p:nvSpPr>
        <p:spPr bwMode="auto">
          <a:xfrm>
            <a:off x="3548064" y="1198965"/>
            <a:ext cx="190500" cy="70247"/>
          </a:xfrm>
          <a:custGeom>
            <a:avLst/>
            <a:gdLst/>
            <a:ahLst/>
            <a:cxnLst>
              <a:cxn ang="0">
                <a:pos x="34" y="61"/>
              </a:cxn>
              <a:cxn ang="0">
                <a:pos x="41" y="42"/>
              </a:cxn>
              <a:cxn ang="0">
                <a:pos x="68" y="37"/>
              </a:cxn>
              <a:cxn ang="0">
                <a:pos x="80" y="18"/>
              </a:cxn>
              <a:cxn ang="0">
                <a:pos x="72" y="14"/>
              </a:cxn>
              <a:cxn ang="0">
                <a:pos x="60" y="0"/>
              </a:cxn>
              <a:cxn ang="0">
                <a:pos x="85" y="10"/>
              </a:cxn>
              <a:cxn ang="0">
                <a:pos x="108" y="39"/>
              </a:cxn>
              <a:cxn ang="0">
                <a:pos x="125" y="62"/>
              </a:cxn>
              <a:cxn ang="0">
                <a:pos x="139" y="67"/>
              </a:cxn>
              <a:cxn ang="0">
                <a:pos x="157" y="63"/>
              </a:cxn>
              <a:cxn ang="0">
                <a:pos x="181" y="45"/>
              </a:cxn>
              <a:cxn ang="0">
                <a:pos x="205" y="23"/>
              </a:cxn>
              <a:cxn ang="0">
                <a:pos x="220" y="31"/>
              </a:cxn>
              <a:cxn ang="0">
                <a:pos x="359" y="11"/>
              </a:cxn>
              <a:cxn ang="0">
                <a:pos x="376" y="23"/>
              </a:cxn>
              <a:cxn ang="0">
                <a:pos x="396" y="22"/>
              </a:cxn>
              <a:cxn ang="0">
                <a:pos x="413" y="37"/>
              </a:cxn>
              <a:cxn ang="0">
                <a:pos x="415" y="43"/>
              </a:cxn>
              <a:cxn ang="0">
                <a:pos x="429" y="54"/>
              </a:cxn>
              <a:cxn ang="0">
                <a:pos x="443" y="68"/>
              </a:cxn>
              <a:cxn ang="0">
                <a:pos x="446" y="80"/>
              </a:cxn>
              <a:cxn ang="0">
                <a:pos x="438" y="96"/>
              </a:cxn>
              <a:cxn ang="0">
                <a:pos x="413" y="111"/>
              </a:cxn>
              <a:cxn ang="0">
                <a:pos x="397" y="120"/>
              </a:cxn>
              <a:cxn ang="0">
                <a:pos x="366" y="123"/>
              </a:cxn>
              <a:cxn ang="0">
                <a:pos x="300" y="146"/>
              </a:cxn>
              <a:cxn ang="0">
                <a:pos x="234" y="171"/>
              </a:cxn>
              <a:cxn ang="0">
                <a:pos x="199" y="178"/>
              </a:cxn>
              <a:cxn ang="0">
                <a:pos x="177" y="174"/>
              </a:cxn>
              <a:cxn ang="0">
                <a:pos x="172" y="164"/>
              </a:cxn>
              <a:cxn ang="0">
                <a:pos x="170" y="161"/>
              </a:cxn>
              <a:cxn ang="0">
                <a:pos x="156" y="161"/>
              </a:cxn>
              <a:cxn ang="0">
                <a:pos x="139" y="160"/>
              </a:cxn>
              <a:cxn ang="0">
                <a:pos x="100" y="147"/>
              </a:cxn>
              <a:cxn ang="0">
                <a:pos x="85" y="137"/>
              </a:cxn>
              <a:cxn ang="0">
                <a:pos x="81" y="125"/>
              </a:cxn>
              <a:cxn ang="0">
                <a:pos x="87" y="111"/>
              </a:cxn>
              <a:cxn ang="0">
                <a:pos x="27" y="103"/>
              </a:cxn>
              <a:cxn ang="0">
                <a:pos x="9" y="105"/>
              </a:cxn>
              <a:cxn ang="0">
                <a:pos x="0" y="80"/>
              </a:cxn>
              <a:cxn ang="0">
                <a:pos x="60" y="86"/>
              </a:cxn>
              <a:cxn ang="0">
                <a:pos x="87" y="80"/>
              </a:cxn>
              <a:cxn ang="0">
                <a:pos x="23" y="68"/>
              </a:cxn>
              <a:cxn ang="0">
                <a:pos x="16" y="55"/>
              </a:cxn>
            </a:cxnLst>
            <a:rect l="0" t="0" r="r" b="b"/>
            <a:pathLst>
              <a:path w="446" h="178">
                <a:moveTo>
                  <a:pt x="27" y="43"/>
                </a:moveTo>
                <a:lnTo>
                  <a:pt x="31" y="52"/>
                </a:lnTo>
                <a:lnTo>
                  <a:pt x="34" y="61"/>
                </a:lnTo>
                <a:lnTo>
                  <a:pt x="37" y="53"/>
                </a:lnTo>
                <a:lnTo>
                  <a:pt x="40" y="47"/>
                </a:lnTo>
                <a:lnTo>
                  <a:pt x="41" y="42"/>
                </a:lnTo>
                <a:lnTo>
                  <a:pt x="41" y="37"/>
                </a:lnTo>
                <a:lnTo>
                  <a:pt x="55" y="37"/>
                </a:lnTo>
                <a:lnTo>
                  <a:pt x="68" y="37"/>
                </a:lnTo>
                <a:lnTo>
                  <a:pt x="77" y="37"/>
                </a:lnTo>
                <a:lnTo>
                  <a:pt x="80" y="37"/>
                </a:lnTo>
                <a:lnTo>
                  <a:pt x="80" y="18"/>
                </a:lnTo>
                <a:lnTo>
                  <a:pt x="78" y="17"/>
                </a:lnTo>
                <a:lnTo>
                  <a:pt x="75" y="16"/>
                </a:lnTo>
                <a:lnTo>
                  <a:pt x="72" y="14"/>
                </a:lnTo>
                <a:lnTo>
                  <a:pt x="70" y="11"/>
                </a:lnTo>
                <a:lnTo>
                  <a:pt x="65" y="5"/>
                </a:lnTo>
                <a:lnTo>
                  <a:pt x="60" y="0"/>
                </a:lnTo>
                <a:lnTo>
                  <a:pt x="69" y="3"/>
                </a:lnTo>
                <a:lnTo>
                  <a:pt x="78" y="6"/>
                </a:lnTo>
                <a:lnTo>
                  <a:pt x="85" y="10"/>
                </a:lnTo>
                <a:lnTo>
                  <a:pt x="90" y="15"/>
                </a:lnTo>
                <a:lnTo>
                  <a:pt x="100" y="27"/>
                </a:lnTo>
                <a:lnTo>
                  <a:pt x="108" y="39"/>
                </a:lnTo>
                <a:lnTo>
                  <a:pt x="114" y="49"/>
                </a:lnTo>
                <a:lnTo>
                  <a:pt x="121" y="59"/>
                </a:lnTo>
                <a:lnTo>
                  <a:pt x="125" y="62"/>
                </a:lnTo>
                <a:lnTo>
                  <a:pt x="130" y="65"/>
                </a:lnTo>
                <a:lnTo>
                  <a:pt x="134" y="67"/>
                </a:lnTo>
                <a:lnTo>
                  <a:pt x="139" y="67"/>
                </a:lnTo>
                <a:lnTo>
                  <a:pt x="146" y="67"/>
                </a:lnTo>
                <a:lnTo>
                  <a:pt x="152" y="66"/>
                </a:lnTo>
                <a:lnTo>
                  <a:pt x="157" y="63"/>
                </a:lnTo>
                <a:lnTo>
                  <a:pt x="163" y="61"/>
                </a:lnTo>
                <a:lnTo>
                  <a:pt x="172" y="54"/>
                </a:lnTo>
                <a:lnTo>
                  <a:pt x="181" y="45"/>
                </a:lnTo>
                <a:lnTo>
                  <a:pt x="190" y="37"/>
                </a:lnTo>
                <a:lnTo>
                  <a:pt x="198" y="29"/>
                </a:lnTo>
                <a:lnTo>
                  <a:pt x="205" y="23"/>
                </a:lnTo>
                <a:lnTo>
                  <a:pt x="213" y="18"/>
                </a:lnTo>
                <a:lnTo>
                  <a:pt x="216" y="25"/>
                </a:lnTo>
                <a:lnTo>
                  <a:pt x="220" y="31"/>
                </a:lnTo>
                <a:lnTo>
                  <a:pt x="293" y="31"/>
                </a:lnTo>
                <a:lnTo>
                  <a:pt x="352" y="6"/>
                </a:lnTo>
                <a:lnTo>
                  <a:pt x="359" y="11"/>
                </a:lnTo>
                <a:lnTo>
                  <a:pt x="367" y="17"/>
                </a:lnTo>
                <a:lnTo>
                  <a:pt x="371" y="21"/>
                </a:lnTo>
                <a:lnTo>
                  <a:pt x="376" y="23"/>
                </a:lnTo>
                <a:lnTo>
                  <a:pt x="381" y="24"/>
                </a:lnTo>
                <a:lnTo>
                  <a:pt x="385" y="25"/>
                </a:lnTo>
                <a:lnTo>
                  <a:pt x="396" y="22"/>
                </a:lnTo>
                <a:lnTo>
                  <a:pt x="413" y="18"/>
                </a:lnTo>
                <a:lnTo>
                  <a:pt x="413" y="28"/>
                </a:lnTo>
                <a:lnTo>
                  <a:pt x="413" y="37"/>
                </a:lnTo>
                <a:lnTo>
                  <a:pt x="413" y="39"/>
                </a:lnTo>
                <a:lnTo>
                  <a:pt x="414" y="41"/>
                </a:lnTo>
                <a:lnTo>
                  <a:pt x="415" y="43"/>
                </a:lnTo>
                <a:lnTo>
                  <a:pt x="417" y="45"/>
                </a:lnTo>
                <a:lnTo>
                  <a:pt x="423" y="49"/>
                </a:lnTo>
                <a:lnTo>
                  <a:pt x="429" y="54"/>
                </a:lnTo>
                <a:lnTo>
                  <a:pt x="435" y="59"/>
                </a:lnTo>
                <a:lnTo>
                  <a:pt x="440" y="64"/>
                </a:lnTo>
                <a:lnTo>
                  <a:pt x="443" y="68"/>
                </a:lnTo>
                <a:lnTo>
                  <a:pt x="444" y="71"/>
                </a:lnTo>
                <a:lnTo>
                  <a:pt x="445" y="76"/>
                </a:lnTo>
                <a:lnTo>
                  <a:pt x="446" y="80"/>
                </a:lnTo>
                <a:lnTo>
                  <a:pt x="445" y="87"/>
                </a:lnTo>
                <a:lnTo>
                  <a:pt x="443" y="92"/>
                </a:lnTo>
                <a:lnTo>
                  <a:pt x="438" y="96"/>
                </a:lnTo>
                <a:lnTo>
                  <a:pt x="434" y="100"/>
                </a:lnTo>
                <a:lnTo>
                  <a:pt x="423" y="106"/>
                </a:lnTo>
                <a:lnTo>
                  <a:pt x="413" y="111"/>
                </a:lnTo>
                <a:lnTo>
                  <a:pt x="407" y="115"/>
                </a:lnTo>
                <a:lnTo>
                  <a:pt x="402" y="118"/>
                </a:lnTo>
                <a:lnTo>
                  <a:pt x="397" y="120"/>
                </a:lnTo>
                <a:lnTo>
                  <a:pt x="392" y="121"/>
                </a:lnTo>
                <a:lnTo>
                  <a:pt x="380" y="123"/>
                </a:lnTo>
                <a:lnTo>
                  <a:pt x="366" y="123"/>
                </a:lnTo>
                <a:lnTo>
                  <a:pt x="344" y="129"/>
                </a:lnTo>
                <a:lnTo>
                  <a:pt x="322" y="137"/>
                </a:lnTo>
                <a:lnTo>
                  <a:pt x="300" y="146"/>
                </a:lnTo>
                <a:lnTo>
                  <a:pt x="279" y="156"/>
                </a:lnTo>
                <a:lnTo>
                  <a:pt x="257" y="164"/>
                </a:lnTo>
                <a:lnTo>
                  <a:pt x="234" y="171"/>
                </a:lnTo>
                <a:lnTo>
                  <a:pt x="223" y="174"/>
                </a:lnTo>
                <a:lnTo>
                  <a:pt x="211" y="176"/>
                </a:lnTo>
                <a:lnTo>
                  <a:pt x="199" y="178"/>
                </a:lnTo>
                <a:lnTo>
                  <a:pt x="187" y="178"/>
                </a:lnTo>
                <a:lnTo>
                  <a:pt x="181" y="177"/>
                </a:lnTo>
                <a:lnTo>
                  <a:pt x="177" y="174"/>
                </a:lnTo>
                <a:lnTo>
                  <a:pt x="175" y="171"/>
                </a:lnTo>
                <a:lnTo>
                  <a:pt x="173" y="166"/>
                </a:lnTo>
                <a:lnTo>
                  <a:pt x="172" y="164"/>
                </a:lnTo>
                <a:lnTo>
                  <a:pt x="172" y="163"/>
                </a:lnTo>
                <a:lnTo>
                  <a:pt x="171" y="162"/>
                </a:lnTo>
                <a:lnTo>
                  <a:pt x="170" y="161"/>
                </a:lnTo>
                <a:lnTo>
                  <a:pt x="166" y="161"/>
                </a:lnTo>
                <a:lnTo>
                  <a:pt x="161" y="161"/>
                </a:lnTo>
                <a:lnTo>
                  <a:pt x="156" y="161"/>
                </a:lnTo>
                <a:lnTo>
                  <a:pt x="150" y="162"/>
                </a:lnTo>
                <a:lnTo>
                  <a:pt x="145" y="162"/>
                </a:lnTo>
                <a:lnTo>
                  <a:pt x="139" y="160"/>
                </a:lnTo>
                <a:lnTo>
                  <a:pt x="125" y="156"/>
                </a:lnTo>
                <a:lnTo>
                  <a:pt x="112" y="152"/>
                </a:lnTo>
                <a:lnTo>
                  <a:pt x="100" y="147"/>
                </a:lnTo>
                <a:lnTo>
                  <a:pt x="91" y="143"/>
                </a:lnTo>
                <a:lnTo>
                  <a:pt x="87" y="140"/>
                </a:lnTo>
                <a:lnTo>
                  <a:pt x="85" y="137"/>
                </a:lnTo>
                <a:lnTo>
                  <a:pt x="82" y="134"/>
                </a:lnTo>
                <a:lnTo>
                  <a:pt x="81" y="129"/>
                </a:lnTo>
                <a:lnTo>
                  <a:pt x="81" y="125"/>
                </a:lnTo>
                <a:lnTo>
                  <a:pt x="81" y="121"/>
                </a:lnTo>
                <a:lnTo>
                  <a:pt x="83" y="116"/>
                </a:lnTo>
                <a:lnTo>
                  <a:pt x="87" y="111"/>
                </a:lnTo>
                <a:lnTo>
                  <a:pt x="63" y="108"/>
                </a:lnTo>
                <a:lnTo>
                  <a:pt x="38" y="104"/>
                </a:lnTo>
                <a:lnTo>
                  <a:pt x="27" y="103"/>
                </a:lnTo>
                <a:lnTo>
                  <a:pt x="18" y="103"/>
                </a:lnTo>
                <a:lnTo>
                  <a:pt x="13" y="104"/>
                </a:lnTo>
                <a:lnTo>
                  <a:pt x="9" y="105"/>
                </a:lnTo>
                <a:lnTo>
                  <a:pt x="4" y="108"/>
                </a:lnTo>
                <a:lnTo>
                  <a:pt x="0" y="111"/>
                </a:lnTo>
                <a:lnTo>
                  <a:pt x="0" y="80"/>
                </a:lnTo>
                <a:lnTo>
                  <a:pt x="30" y="82"/>
                </a:lnTo>
                <a:lnTo>
                  <a:pt x="51" y="85"/>
                </a:lnTo>
                <a:lnTo>
                  <a:pt x="60" y="86"/>
                </a:lnTo>
                <a:lnTo>
                  <a:pt x="68" y="86"/>
                </a:lnTo>
                <a:lnTo>
                  <a:pt x="77" y="84"/>
                </a:lnTo>
                <a:lnTo>
                  <a:pt x="87" y="80"/>
                </a:lnTo>
                <a:lnTo>
                  <a:pt x="64" y="76"/>
                </a:lnTo>
                <a:lnTo>
                  <a:pt x="44" y="71"/>
                </a:lnTo>
                <a:lnTo>
                  <a:pt x="23" y="68"/>
                </a:lnTo>
                <a:lnTo>
                  <a:pt x="0" y="67"/>
                </a:lnTo>
                <a:lnTo>
                  <a:pt x="9" y="62"/>
                </a:lnTo>
                <a:lnTo>
                  <a:pt x="16" y="55"/>
                </a:lnTo>
                <a:lnTo>
                  <a:pt x="22" y="49"/>
                </a:lnTo>
                <a:lnTo>
                  <a:pt x="27" y="43"/>
                </a:lnTo>
              </a:path>
            </a:pathLst>
          </a:custGeom>
          <a:solidFill>
            <a:schemeClr val="bg1">
              <a:lumMod val="6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290" name="Freeform 242"/>
          <p:cNvSpPr>
            <a:spLocks/>
          </p:cNvSpPr>
          <p:nvPr>
            <p:custDataLst>
              <p:tags r:id="rId169"/>
            </p:custDataLst>
          </p:nvPr>
        </p:nvSpPr>
        <p:spPr bwMode="auto">
          <a:xfrm>
            <a:off x="4340225" y="1396606"/>
            <a:ext cx="14288" cy="42863"/>
          </a:xfrm>
          <a:custGeom>
            <a:avLst/>
            <a:gdLst/>
            <a:ahLst/>
            <a:cxnLst>
              <a:cxn ang="0">
                <a:pos x="0" y="73"/>
              </a:cxn>
              <a:cxn ang="0">
                <a:pos x="2" y="47"/>
              </a:cxn>
              <a:cxn ang="0">
                <a:pos x="6" y="28"/>
              </a:cxn>
              <a:cxn ang="0">
                <a:pos x="7" y="20"/>
              </a:cxn>
              <a:cxn ang="0">
                <a:pos x="6" y="13"/>
              </a:cxn>
              <a:cxn ang="0">
                <a:pos x="4" y="7"/>
              </a:cxn>
              <a:cxn ang="0">
                <a:pos x="0" y="0"/>
              </a:cxn>
              <a:cxn ang="0">
                <a:pos x="28" y="0"/>
              </a:cxn>
              <a:cxn ang="0">
                <a:pos x="22" y="16"/>
              </a:cxn>
              <a:cxn ang="0">
                <a:pos x="17" y="30"/>
              </a:cxn>
              <a:cxn ang="0">
                <a:pos x="12" y="43"/>
              </a:cxn>
              <a:cxn ang="0">
                <a:pos x="7" y="55"/>
              </a:cxn>
              <a:cxn ang="0">
                <a:pos x="0" y="73"/>
              </a:cxn>
            </a:cxnLst>
            <a:rect l="0" t="0" r="r" b="b"/>
            <a:pathLst>
              <a:path w="28" h="73">
                <a:moveTo>
                  <a:pt x="0" y="73"/>
                </a:moveTo>
                <a:lnTo>
                  <a:pt x="2" y="47"/>
                </a:lnTo>
                <a:lnTo>
                  <a:pt x="6" y="28"/>
                </a:lnTo>
                <a:lnTo>
                  <a:pt x="7" y="20"/>
                </a:lnTo>
                <a:lnTo>
                  <a:pt x="6" y="13"/>
                </a:lnTo>
                <a:lnTo>
                  <a:pt x="4" y="7"/>
                </a:lnTo>
                <a:lnTo>
                  <a:pt x="0" y="0"/>
                </a:lnTo>
                <a:lnTo>
                  <a:pt x="28" y="0"/>
                </a:lnTo>
                <a:lnTo>
                  <a:pt x="22" y="16"/>
                </a:lnTo>
                <a:lnTo>
                  <a:pt x="17" y="30"/>
                </a:lnTo>
                <a:lnTo>
                  <a:pt x="12" y="43"/>
                </a:lnTo>
                <a:lnTo>
                  <a:pt x="7" y="55"/>
                </a:lnTo>
                <a:lnTo>
                  <a:pt x="0" y="7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291" name="Freeform 243"/>
          <p:cNvSpPr>
            <a:spLocks/>
          </p:cNvSpPr>
          <p:nvPr>
            <p:custDataLst>
              <p:tags r:id="rId170"/>
            </p:custDataLst>
          </p:nvPr>
        </p:nvSpPr>
        <p:spPr bwMode="auto">
          <a:xfrm>
            <a:off x="4227515" y="1144197"/>
            <a:ext cx="234950" cy="296465"/>
          </a:xfrm>
          <a:custGeom>
            <a:avLst/>
            <a:gdLst/>
            <a:ahLst/>
            <a:cxnLst>
              <a:cxn ang="0">
                <a:pos x="419" y="203"/>
              </a:cxn>
              <a:cxn ang="0">
                <a:pos x="406" y="221"/>
              </a:cxn>
              <a:cxn ang="0">
                <a:pos x="404" y="237"/>
              </a:cxn>
              <a:cxn ang="0">
                <a:pos x="382" y="275"/>
              </a:cxn>
              <a:cxn ang="0">
                <a:pos x="325" y="306"/>
              </a:cxn>
              <a:cxn ang="0">
                <a:pos x="252" y="354"/>
              </a:cxn>
              <a:cxn ang="0">
                <a:pos x="237" y="369"/>
              </a:cxn>
              <a:cxn ang="0">
                <a:pos x="245" y="381"/>
              </a:cxn>
              <a:cxn ang="0">
                <a:pos x="240" y="424"/>
              </a:cxn>
              <a:cxn ang="0">
                <a:pos x="239" y="449"/>
              </a:cxn>
              <a:cxn ang="0">
                <a:pos x="262" y="468"/>
              </a:cxn>
              <a:cxn ang="0">
                <a:pos x="320" y="485"/>
              </a:cxn>
              <a:cxn ang="0">
                <a:pos x="332" y="505"/>
              </a:cxn>
              <a:cxn ang="0">
                <a:pos x="310" y="531"/>
              </a:cxn>
              <a:cxn ang="0">
                <a:pos x="272" y="547"/>
              </a:cxn>
              <a:cxn ang="0">
                <a:pos x="265" y="560"/>
              </a:cxn>
              <a:cxn ang="0">
                <a:pos x="252" y="631"/>
              </a:cxn>
              <a:cxn ang="0">
                <a:pos x="239" y="721"/>
              </a:cxn>
              <a:cxn ang="0">
                <a:pos x="173" y="727"/>
              </a:cxn>
              <a:cxn ang="0">
                <a:pos x="152" y="738"/>
              </a:cxn>
              <a:cxn ang="0">
                <a:pos x="153" y="757"/>
              </a:cxn>
              <a:cxn ang="0">
                <a:pos x="106" y="757"/>
              </a:cxn>
              <a:cxn ang="0">
                <a:pos x="95" y="752"/>
              </a:cxn>
              <a:cxn ang="0">
                <a:pos x="71" y="718"/>
              </a:cxn>
              <a:cxn ang="0">
                <a:pos x="41" y="640"/>
              </a:cxn>
              <a:cxn ang="0">
                <a:pos x="34" y="597"/>
              </a:cxn>
              <a:cxn ang="0">
                <a:pos x="14" y="586"/>
              </a:cxn>
              <a:cxn ang="0">
                <a:pos x="19" y="561"/>
              </a:cxn>
              <a:cxn ang="0">
                <a:pos x="36" y="538"/>
              </a:cxn>
              <a:cxn ang="0">
                <a:pos x="53" y="504"/>
              </a:cxn>
              <a:cxn ang="0">
                <a:pos x="61" y="471"/>
              </a:cxn>
              <a:cxn ang="0">
                <a:pos x="64" y="441"/>
              </a:cxn>
              <a:cxn ang="0">
                <a:pos x="58" y="408"/>
              </a:cxn>
              <a:cxn ang="0">
                <a:pos x="43" y="377"/>
              </a:cxn>
              <a:cxn ang="0">
                <a:pos x="74" y="276"/>
              </a:cxn>
              <a:cxn ang="0">
                <a:pos x="103" y="275"/>
              </a:cxn>
              <a:cxn ang="0">
                <a:pos x="113" y="234"/>
              </a:cxn>
              <a:cxn ang="0">
                <a:pos x="137" y="192"/>
              </a:cxn>
              <a:cxn ang="0">
                <a:pos x="180" y="145"/>
              </a:cxn>
              <a:cxn ang="0">
                <a:pos x="198" y="111"/>
              </a:cxn>
              <a:cxn ang="0">
                <a:pos x="228" y="60"/>
              </a:cxn>
              <a:cxn ang="0">
                <a:pos x="249" y="43"/>
              </a:cxn>
              <a:cxn ang="0">
                <a:pos x="309" y="29"/>
              </a:cxn>
              <a:cxn ang="0">
                <a:pos x="368" y="13"/>
              </a:cxn>
              <a:cxn ang="0">
                <a:pos x="401" y="5"/>
              </a:cxn>
              <a:cxn ang="0">
                <a:pos x="431" y="32"/>
              </a:cxn>
              <a:cxn ang="0">
                <a:pos x="457" y="42"/>
              </a:cxn>
              <a:cxn ang="0">
                <a:pos x="513" y="111"/>
              </a:cxn>
              <a:cxn ang="0">
                <a:pos x="528" y="150"/>
              </a:cxn>
            </a:cxnLst>
            <a:rect l="0" t="0" r="r" b="b"/>
            <a:pathLst>
              <a:path w="531" h="757">
                <a:moveTo>
                  <a:pt x="531" y="190"/>
                </a:moveTo>
                <a:lnTo>
                  <a:pt x="432" y="190"/>
                </a:lnTo>
                <a:lnTo>
                  <a:pt x="428" y="194"/>
                </a:lnTo>
                <a:lnTo>
                  <a:pt x="419" y="203"/>
                </a:lnTo>
                <a:lnTo>
                  <a:pt x="413" y="208"/>
                </a:lnTo>
                <a:lnTo>
                  <a:pt x="409" y="213"/>
                </a:lnTo>
                <a:lnTo>
                  <a:pt x="407" y="218"/>
                </a:lnTo>
                <a:lnTo>
                  <a:pt x="406" y="221"/>
                </a:lnTo>
                <a:lnTo>
                  <a:pt x="404" y="226"/>
                </a:lnTo>
                <a:lnTo>
                  <a:pt x="403" y="230"/>
                </a:lnTo>
                <a:lnTo>
                  <a:pt x="403" y="233"/>
                </a:lnTo>
                <a:lnTo>
                  <a:pt x="404" y="237"/>
                </a:lnTo>
                <a:lnTo>
                  <a:pt x="407" y="244"/>
                </a:lnTo>
                <a:lnTo>
                  <a:pt x="412" y="252"/>
                </a:lnTo>
                <a:lnTo>
                  <a:pt x="397" y="264"/>
                </a:lnTo>
                <a:lnTo>
                  <a:pt x="382" y="275"/>
                </a:lnTo>
                <a:lnTo>
                  <a:pt x="367" y="284"/>
                </a:lnTo>
                <a:lnTo>
                  <a:pt x="353" y="291"/>
                </a:lnTo>
                <a:lnTo>
                  <a:pt x="339" y="299"/>
                </a:lnTo>
                <a:lnTo>
                  <a:pt x="325" y="306"/>
                </a:lnTo>
                <a:lnTo>
                  <a:pt x="311" y="315"/>
                </a:lnTo>
                <a:lnTo>
                  <a:pt x="299" y="325"/>
                </a:lnTo>
                <a:lnTo>
                  <a:pt x="277" y="338"/>
                </a:lnTo>
                <a:lnTo>
                  <a:pt x="252" y="354"/>
                </a:lnTo>
                <a:lnTo>
                  <a:pt x="248" y="358"/>
                </a:lnTo>
                <a:lnTo>
                  <a:pt x="242" y="361"/>
                </a:lnTo>
                <a:lnTo>
                  <a:pt x="239" y="365"/>
                </a:lnTo>
                <a:lnTo>
                  <a:pt x="237" y="369"/>
                </a:lnTo>
                <a:lnTo>
                  <a:pt x="237" y="372"/>
                </a:lnTo>
                <a:lnTo>
                  <a:pt x="238" y="375"/>
                </a:lnTo>
                <a:lnTo>
                  <a:pt x="241" y="378"/>
                </a:lnTo>
                <a:lnTo>
                  <a:pt x="245" y="381"/>
                </a:lnTo>
                <a:lnTo>
                  <a:pt x="245" y="391"/>
                </a:lnTo>
                <a:lnTo>
                  <a:pt x="245" y="400"/>
                </a:lnTo>
                <a:lnTo>
                  <a:pt x="243" y="413"/>
                </a:lnTo>
                <a:lnTo>
                  <a:pt x="240" y="424"/>
                </a:lnTo>
                <a:lnTo>
                  <a:pt x="238" y="430"/>
                </a:lnTo>
                <a:lnTo>
                  <a:pt x="238" y="436"/>
                </a:lnTo>
                <a:lnTo>
                  <a:pt x="238" y="443"/>
                </a:lnTo>
                <a:lnTo>
                  <a:pt x="239" y="449"/>
                </a:lnTo>
                <a:lnTo>
                  <a:pt x="243" y="456"/>
                </a:lnTo>
                <a:lnTo>
                  <a:pt x="249" y="461"/>
                </a:lnTo>
                <a:lnTo>
                  <a:pt x="255" y="465"/>
                </a:lnTo>
                <a:lnTo>
                  <a:pt x="262" y="468"/>
                </a:lnTo>
                <a:lnTo>
                  <a:pt x="277" y="473"/>
                </a:lnTo>
                <a:lnTo>
                  <a:pt x="293" y="477"/>
                </a:lnTo>
                <a:lnTo>
                  <a:pt x="308" y="480"/>
                </a:lnTo>
                <a:lnTo>
                  <a:pt x="320" y="485"/>
                </a:lnTo>
                <a:lnTo>
                  <a:pt x="326" y="488"/>
                </a:lnTo>
                <a:lnTo>
                  <a:pt x="329" y="492"/>
                </a:lnTo>
                <a:lnTo>
                  <a:pt x="331" y="499"/>
                </a:lnTo>
                <a:lnTo>
                  <a:pt x="332" y="505"/>
                </a:lnTo>
                <a:lnTo>
                  <a:pt x="332" y="517"/>
                </a:lnTo>
                <a:lnTo>
                  <a:pt x="332" y="529"/>
                </a:lnTo>
                <a:lnTo>
                  <a:pt x="321" y="530"/>
                </a:lnTo>
                <a:lnTo>
                  <a:pt x="310" y="531"/>
                </a:lnTo>
                <a:lnTo>
                  <a:pt x="299" y="534"/>
                </a:lnTo>
                <a:lnTo>
                  <a:pt x="289" y="537"/>
                </a:lnTo>
                <a:lnTo>
                  <a:pt x="280" y="542"/>
                </a:lnTo>
                <a:lnTo>
                  <a:pt x="272" y="547"/>
                </a:lnTo>
                <a:lnTo>
                  <a:pt x="270" y="551"/>
                </a:lnTo>
                <a:lnTo>
                  <a:pt x="267" y="554"/>
                </a:lnTo>
                <a:lnTo>
                  <a:pt x="266" y="557"/>
                </a:lnTo>
                <a:lnTo>
                  <a:pt x="265" y="560"/>
                </a:lnTo>
                <a:lnTo>
                  <a:pt x="264" y="576"/>
                </a:lnTo>
                <a:lnTo>
                  <a:pt x="262" y="593"/>
                </a:lnTo>
                <a:lnTo>
                  <a:pt x="258" y="612"/>
                </a:lnTo>
                <a:lnTo>
                  <a:pt x="252" y="631"/>
                </a:lnTo>
                <a:lnTo>
                  <a:pt x="248" y="651"/>
                </a:lnTo>
                <a:lnTo>
                  <a:pt x="243" y="673"/>
                </a:lnTo>
                <a:lnTo>
                  <a:pt x="240" y="695"/>
                </a:lnTo>
                <a:lnTo>
                  <a:pt x="239" y="721"/>
                </a:lnTo>
                <a:lnTo>
                  <a:pt x="224" y="721"/>
                </a:lnTo>
                <a:lnTo>
                  <a:pt x="206" y="722"/>
                </a:lnTo>
                <a:lnTo>
                  <a:pt x="189" y="724"/>
                </a:lnTo>
                <a:lnTo>
                  <a:pt x="173" y="727"/>
                </a:lnTo>
                <a:lnTo>
                  <a:pt x="166" y="730"/>
                </a:lnTo>
                <a:lnTo>
                  <a:pt x="161" y="732"/>
                </a:lnTo>
                <a:lnTo>
                  <a:pt x="155" y="735"/>
                </a:lnTo>
                <a:lnTo>
                  <a:pt x="152" y="738"/>
                </a:lnTo>
                <a:lnTo>
                  <a:pt x="150" y="742"/>
                </a:lnTo>
                <a:lnTo>
                  <a:pt x="149" y="747"/>
                </a:lnTo>
                <a:lnTo>
                  <a:pt x="150" y="751"/>
                </a:lnTo>
                <a:lnTo>
                  <a:pt x="153" y="757"/>
                </a:lnTo>
                <a:lnTo>
                  <a:pt x="142" y="757"/>
                </a:lnTo>
                <a:lnTo>
                  <a:pt x="127" y="757"/>
                </a:lnTo>
                <a:lnTo>
                  <a:pt x="113" y="757"/>
                </a:lnTo>
                <a:lnTo>
                  <a:pt x="106" y="757"/>
                </a:lnTo>
                <a:lnTo>
                  <a:pt x="104" y="757"/>
                </a:lnTo>
                <a:lnTo>
                  <a:pt x="101" y="756"/>
                </a:lnTo>
                <a:lnTo>
                  <a:pt x="98" y="754"/>
                </a:lnTo>
                <a:lnTo>
                  <a:pt x="95" y="752"/>
                </a:lnTo>
                <a:lnTo>
                  <a:pt x="90" y="746"/>
                </a:lnTo>
                <a:lnTo>
                  <a:pt x="84" y="738"/>
                </a:lnTo>
                <a:lnTo>
                  <a:pt x="77" y="729"/>
                </a:lnTo>
                <a:lnTo>
                  <a:pt x="71" y="718"/>
                </a:lnTo>
                <a:lnTo>
                  <a:pt x="65" y="706"/>
                </a:lnTo>
                <a:lnTo>
                  <a:pt x="60" y="693"/>
                </a:lnTo>
                <a:lnTo>
                  <a:pt x="49" y="667"/>
                </a:lnTo>
                <a:lnTo>
                  <a:pt x="41" y="640"/>
                </a:lnTo>
                <a:lnTo>
                  <a:pt x="38" y="628"/>
                </a:lnTo>
                <a:lnTo>
                  <a:pt x="35" y="616"/>
                </a:lnTo>
                <a:lnTo>
                  <a:pt x="34" y="606"/>
                </a:lnTo>
                <a:lnTo>
                  <a:pt x="34" y="597"/>
                </a:lnTo>
                <a:lnTo>
                  <a:pt x="27" y="596"/>
                </a:lnTo>
                <a:lnTo>
                  <a:pt x="22" y="594"/>
                </a:lnTo>
                <a:lnTo>
                  <a:pt x="17" y="590"/>
                </a:lnTo>
                <a:lnTo>
                  <a:pt x="14" y="586"/>
                </a:lnTo>
                <a:lnTo>
                  <a:pt x="8" y="576"/>
                </a:lnTo>
                <a:lnTo>
                  <a:pt x="0" y="566"/>
                </a:lnTo>
                <a:lnTo>
                  <a:pt x="9" y="563"/>
                </a:lnTo>
                <a:lnTo>
                  <a:pt x="19" y="561"/>
                </a:lnTo>
                <a:lnTo>
                  <a:pt x="27" y="560"/>
                </a:lnTo>
                <a:lnTo>
                  <a:pt x="34" y="560"/>
                </a:lnTo>
                <a:lnTo>
                  <a:pt x="34" y="548"/>
                </a:lnTo>
                <a:lnTo>
                  <a:pt x="36" y="538"/>
                </a:lnTo>
                <a:lnTo>
                  <a:pt x="38" y="528"/>
                </a:lnTo>
                <a:lnTo>
                  <a:pt x="42" y="519"/>
                </a:lnTo>
                <a:lnTo>
                  <a:pt x="47" y="511"/>
                </a:lnTo>
                <a:lnTo>
                  <a:pt x="53" y="504"/>
                </a:lnTo>
                <a:lnTo>
                  <a:pt x="59" y="498"/>
                </a:lnTo>
                <a:lnTo>
                  <a:pt x="67" y="492"/>
                </a:lnTo>
                <a:lnTo>
                  <a:pt x="62" y="480"/>
                </a:lnTo>
                <a:lnTo>
                  <a:pt x="61" y="471"/>
                </a:lnTo>
                <a:lnTo>
                  <a:pt x="61" y="464"/>
                </a:lnTo>
                <a:lnTo>
                  <a:pt x="61" y="457"/>
                </a:lnTo>
                <a:lnTo>
                  <a:pt x="63" y="450"/>
                </a:lnTo>
                <a:lnTo>
                  <a:pt x="64" y="441"/>
                </a:lnTo>
                <a:lnTo>
                  <a:pt x="65" y="428"/>
                </a:lnTo>
                <a:lnTo>
                  <a:pt x="67" y="412"/>
                </a:lnTo>
                <a:lnTo>
                  <a:pt x="62" y="410"/>
                </a:lnTo>
                <a:lnTo>
                  <a:pt x="58" y="408"/>
                </a:lnTo>
                <a:lnTo>
                  <a:pt x="54" y="404"/>
                </a:lnTo>
                <a:lnTo>
                  <a:pt x="51" y="400"/>
                </a:lnTo>
                <a:lnTo>
                  <a:pt x="47" y="390"/>
                </a:lnTo>
                <a:lnTo>
                  <a:pt x="43" y="377"/>
                </a:lnTo>
                <a:lnTo>
                  <a:pt x="40" y="354"/>
                </a:lnTo>
                <a:lnTo>
                  <a:pt x="40" y="338"/>
                </a:lnTo>
                <a:lnTo>
                  <a:pt x="60" y="277"/>
                </a:lnTo>
                <a:lnTo>
                  <a:pt x="74" y="276"/>
                </a:lnTo>
                <a:lnTo>
                  <a:pt x="88" y="275"/>
                </a:lnTo>
                <a:lnTo>
                  <a:pt x="94" y="274"/>
                </a:lnTo>
                <a:lnTo>
                  <a:pt x="99" y="274"/>
                </a:lnTo>
                <a:lnTo>
                  <a:pt x="103" y="275"/>
                </a:lnTo>
                <a:lnTo>
                  <a:pt x="106" y="277"/>
                </a:lnTo>
                <a:lnTo>
                  <a:pt x="107" y="261"/>
                </a:lnTo>
                <a:lnTo>
                  <a:pt x="109" y="247"/>
                </a:lnTo>
                <a:lnTo>
                  <a:pt x="113" y="234"/>
                </a:lnTo>
                <a:lnTo>
                  <a:pt x="118" y="222"/>
                </a:lnTo>
                <a:lnTo>
                  <a:pt x="124" y="211"/>
                </a:lnTo>
                <a:lnTo>
                  <a:pt x="130" y="201"/>
                </a:lnTo>
                <a:lnTo>
                  <a:pt x="137" y="192"/>
                </a:lnTo>
                <a:lnTo>
                  <a:pt x="144" y="183"/>
                </a:lnTo>
                <a:lnTo>
                  <a:pt x="160" y="168"/>
                </a:lnTo>
                <a:lnTo>
                  <a:pt x="173" y="152"/>
                </a:lnTo>
                <a:lnTo>
                  <a:pt x="180" y="145"/>
                </a:lnTo>
                <a:lnTo>
                  <a:pt x="185" y="138"/>
                </a:lnTo>
                <a:lnTo>
                  <a:pt x="189" y="130"/>
                </a:lnTo>
                <a:lnTo>
                  <a:pt x="193" y="123"/>
                </a:lnTo>
                <a:lnTo>
                  <a:pt x="198" y="111"/>
                </a:lnTo>
                <a:lnTo>
                  <a:pt x="205" y="97"/>
                </a:lnTo>
                <a:lnTo>
                  <a:pt x="213" y="83"/>
                </a:lnTo>
                <a:lnTo>
                  <a:pt x="220" y="71"/>
                </a:lnTo>
                <a:lnTo>
                  <a:pt x="228" y="60"/>
                </a:lnTo>
                <a:lnTo>
                  <a:pt x="237" y="51"/>
                </a:lnTo>
                <a:lnTo>
                  <a:pt x="241" y="47"/>
                </a:lnTo>
                <a:lnTo>
                  <a:pt x="244" y="44"/>
                </a:lnTo>
                <a:lnTo>
                  <a:pt x="249" y="43"/>
                </a:lnTo>
                <a:lnTo>
                  <a:pt x="252" y="42"/>
                </a:lnTo>
                <a:lnTo>
                  <a:pt x="272" y="36"/>
                </a:lnTo>
                <a:lnTo>
                  <a:pt x="291" y="32"/>
                </a:lnTo>
                <a:lnTo>
                  <a:pt x="309" y="29"/>
                </a:lnTo>
                <a:lnTo>
                  <a:pt x="327" y="25"/>
                </a:lnTo>
                <a:lnTo>
                  <a:pt x="344" y="22"/>
                </a:lnTo>
                <a:lnTo>
                  <a:pt x="361" y="16"/>
                </a:lnTo>
                <a:lnTo>
                  <a:pt x="368" y="13"/>
                </a:lnTo>
                <a:lnTo>
                  <a:pt x="376" y="9"/>
                </a:lnTo>
                <a:lnTo>
                  <a:pt x="384" y="5"/>
                </a:lnTo>
                <a:lnTo>
                  <a:pt x="392" y="0"/>
                </a:lnTo>
                <a:lnTo>
                  <a:pt x="401" y="5"/>
                </a:lnTo>
                <a:lnTo>
                  <a:pt x="409" y="11"/>
                </a:lnTo>
                <a:lnTo>
                  <a:pt x="416" y="18"/>
                </a:lnTo>
                <a:lnTo>
                  <a:pt x="423" y="25"/>
                </a:lnTo>
                <a:lnTo>
                  <a:pt x="431" y="32"/>
                </a:lnTo>
                <a:lnTo>
                  <a:pt x="441" y="37"/>
                </a:lnTo>
                <a:lnTo>
                  <a:pt x="445" y="39"/>
                </a:lnTo>
                <a:lnTo>
                  <a:pt x="452" y="41"/>
                </a:lnTo>
                <a:lnTo>
                  <a:pt x="457" y="42"/>
                </a:lnTo>
                <a:lnTo>
                  <a:pt x="465" y="42"/>
                </a:lnTo>
                <a:lnTo>
                  <a:pt x="487" y="72"/>
                </a:lnTo>
                <a:lnTo>
                  <a:pt x="508" y="102"/>
                </a:lnTo>
                <a:lnTo>
                  <a:pt x="513" y="111"/>
                </a:lnTo>
                <a:lnTo>
                  <a:pt x="518" y="120"/>
                </a:lnTo>
                <a:lnTo>
                  <a:pt x="521" y="129"/>
                </a:lnTo>
                <a:lnTo>
                  <a:pt x="524" y="139"/>
                </a:lnTo>
                <a:lnTo>
                  <a:pt x="528" y="150"/>
                </a:lnTo>
                <a:lnTo>
                  <a:pt x="530" y="163"/>
                </a:lnTo>
                <a:lnTo>
                  <a:pt x="531" y="176"/>
                </a:lnTo>
                <a:lnTo>
                  <a:pt x="531" y="190"/>
                </a:lnTo>
              </a:path>
            </a:pathLst>
          </a:custGeom>
          <a:solidFill>
            <a:srgbClr val="007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292" name="Freeform 244"/>
          <p:cNvSpPr>
            <a:spLocks/>
          </p:cNvSpPr>
          <p:nvPr>
            <p:custDataLst>
              <p:tags r:id="rId171"/>
            </p:custDataLst>
          </p:nvPr>
        </p:nvSpPr>
        <p:spPr bwMode="auto">
          <a:xfrm>
            <a:off x="4365625" y="1379939"/>
            <a:ext cx="26988" cy="42863"/>
          </a:xfrm>
          <a:custGeom>
            <a:avLst/>
            <a:gdLst/>
            <a:ahLst/>
            <a:cxnLst>
              <a:cxn ang="0">
                <a:pos x="0" y="37"/>
              </a:cxn>
              <a:cxn ang="0">
                <a:pos x="6" y="30"/>
              </a:cxn>
              <a:cxn ang="0">
                <a:pos x="15" y="19"/>
              </a:cxn>
              <a:cxn ang="0">
                <a:pos x="20" y="13"/>
              </a:cxn>
              <a:cxn ang="0">
                <a:pos x="27" y="8"/>
              </a:cxn>
              <a:cxn ang="0">
                <a:pos x="33" y="4"/>
              </a:cxn>
              <a:cxn ang="0">
                <a:pos x="40" y="0"/>
              </a:cxn>
              <a:cxn ang="0">
                <a:pos x="50" y="7"/>
              </a:cxn>
              <a:cxn ang="0">
                <a:pos x="60" y="13"/>
              </a:cxn>
              <a:cxn ang="0">
                <a:pos x="59" y="20"/>
              </a:cxn>
              <a:cxn ang="0">
                <a:pos x="56" y="29"/>
              </a:cxn>
              <a:cxn ang="0">
                <a:pos x="54" y="34"/>
              </a:cxn>
              <a:cxn ang="0">
                <a:pos x="52" y="38"/>
              </a:cxn>
              <a:cxn ang="0">
                <a:pos x="49" y="42"/>
              </a:cxn>
              <a:cxn ang="0">
                <a:pos x="45" y="45"/>
              </a:cxn>
              <a:cxn ang="0">
                <a:pos x="41" y="48"/>
              </a:cxn>
              <a:cxn ang="0">
                <a:pos x="37" y="50"/>
              </a:cxn>
              <a:cxn ang="0">
                <a:pos x="31" y="51"/>
              </a:cxn>
              <a:cxn ang="0">
                <a:pos x="27" y="51"/>
              </a:cxn>
              <a:cxn ang="0">
                <a:pos x="20" y="50"/>
              </a:cxn>
              <a:cxn ang="0">
                <a:pos x="15" y="47"/>
              </a:cxn>
              <a:cxn ang="0">
                <a:pos x="7" y="43"/>
              </a:cxn>
              <a:cxn ang="0">
                <a:pos x="0" y="37"/>
              </a:cxn>
            </a:cxnLst>
            <a:rect l="0" t="0" r="r" b="b"/>
            <a:pathLst>
              <a:path w="60" h="51">
                <a:moveTo>
                  <a:pt x="0" y="37"/>
                </a:moveTo>
                <a:lnTo>
                  <a:pt x="6" y="30"/>
                </a:lnTo>
                <a:lnTo>
                  <a:pt x="15" y="19"/>
                </a:lnTo>
                <a:lnTo>
                  <a:pt x="20" y="13"/>
                </a:lnTo>
                <a:lnTo>
                  <a:pt x="27" y="8"/>
                </a:lnTo>
                <a:lnTo>
                  <a:pt x="33" y="4"/>
                </a:lnTo>
                <a:lnTo>
                  <a:pt x="40" y="0"/>
                </a:lnTo>
                <a:lnTo>
                  <a:pt x="50" y="7"/>
                </a:lnTo>
                <a:lnTo>
                  <a:pt x="60" y="13"/>
                </a:lnTo>
                <a:lnTo>
                  <a:pt x="59" y="20"/>
                </a:lnTo>
                <a:lnTo>
                  <a:pt x="56" y="29"/>
                </a:lnTo>
                <a:lnTo>
                  <a:pt x="54" y="34"/>
                </a:lnTo>
                <a:lnTo>
                  <a:pt x="52" y="38"/>
                </a:lnTo>
                <a:lnTo>
                  <a:pt x="49" y="42"/>
                </a:lnTo>
                <a:lnTo>
                  <a:pt x="45" y="45"/>
                </a:lnTo>
                <a:lnTo>
                  <a:pt x="41" y="48"/>
                </a:lnTo>
                <a:lnTo>
                  <a:pt x="37" y="50"/>
                </a:lnTo>
                <a:lnTo>
                  <a:pt x="31" y="51"/>
                </a:lnTo>
                <a:lnTo>
                  <a:pt x="27" y="51"/>
                </a:lnTo>
                <a:lnTo>
                  <a:pt x="20" y="50"/>
                </a:lnTo>
                <a:lnTo>
                  <a:pt x="15" y="47"/>
                </a:lnTo>
                <a:lnTo>
                  <a:pt x="7" y="43"/>
                </a:lnTo>
                <a:lnTo>
                  <a:pt x="0" y="3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293" name="Freeform 245"/>
          <p:cNvSpPr>
            <a:spLocks/>
          </p:cNvSpPr>
          <p:nvPr>
            <p:custDataLst>
              <p:tags r:id="rId172"/>
            </p:custDataLst>
          </p:nvPr>
        </p:nvSpPr>
        <p:spPr bwMode="auto">
          <a:xfrm>
            <a:off x="3810005" y="1501381"/>
            <a:ext cx="28575" cy="42863"/>
          </a:xfrm>
          <a:custGeom>
            <a:avLst/>
            <a:gdLst/>
            <a:ahLst/>
            <a:cxnLst>
              <a:cxn ang="0">
                <a:pos x="59" y="48"/>
              </a:cxn>
              <a:cxn ang="0">
                <a:pos x="42" y="50"/>
              </a:cxn>
              <a:cxn ang="0">
                <a:pos x="22" y="51"/>
              </a:cxn>
              <a:cxn ang="0">
                <a:pos x="17" y="50"/>
              </a:cxn>
              <a:cxn ang="0">
                <a:pos x="13" y="49"/>
              </a:cxn>
              <a:cxn ang="0">
                <a:pos x="10" y="48"/>
              </a:cxn>
              <a:cxn ang="0">
                <a:pos x="7" y="46"/>
              </a:cxn>
              <a:cxn ang="0">
                <a:pos x="3" y="43"/>
              </a:cxn>
              <a:cxn ang="0">
                <a:pos x="1" y="40"/>
              </a:cxn>
              <a:cxn ang="0">
                <a:pos x="0" y="35"/>
              </a:cxn>
              <a:cxn ang="0">
                <a:pos x="0" y="30"/>
              </a:cxn>
              <a:cxn ang="0">
                <a:pos x="4" y="29"/>
              </a:cxn>
              <a:cxn ang="0">
                <a:pos x="10" y="27"/>
              </a:cxn>
              <a:cxn ang="0">
                <a:pos x="14" y="24"/>
              </a:cxn>
              <a:cxn ang="0">
                <a:pos x="19" y="20"/>
              </a:cxn>
              <a:cxn ang="0">
                <a:pos x="26" y="10"/>
              </a:cxn>
              <a:cxn ang="0">
                <a:pos x="33" y="0"/>
              </a:cxn>
              <a:cxn ang="0">
                <a:pos x="46" y="1"/>
              </a:cxn>
              <a:cxn ang="0">
                <a:pos x="52" y="2"/>
              </a:cxn>
              <a:cxn ang="0">
                <a:pos x="56" y="3"/>
              </a:cxn>
              <a:cxn ang="0">
                <a:pos x="66" y="0"/>
              </a:cxn>
              <a:cxn ang="0">
                <a:pos x="65" y="13"/>
              </a:cxn>
              <a:cxn ang="0">
                <a:pos x="63" y="24"/>
              </a:cxn>
              <a:cxn ang="0">
                <a:pos x="60" y="36"/>
              </a:cxn>
              <a:cxn ang="0">
                <a:pos x="59" y="48"/>
              </a:cxn>
            </a:cxnLst>
            <a:rect l="0" t="0" r="r" b="b"/>
            <a:pathLst>
              <a:path w="66" h="51">
                <a:moveTo>
                  <a:pt x="59" y="48"/>
                </a:moveTo>
                <a:lnTo>
                  <a:pt x="42" y="50"/>
                </a:lnTo>
                <a:lnTo>
                  <a:pt x="22" y="51"/>
                </a:lnTo>
                <a:lnTo>
                  <a:pt x="17" y="50"/>
                </a:lnTo>
                <a:lnTo>
                  <a:pt x="13" y="49"/>
                </a:lnTo>
                <a:lnTo>
                  <a:pt x="10" y="48"/>
                </a:lnTo>
                <a:lnTo>
                  <a:pt x="7" y="46"/>
                </a:lnTo>
                <a:lnTo>
                  <a:pt x="3" y="43"/>
                </a:lnTo>
                <a:lnTo>
                  <a:pt x="1" y="40"/>
                </a:lnTo>
                <a:lnTo>
                  <a:pt x="0" y="35"/>
                </a:lnTo>
                <a:lnTo>
                  <a:pt x="0" y="30"/>
                </a:lnTo>
                <a:lnTo>
                  <a:pt x="4" y="29"/>
                </a:lnTo>
                <a:lnTo>
                  <a:pt x="10" y="27"/>
                </a:lnTo>
                <a:lnTo>
                  <a:pt x="14" y="24"/>
                </a:lnTo>
                <a:lnTo>
                  <a:pt x="19" y="20"/>
                </a:lnTo>
                <a:lnTo>
                  <a:pt x="26" y="10"/>
                </a:lnTo>
                <a:lnTo>
                  <a:pt x="33" y="0"/>
                </a:lnTo>
                <a:lnTo>
                  <a:pt x="46" y="1"/>
                </a:lnTo>
                <a:lnTo>
                  <a:pt x="52" y="2"/>
                </a:lnTo>
                <a:lnTo>
                  <a:pt x="56" y="3"/>
                </a:lnTo>
                <a:lnTo>
                  <a:pt x="66" y="0"/>
                </a:lnTo>
                <a:lnTo>
                  <a:pt x="65" y="13"/>
                </a:lnTo>
                <a:lnTo>
                  <a:pt x="63" y="24"/>
                </a:lnTo>
                <a:lnTo>
                  <a:pt x="60" y="36"/>
                </a:lnTo>
                <a:lnTo>
                  <a:pt x="59" y="48"/>
                </a:lnTo>
              </a:path>
            </a:pathLst>
          </a:custGeom>
          <a:solidFill>
            <a:schemeClr val="bg1">
              <a:lumMod val="6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294" name="Freeform 246"/>
          <p:cNvSpPr>
            <a:spLocks/>
          </p:cNvSpPr>
          <p:nvPr>
            <p:custDataLst>
              <p:tags r:id="rId173"/>
            </p:custDataLst>
          </p:nvPr>
        </p:nvSpPr>
        <p:spPr bwMode="auto">
          <a:xfrm>
            <a:off x="4762500" y="1897861"/>
            <a:ext cx="50800" cy="42863"/>
          </a:xfrm>
          <a:custGeom>
            <a:avLst/>
            <a:gdLst/>
            <a:ahLst/>
            <a:cxnLst>
              <a:cxn ang="0">
                <a:pos x="0" y="44"/>
              </a:cxn>
              <a:cxn ang="0">
                <a:pos x="20" y="74"/>
              </a:cxn>
              <a:cxn ang="0">
                <a:pos x="37" y="69"/>
              </a:cxn>
              <a:cxn ang="0">
                <a:pos x="51" y="65"/>
              </a:cxn>
              <a:cxn ang="0">
                <a:pos x="64" y="59"/>
              </a:cxn>
              <a:cxn ang="0">
                <a:pos x="74" y="53"/>
              </a:cxn>
              <a:cxn ang="0">
                <a:pos x="78" y="49"/>
              </a:cxn>
              <a:cxn ang="0">
                <a:pos x="83" y="45"/>
              </a:cxn>
              <a:cxn ang="0">
                <a:pos x="86" y="41"/>
              </a:cxn>
              <a:cxn ang="0">
                <a:pos x="88" y="37"/>
              </a:cxn>
              <a:cxn ang="0">
                <a:pos x="90" y="32"/>
              </a:cxn>
              <a:cxn ang="0">
                <a:pos x="91" y="26"/>
              </a:cxn>
              <a:cxn ang="0">
                <a:pos x="93" y="19"/>
              </a:cxn>
              <a:cxn ang="0">
                <a:pos x="94" y="13"/>
              </a:cxn>
              <a:cxn ang="0">
                <a:pos x="99" y="12"/>
              </a:cxn>
              <a:cxn ang="0">
                <a:pos x="106" y="9"/>
              </a:cxn>
              <a:cxn ang="0">
                <a:pos x="108" y="7"/>
              </a:cxn>
              <a:cxn ang="0">
                <a:pos x="111" y="5"/>
              </a:cxn>
              <a:cxn ang="0">
                <a:pos x="112" y="3"/>
              </a:cxn>
              <a:cxn ang="0">
                <a:pos x="113" y="0"/>
              </a:cxn>
              <a:cxn ang="0">
                <a:pos x="98" y="4"/>
              </a:cxn>
              <a:cxn ang="0">
                <a:pos x="82" y="8"/>
              </a:cxn>
              <a:cxn ang="0">
                <a:pos x="65" y="13"/>
              </a:cxn>
              <a:cxn ang="0">
                <a:pos x="49" y="19"/>
              </a:cxn>
              <a:cxn ang="0">
                <a:pos x="20" y="33"/>
              </a:cxn>
              <a:cxn ang="0">
                <a:pos x="0" y="44"/>
              </a:cxn>
            </a:cxnLst>
            <a:rect l="0" t="0" r="r" b="b"/>
            <a:pathLst>
              <a:path w="113" h="74">
                <a:moveTo>
                  <a:pt x="0" y="44"/>
                </a:moveTo>
                <a:lnTo>
                  <a:pt x="20" y="74"/>
                </a:lnTo>
                <a:lnTo>
                  <a:pt x="37" y="69"/>
                </a:lnTo>
                <a:lnTo>
                  <a:pt x="51" y="65"/>
                </a:lnTo>
                <a:lnTo>
                  <a:pt x="64" y="59"/>
                </a:lnTo>
                <a:lnTo>
                  <a:pt x="74" y="53"/>
                </a:lnTo>
                <a:lnTo>
                  <a:pt x="78" y="49"/>
                </a:lnTo>
                <a:lnTo>
                  <a:pt x="83" y="45"/>
                </a:lnTo>
                <a:lnTo>
                  <a:pt x="86" y="41"/>
                </a:lnTo>
                <a:lnTo>
                  <a:pt x="88" y="37"/>
                </a:lnTo>
                <a:lnTo>
                  <a:pt x="90" y="32"/>
                </a:lnTo>
                <a:lnTo>
                  <a:pt x="91" y="26"/>
                </a:lnTo>
                <a:lnTo>
                  <a:pt x="93" y="19"/>
                </a:lnTo>
                <a:lnTo>
                  <a:pt x="94" y="13"/>
                </a:lnTo>
                <a:lnTo>
                  <a:pt x="99" y="12"/>
                </a:lnTo>
                <a:lnTo>
                  <a:pt x="106" y="9"/>
                </a:lnTo>
                <a:lnTo>
                  <a:pt x="108" y="7"/>
                </a:lnTo>
                <a:lnTo>
                  <a:pt x="111" y="5"/>
                </a:lnTo>
                <a:lnTo>
                  <a:pt x="112" y="3"/>
                </a:lnTo>
                <a:lnTo>
                  <a:pt x="113" y="0"/>
                </a:lnTo>
                <a:lnTo>
                  <a:pt x="98" y="4"/>
                </a:lnTo>
                <a:lnTo>
                  <a:pt x="82" y="8"/>
                </a:lnTo>
                <a:lnTo>
                  <a:pt x="65" y="13"/>
                </a:lnTo>
                <a:lnTo>
                  <a:pt x="49" y="19"/>
                </a:lnTo>
                <a:lnTo>
                  <a:pt x="20" y="33"/>
                </a:lnTo>
                <a:lnTo>
                  <a:pt x="0" y="4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295" name="Freeform 247"/>
          <p:cNvSpPr>
            <a:spLocks/>
          </p:cNvSpPr>
          <p:nvPr>
            <p:custDataLst>
              <p:tags r:id="rId174"/>
            </p:custDataLst>
          </p:nvPr>
        </p:nvSpPr>
        <p:spPr bwMode="auto">
          <a:xfrm>
            <a:off x="4370395" y="2491985"/>
            <a:ext cx="325437" cy="183356"/>
          </a:xfrm>
          <a:custGeom>
            <a:avLst/>
            <a:gdLst/>
            <a:ahLst/>
            <a:cxnLst>
              <a:cxn ang="0">
                <a:pos x="98" y="452"/>
              </a:cxn>
              <a:cxn ang="0">
                <a:pos x="54" y="440"/>
              </a:cxn>
              <a:cxn ang="0">
                <a:pos x="21" y="429"/>
              </a:cxn>
              <a:cxn ang="0">
                <a:pos x="5" y="413"/>
              </a:cxn>
              <a:cxn ang="0">
                <a:pos x="0" y="363"/>
              </a:cxn>
              <a:cxn ang="0">
                <a:pos x="5" y="309"/>
              </a:cxn>
              <a:cxn ang="0">
                <a:pos x="23" y="273"/>
              </a:cxn>
              <a:cxn ang="0">
                <a:pos x="56" y="228"/>
              </a:cxn>
              <a:cxn ang="0">
                <a:pos x="121" y="204"/>
              </a:cxn>
              <a:cxn ang="0">
                <a:pos x="166" y="188"/>
              </a:cxn>
              <a:cxn ang="0">
                <a:pos x="235" y="173"/>
              </a:cxn>
              <a:cxn ang="0">
                <a:pos x="262" y="153"/>
              </a:cxn>
              <a:cxn ang="0">
                <a:pos x="267" y="136"/>
              </a:cxn>
              <a:cxn ang="0">
                <a:pos x="292" y="120"/>
              </a:cxn>
              <a:cxn ang="0">
                <a:pos x="332" y="115"/>
              </a:cxn>
              <a:cxn ang="0">
                <a:pos x="359" y="101"/>
              </a:cxn>
              <a:cxn ang="0">
                <a:pos x="389" y="67"/>
              </a:cxn>
              <a:cxn ang="0">
                <a:pos x="425" y="22"/>
              </a:cxn>
              <a:cxn ang="0">
                <a:pos x="450" y="6"/>
              </a:cxn>
              <a:cxn ang="0">
                <a:pos x="486" y="0"/>
              </a:cxn>
              <a:cxn ang="0">
                <a:pos x="507" y="29"/>
              </a:cxn>
              <a:cxn ang="0">
                <a:pos x="532" y="53"/>
              </a:cxn>
              <a:cxn ang="0">
                <a:pos x="553" y="107"/>
              </a:cxn>
              <a:cxn ang="0">
                <a:pos x="579" y="159"/>
              </a:cxn>
              <a:cxn ang="0">
                <a:pos x="613" y="172"/>
              </a:cxn>
              <a:cxn ang="0">
                <a:pos x="628" y="193"/>
              </a:cxn>
              <a:cxn ang="0">
                <a:pos x="650" y="233"/>
              </a:cxn>
              <a:cxn ang="0">
                <a:pos x="702" y="279"/>
              </a:cxn>
              <a:cxn ang="0">
                <a:pos x="741" y="315"/>
              </a:cxn>
              <a:cxn ang="0">
                <a:pos x="711" y="345"/>
              </a:cxn>
              <a:cxn ang="0">
                <a:pos x="691" y="342"/>
              </a:cxn>
              <a:cxn ang="0">
                <a:pos x="679" y="321"/>
              </a:cxn>
              <a:cxn ang="0">
                <a:pos x="651" y="330"/>
              </a:cxn>
              <a:cxn ang="0">
                <a:pos x="639" y="352"/>
              </a:cxn>
              <a:cxn ang="0">
                <a:pos x="604" y="356"/>
              </a:cxn>
              <a:cxn ang="0">
                <a:pos x="553" y="356"/>
              </a:cxn>
              <a:cxn ang="0">
                <a:pos x="522" y="365"/>
              </a:cxn>
              <a:cxn ang="0">
                <a:pos x="496" y="387"/>
              </a:cxn>
              <a:cxn ang="0">
                <a:pos x="486" y="394"/>
              </a:cxn>
              <a:cxn ang="0">
                <a:pos x="426" y="400"/>
              </a:cxn>
              <a:cxn ang="0">
                <a:pos x="396" y="392"/>
              </a:cxn>
              <a:cxn ang="0">
                <a:pos x="349" y="354"/>
              </a:cxn>
              <a:cxn ang="0">
                <a:pos x="319" y="345"/>
              </a:cxn>
              <a:cxn ang="0">
                <a:pos x="291" y="355"/>
              </a:cxn>
              <a:cxn ang="0">
                <a:pos x="266" y="377"/>
              </a:cxn>
              <a:cxn ang="0">
                <a:pos x="227" y="437"/>
              </a:cxn>
              <a:cxn ang="0">
                <a:pos x="150" y="439"/>
              </a:cxn>
              <a:cxn ang="0">
                <a:pos x="135" y="448"/>
              </a:cxn>
            </a:cxnLst>
            <a:rect l="0" t="0" r="r" b="b"/>
            <a:pathLst>
              <a:path w="746" h="469">
                <a:moveTo>
                  <a:pt x="114" y="469"/>
                </a:moveTo>
                <a:lnTo>
                  <a:pt x="109" y="463"/>
                </a:lnTo>
                <a:lnTo>
                  <a:pt x="103" y="456"/>
                </a:lnTo>
                <a:lnTo>
                  <a:pt x="98" y="452"/>
                </a:lnTo>
                <a:lnTo>
                  <a:pt x="92" y="449"/>
                </a:lnTo>
                <a:lnTo>
                  <a:pt x="79" y="445"/>
                </a:lnTo>
                <a:lnTo>
                  <a:pt x="67" y="442"/>
                </a:lnTo>
                <a:lnTo>
                  <a:pt x="54" y="440"/>
                </a:lnTo>
                <a:lnTo>
                  <a:pt x="39" y="437"/>
                </a:lnTo>
                <a:lnTo>
                  <a:pt x="33" y="435"/>
                </a:lnTo>
                <a:lnTo>
                  <a:pt x="26" y="433"/>
                </a:lnTo>
                <a:lnTo>
                  <a:pt x="21" y="429"/>
                </a:lnTo>
                <a:lnTo>
                  <a:pt x="14" y="425"/>
                </a:lnTo>
                <a:lnTo>
                  <a:pt x="11" y="422"/>
                </a:lnTo>
                <a:lnTo>
                  <a:pt x="8" y="418"/>
                </a:lnTo>
                <a:lnTo>
                  <a:pt x="5" y="413"/>
                </a:lnTo>
                <a:lnTo>
                  <a:pt x="3" y="408"/>
                </a:lnTo>
                <a:lnTo>
                  <a:pt x="1" y="396"/>
                </a:lnTo>
                <a:lnTo>
                  <a:pt x="0" y="385"/>
                </a:lnTo>
                <a:lnTo>
                  <a:pt x="0" y="363"/>
                </a:lnTo>
                <a:lnTo>
                  <a:pt x="1" y="345"/>
                </a:lnTo>
                <a:lnTo>
                  <a:pt x="1" y="332"/>
                </a:lnTo>
                <a:lnTo>
                  <a:pt x="3" y="320"/>
                </a:lnTo>
                <a:lnTo>
                  <a:pt x="5" y="309"/>
                </a:lnTo>
                <a:lnTo>
                  <a:pt x="10" y="299"/>
                </a:lnTo>
                <a:lnTo>
                  <a:pt x="13" y="289"/>
                </a:lnTo>
                <a:lnTo>
                  <a:pt x="19" y="281"/>
                </a:lnTo>
                <a:lnTo>
                  <a:pt x="23" y="273"/>
                </a:lnTo>
                <a:lnTo>
                  <a:pt x="30" y="265"/>
                </a:lnTo>
                <a:lnTo>
                  <a:pt x="41" y="251"/>
                </a:lnTo>
                <a:lnTo>
                  <a:pt x="52" y="236"/>
                </a:lnTo>
                <a:lnTo>
                  <a:pt x="56" y="228"/>
                </a:lnTo>
                <a:lnTo>
                  <a:pt x="60" y="220"/>
                </a:lnTo>
                <a:lnTo>
                  <a:pt x="65" y="212"/>
                </a:lnTo>
                <a:lnTo>
                  <a:pt x="67" y="204"/>
                </a:lnTo>
                <a:lnTo>
                  <a:pt x="121" y="204"/>
                </a:lnTo>
                <a:lnTo>
                  <a:pt x="131" y="198"/>
                </a:lnTo>
                <a:lnTo>
                  <a:pt x="142" y="194"/>
                </a:lnTo>
                <a:lnTo>
                  <a:pt x="154" y="191"/>
                </a:lnTo>
                <a:lnTo>
                  <a:pt x="166" y="188"/>
                </a:lnTo>
                <a:lnTo>
                  <a:pt x="190" y="184"/>
                </a:lnTo>
                <a:lnTo>
                  <a:pt x="213" y="178"/>
                </a:lnTo>
                <a:lnTo>
                  <a:pt x="224" y="176"/>
                </a:lnTo>
                <a:lnTo>
                  <a:pt x="235" y="173"/>
                </a:lnTo>
                <a:lnTo>
                  <a:pt x="244" y="170"/>
                </a:lnTo>
                <a:lnTo>
                  <a:pt x="251" y="165"/>
                </a:lnTo>
                <a:lnTo>
                  <a:pt x="258" y="160"/>
                </a:lnTo>
                <a:lnTo>
                  <a:pt x="262" y="153"/>
                </a:lnTo>
                <a:lnTo>
                  <a:pt x="265" y="150"/>
                </a:lnTo>
                <a:lnTo>
                  <a:pt x="266" y="145"/>
                </a:lnTo>
                <a:lnTo>
                  <a:pt x="267" y="141"/>
                </a:lnTo>
                <a:lnTo>
                  <a:pt x="267" y="136"/>
                </a:lnTo>
                <a:lnTo>
                  <a:pt x="267" y="126"/>
                </a:lnTo>
                <a:lnTo>
                  <a:pt x="267" y="117"/>
                </a:lnTo>
                <a:lnTo>
                  <a:pt x="280" y="119"/>
                </a:lnTo>
                <a:lnTo>
                  <a:pt x="292" y="120"/>
                </a:lnTo>
                <a:lnTo>
                  <a:pt x="303" y="120"/>
                </a:lnTo>
                <a:lnTo>
                  <a:pt x="313" y="119"/>
                </a:lnTo>
                <a:lnTo>
                  <a:pt x="323" y="117"/>
                </a:lnTo>
                <a:lnTo>
                  <a:pt x="332" y="115"/>
                </a:lnTo>
                <a:lnTo>
                  <a:pt x="339" y="112"/>
                </a:lnTo>
                <a:lnTo>
                  <a:pt x="347" y="109"/>
                </a:lnTo>
                <a:lnTo>
                  <a:pt x="354" y="105"/>
                </a:lnTo>
                <a:lnTo>
                  <a:pt x="359" y="101"/>
                </a:lnTo>
                <a:lnTo>
                  <a:pt x="366" y="96"/>
                </a:lnTo>
                <a:lnTo>
                  <a:pt x="370" y="91"/>
                </a:lnTo>
                <a:lnTo>
                  <a:pt x="380" y="80"/>
                </a:lnTo>
                <a:lnTo>
                  <a:pt x="389" y="67"/>
                </a:lnTo>
                <a:lnTo>
                  <a:pt x="397" y="56"/>
                </a:lnTo>
                <a:lnTo>
                  <a:pt x="405" y="44"/>
                </a:lnTo>
                <a:lnTo>
                  <a:pt x="414" y="32"/>
                </a:lnTo>
                <a:lnTo>
                  <a:pt x="425" y="22"/>
                </a:lnTo>
                <a:lnTo>
                  <a:pt x="430" y="18"/>
                </a:lnTo>
                <a:lnTo>
                  <a:pt x="436" y="13"/>
                </a:lnTo>
                <a:lnTo>
                  <a:pt x="442" y="9"/>
                </a:lnTo>
                <a:lnTo>
                  <a:pt x="450" y="6"/>
                </a:lnTo>
                <a:lnTo>
                  <a:pt x="458" y="3"/>
                </a:lnTo>
                <a:lnTo>
                  <a:pt x="467" y="1"/>
                </a:lnTo>
                <a:lnTo>
                  <a:pt x="475" y="0"/>
                </a:lnTo>
                <a:lnTo>
                  <a:pt x="486" y="0"/>
                </a:lnTo>
                <a:lnTo>
                  <a:pt x="486" y="6"/>
                </a:lnTo>
                <a:lnTo>
                  <a:pt x="492" y="14"/>
                </a:lnTo>
                <a:lnTo>
                  <a:pt x="498" y="22"/>
                </a:lnTo>
                <a:lnTo>
                  <a:pt x="507" y="29"/>
                </a:lnTo>
                <a:lnTo>
                  <a:pt x="515" y="35"/>
                </a:lnTo>
                <a:lnTo>
                  <a:pt x="523" y="41"/>
                </a:lnTo>
                <a:lnTo>
                  <a:pt x="530" y="49"/>
                </a:lnTo>
                <a:lnTo>
                  <a:pt x="532" y="53"/>
                </a:lnTo>
                <a:lnTo>
                  <a:pt x="536" y="57"/>
                </a:lnTo>
                <a:lnTo>
                  <a:pt x="538" y="62"/>
                </a:lnTo>
                <a:lnTo>
                  <a:pt x="539" y="67"/>
                </a:lnTo>
                <a:lnTo>
                  <a:pt x="553" y="107"/>
                </a:lnTo>
                <a:lnTo>
                  <a:pt x="564" y="141"/>
                </a:lnTo>
                <a:lnTo>
                  <a:pt x="569" y="148"/>
                </a:lnTo>
                <a:lnTo>
                  <a:pt x="573" y="154"/>
                </a:lnTo>
                <a:lnTo>
                  <a:pt x="579" y="159"/>
                </a:lnTo>
                <a:lnTo>
                  <a:pt x="585" y="164"/>
                </a:lnTo>
                <a:lnTo>
                  <a:pt x="593" y="168"/>
                </a:lnTo>
                <a:lnTo>
                  <a:pt x="602" y="170"/>
                </a:lnTo>
                <a:lnTo>
                  <a:pt x="613" y="172"/>
                </a:lnTo>
                <a:lnTo>
                  <a:pt x="626" y="172"/>
                </a:lnTo>
                <a:lnTo>
                  <a:pt x="626" y="179"/>
                </a:lnTo>
                <a:lnTo>
                  <a:pt x="627" y="187"/>
                </a:lnTo>
                <a:lnTo>
                  <a:pt x="628" y="193"/>
                </a:lnTo>
                <a:lnTo>
                  <a:pt x="630" y="199"/>
                </a:lnTo>
                <a:lnTo>
                  <a:pt x="636" y="211"/>
                </a:lnTo>
                <a:lnTo>
                  <a:pt x="642" y="222"/>
                </a:lnTo>
                <a:lnTo>
                  <a:pt x="650" y="233"/>
                </a:lnTo>
                <a:lnTo>
                  <a:pt x="660" y="244"/>
                </a:lnTo>
                <a:lnTo>
                  <a:pt x="670" y="254"/>
                </a:lnTo>
                <a:lnTo>
                  <a:pt x="681" y="263"/>
                </a:lnTo>
                <a:lnTo>
                  <a:pt x="702" y="279"/>
                </a:lnTo>
                <a:lnTo>
                  <a:pt x="720" y="294"/>
                </a:lnTo>
                <a:lnTo>
                  <a:pt x="729" y="302"/>
                </a:lnTo>
                <a:lnTo>
                  <a:pt x="736" y="309"/>
                </a:lnTo>
                <a:lnTo>
                  <a:pt x="741" y="315"/>
                </a:lnTo>
                <a:lnTo>
                  <a:pt x="746" y="321"/>
                </a:lnTo>
                <a:lnTo>
                  <a:pt x="738" y="345"/>
                </a:lnTo>
                <a:lnTo>
                  <a:pt x="728" y="345"/>
                </a:lnTo>
                <a:lnTo>
                  <a:pt x="711" y="345"/>
                </a:lnTo>
                <a:lnTo>
                  <a:pt x="706" y="345"/>
                </a:lnTo>
                <a:lnTo>
                  <a:pt x="700" y="344"/>
                </a:lnTo>
                <a:lnTo>
                  <a:pt x="695" y="343"/>
                </a:lnTo>
                <a:lnTo>
                  <a:pt x="691" y="342"/>
                </a:lnTo>
                <a:lnTo>
                  <a:pt x="685" y="339"/>
                </a:lnTo>
                <a:lnTo>
                  <a:pt x="682" y="335"/>
                </a:lnTo>
                <a:lnTo>
                  <a:pt x="680" y="329"/>
                </a:lnTo>
                <a:lnTo>
                  <a:pt x="679" y="321"/>
                </a:lnTo>
                <a:lnTo>
                  <a:pt x="666" y="321"/>
                </a:lnTo>
                <a:lnTo>
                  <a:pt x="659" y="321"/>
                </a:lnTo>
                <a:lnTo>
                  <a:pt x="654" y="325"/>
                </a:lnTo>
                <a:lnTo>
                  <a:pt x="651" y="330"/>
                </a:lnTo>
                <a:lnTo>
                  <a:pt x="648" y="334"/>
                </a:lnTo>
                <a:lnTo>
                  <a:pt x="647" y="338"/>
                </a:lnTo>
                <a:lnTo>
                  <a:pt x="642" y="345"/>
                </a:lnTo>
                <a:lnTo>
                  <a:pt x="639" y="352"/>
                </a:lnTo>
                <a:lnTo>
                  <a:pt x="630" y="354"/>
                </a:lnTo>
                <a:lnTo>
                  <a:pt x="621" y="355"/>
                </a:lnTo>
                <a:lnTo>
                  <a:pt x="613" y="355"/>
                </a:lnTo>
                <a:lnTo>
                  <a:pt x="604" y="356"/>
                </a:lnTo>
                <a:lnTo>
                  <a:pt x="586" y="355"/>
                </a:lnTo>
                <a:lnTo>
                  <a:pt x="570" y="355"/>
                </a:lnTo>
                <a:lnTo>
                  <a:pt x="561" y="355"/>
                </a:lnTo>
                <a:lnTo>
                  <a:pt x="553" y="356"/>
                </a:lnTo>
                <a:lnTo>
                  <a:pt x="545" y="357"/>
                </a:lnTo>
                <a:lnTo>
                  <a:pt x="537" y="359"/>
                </a:lnTo>
                <a:lnTo>
                  <a:pt x="529" y="361"/>
                </a:lnTo>
                <a:lnTo>
                  <a:pt x="522" y="365"/>
                </a:lnTo>
                <a:lnTo>
                  <a:pt x="514" y="370"/>
                </a:lnTo>
                <a:lnTo>
                  <a:pt x="506" y="376"/>
                </a:lnTo>
                <a:lnTo>
                  <a:pt x="501" y="381"/>
                </a:lnTo>
                <a:lnTo>
                  <a:pt x="496" y="387"/>
                </a:lnTo>
                <a:lnTo>
                  <a:pt x="493" y="390"/>
                </a:lnTo>
                <a:lnTo>
                  <a:pt x="491" y="392"/>
                </a:lnTo>
                <a:lnTo>
                  <a:pt x="489" y="394"/>
                </a:lnTo>
                <a:lnTo>
                  <a:pt x="486" y="394"/>
                </a:lnTo>
                <a:lnTo>
                  <a:pt x="466" y="395"/>
                </a:lnTo>
                <a:lnTo>
                  <a:pt x="451" y="397"/>
                </a:lnTo>
                <a:lnTo>
                  <a:pt x="439" y="399"/>
                </a:lnTo>
                <a:lnTo>
                  <a:pt x="426" y="400"/>
                </a:lnTo>
                <a:lnTo>
                  <a:pt x="417" y="400"/>
                </a:lnTo>
                <a:lnTo>
                  <a:pt x="410" y="398"/>
                </a:lnTo>
                <a:lnTo>
                  <a:pt x="403" y="395"/>
                </a:lnTo>
                <a:lnTo>
                  <a:pt x="396" y="392"/>
                </a:lnTo>
                <a:lnTo>
                  <a:pt x="384" y="383"/>
                </a:lnTo>
                <a:lnTo>
                  <a:pt x="373" y="373"/>
                </a:lnTo>
                <a:lnTo>
                  <a:pt x="361" y="363"/>
                </a:lnTo>
                <a:lnTo>
                  <a:pt x="349" y="354"/>
                </a:lnTo>
                <a:lnTo>
                  <a:pt x="343" y="351"/>
                </a:lnTo>
                <a:lnTo>
                  <a:pt x="336" y="347"/>
                </a:lnTo>
                <a:lnTo>
                  <a:pt x="328" y="345"/>
                </a:lnTo>
                <a:lnTo>
                  <a:pt x="319" y="345"/>
                </a:lnTo>
                <a:lnTo>
                  <a:pt x="313" y="345"/>
                </a:lnTo>
                <a:lnTo>
                  <a:pt x="305" y="347"/>
                </a:lnTo>
                <a:lnTo>
                  <a:pt x="299" y="351"/>
                </a:lnTo>
                <a:lnTo>
                  <a:pt x="291" y="355"/>
                </a:lnTo>
                <a:lnTo>
                  <a:pt x="284" y="360"/>
                </a:lnTo>
                <a:lnTo>
                  <a:pt x="278" y="365"/>
                </a:lnTo>
                <a:lnTo>
                  <a:pt x="272" y="371"/>
                </a:lnTo>
                <a:lnTo>
                  <a:pt x="266" y="377"/>
                </a:lnTo>
                <a:lnTo>
                  <a:pt x="255" y="392"/>
                </a:lnTo>
                <a:lnTo>
                  <a:pt x="244" y="408"/>
                </a:lnTo>
                <a:lnTo>
                  <a:pt x="235" y="423"/>
                </a:lnTo>
                <a:lnTo>
                  <a:pt x="227" y="437"/>
                </a:lnTo>
                <a:lnTo>
                  <a:pt x="197" y="437"/>
                </a:lnTo>
                <a:lnTo>
                  <a:pt x="176" y="437"/>
                </a:lnTo>
                <a:lnTo>
                  <a:pt x="160" y="437"/>
                </a:lnTo>
                <a:lnTo>
                  <a:pt x="150" y="439"/>
                </a:lnTo>
                <a:lnTo>
                  <a:pt x="146" y="440"/>
                </a:lnTo>
                <a:lnTo>
                  <a:pt x="143" y="442"/>
                </a:lnTo>
                <a:lnTo>
                  <a:pt x="139" y="445"/>
                </a:lnTo>
                <a:lnTo>
                  <a:pt x="135" y="448"/>
                </a:lnTo>
                <a:lnTo>
                  <a:pt x="126" y="456"/>
                </a:lnTo>
                <a:lnTo>
                  <a:pt x="114" y="46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296" name="Freeform 248"/>
          <p:cNvSpPr>
            <a:spLocks/>
          </p:cNvSpPr>
          <p:nvPr>
            <p:custDataLst>
              <p:tags r:id="rId175"/>
            </p:custDataLst>
          </p:nvPr>
        </p:nvSpPr>
        <p:spPr bwMode="auto">
          <a:xfrm>
            <a:off x="4306888" y="2618187"/>
            <a:ext cx="500062" cy="414338"/>
          </a:xfrm>
          <a:custGeom>
            <a:avLst/>
            <a:gdLst/>
            <a:ahLst/>
            <a:cxnLst>
              <a:cxn ang="0">
                <a:pos x="902" y="57"/>
              </a:cxn>
              <a:cxn ang="0">
                <a:pos x="993" y="66"/>
              </a:cxn>
              <a:cxn ang="0">
                <a:pos x="1080" y="81"/>
              </a:cxn>
              <a:cxn ang="0">
                <a:pos x="1126" y="175"/>
              </a:cxn>
              <a:cxn ang="0">
                <a:pos x="1133" y="211"/>
              </a:cxn>
              <a:cxn ang="0">
                <a:pos x="1058" y="272"/>
              </a:cxn>
              <a:cxn ang="0">
                <a:pos x="1045" y="360"/>
              </a:cxn>
              <a:cxn ang="0">
                <a:pos x="1003" y="440"/>
              </a:cxn>
              <a:cxn ang="0">
                <a:pos x="990" y="476"/>
              </a:cxn>
              <a:cxn ang="0">
                <a:pos x="1019" y="576"/>
              </a:cxn>
              <a:cxn ang="0">
                <a:pos x="1026" y="664"/>
              </a:cxn>
              <a:cxn ang="0">
                <a:pos x="1047" y="731"/>
              </a:cxn>
              <a:cxn ang="0">
                <a:pos x="1079" y="765"/>
              </a:cxn>
              <a:cxn ang="0">
                <a:pos x="1092" y="825"/>
              </a:cxn>
              <a:cxn ang="0">
                <a:pos x="1040" y="844"/>
              </a:cxn>
              <a:cxn ang="0">
                <a:pos x="997" y="856"/>
              </a:cxn>
              <a:cxn ang="0">
                <a:pos x="960" y="992"/>
              </a:cxn>
              <a:cxn ang="0">
                <a:pos x="930" y="1026"/>
              </a:cxn>
              <a:cxn ang="0">
                <a:pos x="902" y="1031"/>
              </a:cxn>
              <a:cxn ang="0">
                <a:pos x="840" y="1053"/>
              </a:cxn>
              <a:cxn ang="0">
                <a:pos x="782" y="1037"/>
              </a:cxn>
              <a:cxn ang="0">
                <a:pos x="743" y="1014"/>
              </a:cxn>
              <a:cxn ang="0">
                <a:pos x="707" y="997"/>
              </a:cxn>
              <a:cxn ang="0">
                <a:pos x="674" y="986"/>
              </a:cxn>
              <a:cxn ang="0">
                <a:pos x="608" y="987"/>
              </a:cxn>
              <a:cxn ang="0">
                <a:pos x="594" y="942"/>
              </a:cxn>
              <a:cxn ang="0">
                <a:pos x="575" y="884"/>
              </a:cxn>
              <a:cxn ang="0">
                <a:pos x="590" y="846"/>
              </a:cxn>
              <a:cxn ang="0">
                <a:pos x="590" y="779"/>
              </a:cxn>
              <a:cxn ang="0">
                <a:pos x="454" y="755"/>
              </a:cxn>
              <a:cxn ang="0">
                <a:pos x="443" y="785"/>
              </a:cxn>
              <a:cxn ang="0">
                <a:pos x="396" y="817"/>
              </a:cxn>
              <a:cxn ang="0">
                <a:pos x="337" y="797"/>
              </a:cxn>
              <a:cxn ang="0">
                <a:pos x="297" y="708"/>
              </a:cxn>
              <a:cxn ang="0">
                <a:pos x="3" y="671"/>
              </a:cxn>
              <a:cxn ang="0">
                <a:pos x="45" y="667"/>
              </a:cxn>
              <a:cxn ang="0">
                <a:pos x="26" y="631"/>
              </a:cxn>
              <a:cxn ang="0">
                <a:pos x="75" y="615"/>
              </a:cxn>
              <a:cxn ang="0">
                <a:pos x="145" y="614"/>
              </a:cxn>
              <a:cxn ang="0">
                <a:pos x="183" y="620"/>
              </a:cxn>
              <a:cxn ang="0">
                <a:pos x="220" y="574"/>
              </a:cxn>
              <a:cxn ang="0">
                <a:pos x="260" y="555"/>
              </a:cxn>
              <a:cxn ang="0">
                <a:pos x="281" y="440"/>
              </a:cxn>
              <a:cxn ang="0">
                <a:pos x="346" y="370"/>
              </a:cxn>
              <a:cxn ang="0">
                <a:pos x="370" y="276"/>
              </a:cxn>
              <a:cxn ang="0">
                <a:pos x="372" y="180"/>
              </a:cxn>
              <a:cxn ang="0">
                <a:pos x="383" y="122"/>
              </a:cxn>
              <a:cxn ang="0">
                <a:pos x="440" y="35"/>
              </a:cxn>
              <a:cxn ang="0">
                <a:pos x="491" y="30"/>
              </a:cxn>
              <a:cxn ang="0">
                <a:pos x="558" y="77"/>
              </a:cxn>
              <a:cxn ang="0">
                <a:pos x="637" y="73"/>
              </a:cxn>
              <a:cxn ang="0">
                <a:pos x="670" y="44"/>
              </a:cxn>
              <a:cxn ang="0">
                <a:pos x="734" y="34"/>
              </a:cxn>
              <a:cxn ang="0">
                <a:pos x="795" y="17"/>
              </a:cxn>
              <a:cxn ang="0">
                <a:pos x="828" y="8"/>
              </a:cxn>
              <a:cxn ang="0">
                <a:pos x="859" y="24"/>
              </a:cxn>
            </a:cxnLst>
            <a:rect l="0" t="0" r="r" b="b"/>
            <a:pathLst>
              <a:path w="1145" h="1053">
                <a:moveTo>
                  <a:pt x="894" y="24"/>
                </a:moveTo>
                <a:lnTo>
                  <a:pt x="894" y="32"/>
                </a:lnTo>
                <a:lnTo>
                  <a:pt x="895" y="38"/>
                </a:lnTo>
                <a:lnTo>
                  <a:pt x="896" y="44"/>
                </a:lnTo>
                <a:lnTo>
                  <a:pt x="897" y="49"/>
                </a:lnTo>
                <a:lnTo>
                  <a:pt x="900" y="53"/>
                </a:lnTo>
                <a:lnTo>
                  <a:pt x="902" y="57"/>
                </a:lnTo>
                <a:lnTo>
                  <a:pt x="906" y="61"/>
                </a:lnTo>
                <a:lnTo>
                  <a:pt x="909" y="64"/>
                </a:lnTo>
                <a:lnTo>
                  <a:pt x="918" y="68"/>
                </a:lnTo>
                <a:lnTo>
                  <a:pt x="926" y="71"/>
                </a:lnTo>
                <a:lnTo>
                  <a:pt x="936" y="72"/>
                </a:lnTo>
                <a:lnTo>
                  <a:pt x="947" y="72"/>
                </a:lnTo>
                <a:lnTo>
                  <a:pt x="993" y="66"/>
                </a:lnTo>
                <a:lnTo>
                  <a:pt x="1033" y="61"/>
                </a:lnTo>
                <a:lnTo>
                  <a:pt x="1038" y="61"/>
                </a:lnTo>
                <a:lnTo>
                  <a:pt x="1045" y="63"/>
                </a:lnTo>
                <a:lnTo>
                  <a:pt x="1051" y="64"/>
                </a:lnTo>
                <a:lnTo>
                  <a:pt x="1057" y="67"/>
                </a:lnTo>
                <a:lnTo>
                  <a:pt x="1069" y="73"/>
                </a:lnTo>
                <a:lnTo>
                  <a:pt x="1080" y="81"/>
                </a:lnTo>
                <a:lnTo>
                  <a:pt x="1099" y="98"/>
                </a:lnTo>
                <a:lnTo>
                  <a:pt x="1112" y="110"/>
                </a:lnTo>
                <a:lnTo>
                  <a:pt x="1113" y="124"/>
                </a:lnTo>
                <a:lnTo>
                  <a:pt x="1114" y="138"/>
                </a:lnTo>
                <a:lnTo>
                  <a:pt x="1117" y="152"/>
                </a:lnTo>
                <a:lnTo>
                  <a:pt x="1122" y="164"/>
                </a:lnTo>
                <a:lnTo>
                  <a:pt x="1126" y="175"/>
                </a:lnTo>
                <a:lnTo>
                  <a:pt x="1132" y="183"/>
                </a:lnTo>
                <a:lnTo>
                  <a:pt x="1135" y="186"/>
                </a:lnTo>
                <a:lnTo>
                  <a:pt x="1138" y="188"/>
                </a:lnTo>
                <a:lnTo>
                  <a:pt x="1142" y="190"/>
                </a:lnTo>
                <a:lnTo>
                  <a:pt x="1145" y="190"/>
                </a:lnTo>
                <a:lnTo>
                  <a:pt x="1139" y="202"/>
                </a:lnTo>
                <a:lnTo>
                  <a:pt x="1133" y="211"/>
                </a:lnTo>
                <a:lnTo>
                  <a:pt x="1125" y="220"/>
                </a:lnTo>
                <a:lnTo>
                  <a:pt x="1117" y="227"/>
                </a:lnTo>
                <a:lnTo>
                  <a:pt x="1100" y="240"/>
                </a:lnTo>
                <a:lnTo>
                  <a:pt x="1082" y="253"/>
                </a:lnTo>
                <a:lnTo>
                  <a:pt x="1074" y="259"/>
                </a:lnTo>
                <a:lnTo>
                  <a:pt x="1066" y="266"/>
                </a:lnTo>
                <a:lnTo>
                  <a:pt x="1058" y="272"/>
                </a:lnTo>
                <a:lnTo>
                  <a:pt x="1052" y="280"/>
                </a:lnTo>
                <a:lnTo>
                  <a:pt x="1046" y="288"/>
                </a:lnTo>
                <a:lnTo>
                  <a:pt x="1043" y="297"/>
                </a:lnTo>
                <a:lnTo>
                  <a:pt x="1040" y="308"/>
                </a:lnTo>
                <a:lnTo>
                  <a:pt x="1040" y="320"/>
                </a:lnTo>
                <a:lnTo>
                  <a:pt x="1041" y="339"/>
                </a:lnTo>
                <a:lnTo>
                  <a:pt x="1045" y="360"/>
                </a:lnTo>
                <a:lnTo>
                  <a:pt x="1046" y="371"/>
                </a:lnTo>
                <a:lnTo>
                  <a:pt x="1047" y="381"/>
                </a:lnTo>
                <a:lnTo>
                  <a:pt x="1047" y="391"/>
                </a:lnTo>
                <a:lnTo>
                  <a:pt x="1046" y="400"/>
                </a:lnTo>
                <a:lnTo>
                  <a:pt x="1034" y="410"/>
                </a:lnTo>
                <a:lnTo>
                  <a:pt x="1013" y="430"/>
                </a:lnTo>
                <a:lnTo>
                  <a:pt x="1003" y="440"/>
                </a:lnTo>
                <a:lnTo>
                  <a:pt x="995" y="450"/>
                </a:lnTo>
                <a:lnTo>
                  <a:pt x="991" y="455"/>
                </a:lnTo>
                <a:lnTo>
                  <a:pt x="988" y="460"/>
                </a:lnTo>
                <a:lnTo>
                  <a:pt x="987" y="464"/>
                </a:lnTo>
                <a:lnTo>
                  <a:pt x="986" y="467"/>
                </a:lnTo>
                <a:lnTo>
                  <a:pt x="987" y="470"/>
                </a:lnTo>
                <a:lnTo>
                  <a:pt x="990" y="476"/>
                </a:lnTo>
                <a:lnTo>
                  <a:pt x="995" y="481"/>
                </a:lnTo>
                <a:lnTo>
                  <a:pt x="999" y="486"/>
                </a:lnTo>
                <a:lnTo>
                  <a:pt x="1009" y="495"/>
                </a:lnTo>
                <a:lnTo>
                  <a:pt x="1012" y="499"/>
                </a:lnTo>
                <a:lnTo>
                  <a:pt x="1016" y="524"/>
                </a:lnTo>
                <a:lnTo>
                  <a:pt x="1019" y="550"/>
                </a:lnTo>
                <a:lnTo>
                  <a:pt x="1019" y="576"/>
                </a:lnTo>
                <a:lnTo>
                  <a:pt x="1019" y="610"/>
                </a:lnTo>
                <a:lnTo>
                  <a:pt x="1020" y="618"/>
                </a:lnTo>
                <a:lnTo>
                  <a:pt x="1022" y="625"/>
                </a:lnTo>
                <a:lnTo>
                  <a:pt x="1025" y="632"/>
                </a:lnTo>
                <a:lnTo>
                  <a:pt x="1026" y="640"/>
                </a:lnTo>
                <a:lnTo>
                  <a:pt x="1026" y="650"/>
                </a:lnTo>
                <a:lnTo>
                  <a:pt x="1026" y="664"/>
                </a:lnTo>
                <a:lnTo>
                  <a:pt x="1027" y="679"/>
                </a:lnTo>
                <a:lnTo>
                  <a:pt x="1031" y="696"/>
                </a:lnTo>
                <a:lnTo>
                  <a:pt x="1033" y="705"/>
                </a:lnTo>
                <a:lnTo>
                  <a:pt x="1035" y="713"/>
                </a:lnTo>
                <a:lnTo>
                  <a:pt x="1038" y="720"/>
                </a:lnTo>
                <a:lnTo>
                  <a:pt x="1043" y="726"/>
                </a:lnTo>
                <a:lnTo>
                  <a:pt x="1047" y="731"/>
                </a:lnTo>
                <a:lnTo>
                  <a:pt x="1053" y="735"/>
                </a:lnTo>
                <a:lnTo>
                  <a:pt x="1058" y="738"/>
                </a:lnTo>
                <a:lnTo>
                  <a:pt x="1066" y="739"/>
                </a:lnTo>
                <a:lnTo>
                  <a:pt x="1067" y="745"/>
                </a:lnTo>
                <a:lnTo>
                  <a:pt x="1070" y="751"/>
                </a:lnTo>
                <a:lnTo>
                  <a:pt x="1074" y="759"/>
                </a:lnTo>
                <a:lnTo>
                  <a:pt x="1079" y="765"/>
                </a:lnTo>
                <a:lnTo>
                  <a:pt x="1083" y="772"/>
                </a:lnTo>
                <a:lnTo>
                  <a:pt x="1088" y="780"/>
                </a:lnTo>
                <a:lnTo>
                  <a:pt x="1091" y="790"/>
                </a:lnTo>
                <a:lnTo>
                  <a:pt x="1092" y="800"/>
                </a:lnTo>
                <a:lnTo>
                  <a:pt x="1092" y="807"/>
                </a:lnTo>
                <a:lnTo>
                  <a:pt x="1092" y="816"/>
                </a:lnTo>
                <a:lnTo>
                  <a:pt x="1092" y="825"/>
                </a:lnTo>
                <a:lnTo>
                  <a:pt x="1092" y="831"/>
                </a:lnTo>
                <a:lnTo>
                  <a:pt x="1092" y="837"/>
                </a:lnTo>
                <a:lnTo>
                  <a:pt x="1080" y="836"/>
                </a:lnTo>
                <a:lnTo>
                  <a:pt x="1069" y="837"/>
                </a:lnTo>
                <a:lnTo>
                  <a:pt x="1059" y="840"/>
                </a:lnTo>
                <a:lnTo>
                  <a:pt x="1049" y="842"/>
                </a:lnTo>
                <a:lnTo>
                  <a:pt x="1040" y="844"/>
                </a:lnTo>
                <a:lnTo>
                  <a:pt x="1029" y="844"/>
                </a:lnTo>
                <a:lnTo>
                  <a:pt x="1023" y="844"/>
                </a:lnTo>
                <a:lnTo>
                  <a:pt x="1018" y="842"/>
                </a:lnTo>
                <a:lnTo>
                  <a:pt x="1012" y="840"/>
                </a:lnTo>
                <a:lnTo>
                  <a:pt x="1005" y="837"/>
                </a:lnTo>
                <a:lnTo>
                  <a:pt x="1001" y="846"/>
                </a:lnTo>
                <a:lnTo>
                  <a:pt x="997" y="856"/>
                </a:lnTo>
                <a:lnTo>
                  <a:pt x="993" y="869"/>
                </a:lnTo>
                <a:lnTo>
                  <a:pt x="990" y="883"/>
                </a:lnTo>
                <a:lnTo>
                  <a:pt x="982" y="914"/>
                </a:lnTo>
                <a:lnTo>
                  <a:pt x="975" y="947"/>
                </a:lnTo>
                <a:lnTo>
                  <a:pt x="970" y="962"/>
                </a:lnTo>
                <a:lnTo>
                  <a:pt x="966" y="978"/>
                </a:lnTo>
                <a:lnTo>
                  <a:pt x="960" y="992"/>
                </a:lnTo>
                <a:lnTo>
                  <a:pt x="955" y="1004"/>
                </a:lnTo>
                <a:lnTo>
                  <a:pt x="951" y="1009"/>
                </a:lnTo>
                <a:lnTo>
                  <a:pt x="947" y="1014"/>
                </a:lnTo>
                <a:lnTo>
                  <a:pt x="944" y="1018"/>
                </a:lnTo>
                <a:lnTo>
                  <a:pt x="940" y="1021"/>
                </a:lnTo>
                <a:lnTo>
                  <a:pt x="935" y="1024"/>
                </a:lnTo>
                <a:lnTo>
                  <a:pt x="930" y="1026"/>
                </a:lnTo>
                <a:lnTo>
                  <a:pt x="925" y="1028"/>
                </a:lnTo>
                <a:lnTo>
                  <a:pt x="920" y="1028"/>
                </a:lnTo>
                <a:lnTo>
                  <a:pt x="918" y="1029"/>
                </a:lnTo>
                <a:lnTo>
                  <a:pt x="912" y="1031"/>
                </a:lnTo>
                <a:lnTo>
                  <a:pt x="909" y="1032"/>
                </a:lnTo>
                <a:lnTo>
                  <a:pt x="906" y="1032"/>
                </a:lnTo>
                <a:lnTo>
                  <a:pt x="902" y="1031"/>
                </a:lnTo>
                <a:lnTo>
                  <a:pt x="900" y="1028"/>
                </a:lnTo>
                <a:lnTo>
                  <a:pt x="888" y="1035"/>
                </a:lnTo>
                <a:lnTo>
                  <a:pt x="873" y="1043"/>
                </a:lnTo>
                <a:lnTo>
                  <a:pt x="864" y="1047"/>
                </a:lnTo>
                <a:lnTo>
                  <a:pt x="856" y="1050"/>
                </a:lnTo>
                <a:lnTo>
                  <a:pt x="847" y="1052"/>
                </a:lnTo>
                <a:lnTo>
                  <a:pt x="840" y="1053"/>
                </a:lnTo>
                <a:lnTo>
                  <a:pt x="828" y="1053"/>
                </a:lnTo>
                <a:lnTo>
                  <a:pt x="816" y="1052"/>
                </a:lnTo>
                <a:lnTo>
                  <a:pt x="805" y="1049"/>
                </a:lnTo>
                <a:lnTo>
                  <a:pt x="795" y="1046"/>
                </a:lnTo>
                <a:lnTo>
                  <a:pt x="789" y="1043"/>
                </a:lnTo>
                <a:lnTo>
                  <a:pt x="786" y="1040"/>
                </a:lnTo>
                <a:lnTo>
                  <a:pt x="782" y="1037"/>
                </a:lnTo>
                <a:lnTo>
                  <a:pt x="779" y="1033"/>
                </a:lnTo>
                <a:lnTo>
                  <a:pt x="777" y="1027"/>
                </a:lnTo>
                <a:lnTo>
                  <a:pt x="775" y="1022"/>
                </a:lnTo>
                <a:lnTo>
                  <a:pt x="774" y="1016"/>
                </a:lnTo>
                <a:lnTo>
                  <a:pt x="774" y="1010"/>
                </a:lnTo>
                <a:lnTo>
                  <a:pt x="761" y="1011"/>
                </a:lnTo>
                <a:lnTo>
                  <a:pt x="743" y="1014"/>
                </a:lnTo>
                <a:lnTo>
                  <a:pt x="734" y="1014"/>
                </a:lnTo>
                <a:lnTo>
                  <a:pt x="727" y="1012"/>
                </a:lnTo>
                <a:lnTo>
                  <a:pt x="723" y="1011"/>
                </a:lnTo>
                <a:lnTo>
                  <a:pt x="719" y="1009"/>
                </a:lnTo>
                <a:lnTo>
                  <a:pt x="717" y="1007"/>
                </a:lnTo>
                <a:lnTo>
                  <a:pt x="713" y="1004"/>
                </a:lnTo>
                <a:lnTo>
                  <a:pt x="707" y="997"/>
                </a:lnTo>
                <a:lnTo>
                  <a:pt x="701" y="993"/>
                </a:lnTo>
                <a:lnTo>
                  <a:pt x="697" y="992"/>
                </a:lnTo>
                <a:lnTo>
                  <a:pt x="694" y="992"/>
                </a:lnTo>
                <a:lnTo>
                  <a:pt x="689" y="993"/>
                </a:lnTo>
                <a:lnTo>
                  <a:pt x="686" y="993"/>
                </a:lnTo>
                <a:lnTo>
                  <a:pt x="680" y="991"/>
                </a:lnTo>
                <a:lnTo>
                  <a:pt x="674" y="986"/>
                </a:lnTo>
                <a:lnTo>
                  <a:pt x="662" y="987"/>
                </a:lnTo>
                <a:lnTo>
                  <a:pt x="653" y="989"/>
                </a:lnTo>
                <a:lnTo>
                  <a:pt x="643" y="991"/>
                </a:lnTo>
                <a:lnTo>
                  <a:pt x="627" y="992"/>
                </a:lnTo>
                <a:lnTo>
                  <a:pt x="618" y="991"/>
                </a:lnTo>
                <a:lnTo>
                  <a:pt x="611" y="988"/>
                </a:lnTo>
                <a:lnTo>
                  <a:pt x="608" y="987"/>
                </a:lnTo>
                <a:lnTo>
                  <a:pt x="605" y="984"/>
                </a:lnTo>
                <a:lnTo>
                  <a:pt x="603" y="982"/>
                </a:lnTo>
                <a:lnTo>
                  <a:pt x="600" y="979"/>
                </a:lnTo>
                <a:lnTo>
                  <a:pt x="597" y="971"/>
                </a:lnTo>
                <a:lnTo>
                  <a:pt x="596" y="963"/>
                </a:lnTo>
                <a:lnTo>
                  <a:pt x="595" y="953"/>
                </a:lnTo>
                <a:lnTo>
                  <a:pt x="594" y="942"/>
                </a:lnTo>
                <a:lnTo>
                  <a:pt x="593" y="933"/>
                </a:lnTo>
                <a:lnTo>
                  <a:pt x="590" y="925"/>
                </a:lnTo>
                <a:lnTo>
                  <a:pt x="587" y="916"/>
                </a:lnTo>
                <a:lnTo>
                  <a:pt x="584" y="908"/>
                </a:lnTo>
                <a:lnTo>
                  <a:pt x="581" y="900"/>
                </a:lnTo>
                <a:lnTo>
                  <a:pt x="577" y="892"/>
                </a:lnTo>
                <a:lnTo>
                  <a:pt x="575" y="884"/>
                </a:lnTo>
                <a:lnTo>
                  <a:pt x="574" y="875"/>
                </a:lnTo>
                <a:lnTo>
                  <a:pt x="575" y="870"/>
                </a:lnTo>
                <a:lnTo>
                  <a:pt x="577" y="866"/>
                </a:lnTo>
                <a:lnTo>
                  <a:pt x="581" y="860"/>
                </a:lnTo>
                <a:lnTo>
                  <a:pt x="584" y="856"/>
                </a:lnTo>
                <a:lnTo>
                  <a:pt x="587" y="851"/>
                </a:lnTo>
                <a:lnTo>
                  <a:pt x="590" y="846"/>
                </a:lnTo>
                <a:lnTo>
                  <a:pt x="593" y="842"/>
                </a:lnTo>
                <a:lnTo>
                  <a:pt x="594" y="837"/>
                </a:lnTo>
                <a:lnTo>
                  <a:pt x="593" y="825"/>
                </a:lnTo>
                <a:lnTo>
                  <a:pt x="589" y="809"/>
                </a:lnTo>
                <a:lnTo>
                  <a:pt x="588" y="798"/>
                </a:lnTo>
                <a:lnTo>
                  <a:pt x="588" y="789"/>
                </a:lnTo>
                <a:lnTo>
                  <a:pt x="590" y="779"/>
                </a:lnTo>
                <a:lnTo>
                  <a:pt x="594" y="770"/>
                </a:lnTo>
                <a:lnTo>
                  <a:pt x="571" y="766"/>
                </a:lnTo>
                <a:lnTo>
                  <a:pt x="521" y="759"/>
                </a:lnTo>
                <a:lnTo>
                  <a:pt x="494" y="756"/>
                </a:lnTo>
                <a:lnTo>
                  <a:pt x="471" y="755"/>
                </a:lnTo>
                <a:lnTo>
                  <a:pt x="461" y="754"/>
                </a:lnTo>
                <a:lnTo>
                  <a:pt x="454" y="755"/>
                </a:lnTo>
                <a:lnTo>
                  <a:pt x="450" y="756"/>
                </a:lnTo>
                <a:lnTo>
                  <a:pt x="448" y="758"/>
                </a:lnTo>
                <a:lnTo>
                  <a:pt x="448" y="762"/>
                </a:lnTo>
                <a:lnTo>
                  <a:pt x="448" y="770"/>
                </a:lnTo>
                <a:lnTo>
                  <a:pt x="447" y="775"/>
                </a:lnTo>
                <a:lnTo>
                  <a:pt x="446" y="780"/>
                </a:lnTo>
                <a:lnTo>
                  <a:pt x="443" y="785"/>
                </a:lnTo>
                <a:lnTo>
                  <a:pt x="440" y="790"/>
                </a:lnTo>
                <a:lnTo>
                  <a:pt x="437" y="796"/>
                </a:lnTo>
                <a:lnTo>
                  <a:pt x="431" y="801"/>
                </a:lnTo>
                <a:lnTo>
                  <a:pt x="425" y="806"/>
                </a:lnTo>
                <a:lnTo>
                  <a:pt x="417" y="811"/>
                </a:lnTo>
                <a:lnTo>
                  <a:pt x="407" y="814"/>
                </a:lnTo>
                <a:lnTo>
                  <a:pt x="396" y="817"/>
                </a:lnTo>
                <a:lnTo>
                  <a:pt x="383" y="819"/>
                </a:lnTo>
                <a:lnTo>
                  <a:pt x="369" y="819"/>
                </a:lnTo>
                <a:lnTo>
                  <a:pt x="362" y="818"/>
                </a:lnTo>
                <a:lnTo>
                  <a:pt x="355" y="816"/>
                </a:lnTo>
                <a:lnTo>
                  <a:pt x="349" y="811"/>
                </a:lnTo>
                <a:lnTo>
                  <a:pt x="342" y="804"/>
                </a:lnTo>
                <a:lnTo>
                  <a:pt x="337" y="797"/>
                </a:lnTo>
                <a:lnTo>
                  <a:pt x="330" y="789"/>
                </a:lnTo>
                <a:lnTo>
                  <a:pt x="325" y="780"/>
                </a:lnTo>
                <a:lnTo>
                  <a:pt x="319" y="771"/>
                </a:lnTo>
                <a:lnTo>
                  <a:pt x="309" y="749"/>
                </a:lnTo>
                <a:lnTo>
                  <a:pt x="302" y="728"/>
                </a:lnTo>
                <a:lnTo>
                  <a:pt x="298" y="718"/>
                </a:lnTo>
                <a:lnTo>
                  <a:pt x="297" y="708"/>
                </a:lnTo>
                <a:lnTo>
                  <a:pt x="295" y="699"/>
                </a:lnTo>
                <a:lnTo>
                  <a:pt x="295" y="689"/>
                </a:lnTo>
                <a:lnTo>
                  <a:pt x="3" y="689"/>
                </a:lnTo>
                <a:lnTo>
                  <a:pt x="2" y="683"/>
                </a:lnTo>
                <a:lnTo>
                  <a:pt x="0" y="680"/>
                </a:lnTo>
                <a:lnTo>
                  <a:pt x="0" y="677"/>
                </a:lnTo>
                <a:lnTo>
                  <a:pt x="3" y="671"/>
                </a:lnTo>
                <a:lnTo>
                  <a:pt x="10" y="669"/>
                </a:lnTo>
                <a:lnTo>
                  <a:pt x="16" y="668"/>
                </a:lnTo>
                <a:lnTo>
                  <a:pt x="23" y="668"/>
                </a:lnTo>
                <a:lnTo>
                  <a:pt x="28" y="668"/>
                </a:lnTo>
                <a:lnTo>
                  <a:pt x="34" y="668"/>
                </a:lnTo>
                <a:lnTo>
                  <a:pt x="39" y="668"/>
                </a:lnTo>
                <a:lnTo>
                  <a:pt x="45" y="667"/>
                </a:lnTo>
                <a:lnTo>
                  <a:pt x="49" y="665"/>
                </a:lnTo>
                <a:lnTo>
                  <a:pt x="49" y="640"/>
                </a:lnTo>
                <a:lnTo>
                  <a:pt x="36" y="640"/>
                </a:lnTo>
                <a:lnTo>
                  <a:pt x="27" y="640"/>
                </a:lnTo>
                <a:lnTo>
                  <a:pt x="18" y="640"/>
                </a:lnTo>
                <a:lnTo>
                  <a:pt x="10" y="640"/>
                </a:lnTo>
                <a:lnTo>
                  <a:pt x="26" y="631"/>
                </a:lnTo>
                <a:lnTo>
                  <a:pt x="39" y="622"/>
                </a:lnTo>
                <a:lnTo>
                  <a:pt x="46" y="619"/>
                </a:lnTo>
                <a:lnTo>
                  <a:pt x="52" y="615"/>
                </a:lnTo>
                <a:lnTo>
                  <a:pt x="60" y="612"/>
                </a:lnTo>
                <a:lnTo>
                  <a:pt x="69" y="610"/>
                </a:lnTo>
                <a:lnTo>
                  <a:pt x="72" y="613"/>
                </a:lnTo>
                <a:lnTo>
                  <a:pt x="75" y="615"/>
                </a:lnTo>
                <a:lnTo>
                  <a:pt x="79" y="616"/>
                </a:lnTo>
                <a:lnTo>
                  <a:pt x="82" y="617"/>
                </a:lnTo>
                <a:lnTo>
                  <a:pt x="91" y="618"/>
                </a:lnTo>
                <a:lnTo>
                  <a:pt x="101" y="616"/>
                </a:lnTo>
                <a:lnTo>
                  <a:pt x="122" y="612"/>
                </a:lnTo>
                <a:lnTo>
                  <a:pt x="142" y="610"/>
                </a:lnTo>
                <a:lnTo>
                  <a:pt x="145" y="614"/>
                </a:lnTo>
                <a:lnTo>
                  <a:pt x="148" y="617"/>
                </a:lnTo>
                <a:lnTo>
                  <a:pt x="152" y="619"/>
                </a:lnTo>
                <a:lnTo>
                  <a:pt x="157" y="620"/>
                </a:lnTo>
                <a:lnTo>
                  <a:pt x="166" y="621"/>
                </a:lnTo>
                <a:lnTo>
                  <a:pt x="175" y="622"/>
                </a:lnTo>
                <a:lnTo>
                  <a:pt x="179" y="621"/>
                </a:lnTo>
                <a:lnTo>
                  <a:pt x="183" y="620"/>
                </a:lnTo>
                <a:lnTo>
                  <a:pt x="186" y="618"/>
                </a:lnTo>
                <a:lnTo>
                  <a:pt x="190" y="616"/>
                </a:lnTo>
                <a:lnTo>
                  <a:pt x="195" y="610"/>
                </a:lnTo>
                <a:lnTo>
                  <a:pt x="201" y="603"/>
                </a:lnTo>
                <a:lnTo>
                  <a:pt x="209" y="588"/>
                </a:lnTo>
                <a:lnTo>
                  <a:pt x="215" y="578"/>
                </a:lnTo>
                <a:lnTo>
                  <a:pt x="220" y="574"/>
                </a:lnTo>
                <a:lnTo>
                  <a:pt x="225" y="571"/>
                </a:lnTo>
                <a:lnTo>
                  <a:pt x="230" y="569"/>
                </a:lnTo>
                <a:lnTo>
                  <a:pt x="236" y="567"/>
                </a:lnTo>
                <a:lnTo>
                  <a:pt x="246" y="564"/>
                </a:lnTo>
                <a:lnTo>
                  <a:pt x="256" y="560"/>
                </a:lnTo>
                <a:lnTo>
                  <a:pt x="258" y="558"/>
                </a:lnTo>
                <a:lnTo>
                  <a:pt x="260" y="555"/>
                </a:lnTo>
                <a:lnTo>
                  <a:pt x="262" y="550"/>
                </a:lnTo>
                <a:lnTo>
                  <a:pt x="264" y="544"/>
                </a:lnTo>
                <a:lnTo>
                  <a:pt x="268" y="528"/>
                </a:lnTo>
                <a:lnTo>
                  <a:pt x="270" y="511"/>
                </a:lnTo>
                <a:lnTo>
                  <a:pt x="274" y="477"/>
                </a:lnTo>
                <a:lnTo>
                  <a:pt x="275" y="449"/>
                </a:lnTo>
                <a:lnTo>
                  <a:pt x="281" y="440"/>
                </a:lnTo>
                <a:lnTo>
                  <a:pt x="287" y="432"/>
                </a:lnTo>
                <a:lnTo>
                  <a:pt x="294" y="425"/>
                </a:lnTo>
                <a:lnTo>
                  <a:pt x="302" y="416"/>
                </a:lnTo>
                <a:lnTo>
                  <a:pt x="316" y="404"/>
                </a:lnTo>
                <a:lnTo>
                  <a:pt x="328" y="394"/>
                </a:lnTo>
                <a:lnTo>
                  <a:pt x="338" y="382"/>
                </a:lnTo>
                <a:lnTo>
                  <a:pt x="346" y="370"/>
                </a:lnTo>
                <a:lnTo>
                  <a:pt x="352" y="357"/>
                </a:lnTo>
                <a:lnTo>
                  <a:pt x="357" y="345"/>
                </a:lnTo>
                <a:lnTo>
                  <a:pt x="361" y="334"/>
                </a:lnTo>
                <a:lnTo>
                  <a:pt x="364" y="323"/>
                </a:lnTo>
                <a:lnTo>
                  <a:pt x="366" y="312"/>
                </a:lnTo>
                <a:lnTo>
                  <a:pt x="369" y="299"/>
                </a:lnTo>
                <a:lnTo>
                  <a:pt x="370" y="276"/>
                </a:lnTo>
                <a:lnTo>
                  <a:pt x="370" y="251"/>
                </a:lnTo>
                <a:lnTo>
                  <a:pt x="369" y="225"/>
                </a:lnTo>
                <a:lnTo>
                  <a:pt x="369" y="197"/>
                </a:lnTo>
                <a:lnTo>
                  <a:pt x="369" y="191"/>
                </a:lnTo>
                <a:lnTo>
                  <a:pt x="369" y="187"/>
                </a:lnTo>
                <a:lnTo>
                  <a:pt x="371" y="183"/>
                </a:lnTo>
                <a:lnTo>
                  <a:pt x="372" y="180"/>
                </a:lnTo>
                <a:lnTo>
                  <a:pt x="375" y="174"/>
                </a:lnTo>
                <a:lnTo>
                  <a:pt x="380" y="167"/>
                </a:lnTo>
                <a:lnTo>
                  <a:pt x="383" y="160"/>
                </a:lnTo>
                <a:lnTo>
                  <a:pt x="385" y="149"/>
                </a:lnTo>
                <a:lnTo>
                  <a:pt x="385" y="140"/>
                </a:lnTo>
                <a:lnTo>
                  <a:pt x="385" y="132"/>
                </a:lnTo>
                <a:lnTo>
                  <a:pt x="383" y="122"/>
                </a:lnTo>
                <a:lnTo>
                  <a:pt x="382" y="110"/>
                </a:lnTo>
                <a:lnTo>
                  <a:pt x="397" y="87"/>
                </a:lnTo>
                <a:lnTo>
                  <a:pt x="417" y="58"/>
                </a:lnTo>
                <a:lnTo>
                  <a:pt x="422" y="51"/>
                </a:lnTo>
                <a:lnTo>
                  <a:pt x="428" y="45"/>
                </a:lnTo>
                <a:lnTo>
                  <a:pt x="435" y="40"/>
                </a:lnTo>
                <a:lnTo>
                  <a:pt x="440" y="35"/>
                </a:lnTo>
                <a:lnTo>
                  <a:pt x="447" y="31"/>
                </a:lnTo>
                <a:lnTo>
                  <a:pt x="453" y="26"/>
                </a:lnTo>
                <a:lnTo>
                  <a:pt x="461" y="24"/>
                </a:lnTo>
                <a:lnTo>
                  <a:pt x="467" y="24"/>
                </a:lnTo>
                <a:lnTo>
                  <a:pt x="476" y="24"/>
                </a:lnTo>
                <a:lnTo>
                  <a:pt x="484" y="26"/>
                </a:lnTo>
                <a:lnTo>
                  <a:pt x="491" y="30"/>
                </a:lnTo>
                <a:lnTo>
                  <a:pt x="497" y="33"/>
                </a:lnTo>
                <a:lnTo>
                  <a:pt x="509" y="42"/>
                </a:lnTo>
                <a:lnTo>
                  <a:pt x="521" y="52"/>
                </a:lnTo>
                <a:lnTo>
                  <a:pt x="532" y="62"/>
                </a:lnTo>
                <a:lnTo>
                  <a:pt x="544" y="71"/>
                </a:lnTo>
                <a:lnTo>
                  <a:pt x="551" y="74"/>
                </a:lnTo>
                <a:lnTo>
                  <a:pt x="558" y="77"/>
                </a:lnTo>
                <a:lnTo>
                  <a:pt x="565" y="79"/>
                </a:lnTo>
                <a:lnTo>
                  <a:pt x="574" y="79"/>
                </a:lnTo>
                <a:lnTo>
                  <a:pt x="587" y="78"/>
                </a:lnTo>
                <a:lnTo>
                  <a:pt x="599" y="76"/>
                </a:lnTo>
                <a:lnTo>
                  <a:pt x="614" y="74"/>
                </a:lnTo>
                <a:lnTo>
                  <a:pt x="634" y="73"/>
                </a:lnTo>
                <a:lnTo>
                  <a:pt x="637" y="73"/>
                </a:lnTo>
                <a:lnTo>
                  <a:pt x="639" y="71"/>
                </a:lnTo>
                <a:lnTo>
                  <a:pt x="641" y="69"/>
                </a:lnTo>
                <a:lnTo>
                  <a:pt x="644" y="66"/>
                </a:lnTo>
                <a:lnTo>
                  <a:pt x="649" y="60"/>
                </a:lnTo>
                <a:lnTo>
                  <a:pt x="654" y="55"/>
                </a:lnTo>
                <a:lnTo>
                  <a:pt x="662" y="49"/>
                </a:lnTo>
                <a:lnTo>
                  <a:pt x="670" y="44"/>
                </a:lnTo>
                <a:lnTo>
                  <a:pt x="677" y="40"/>
                </a:lnTo>
                <a:lnTo>
                  <a:pt x="685" y="38"/>
                </a:lnTo>
                <a:lnTo>
                  <a:pt x="693" y="36"/>
                </a:lnTo>
                <a:lnTo>
                  <a:pt x="701" y="35"/>
                </a:lnTo>
                <a:lnTo>
                  <a:pt x="709" y="34"/>
                </a:lnTo>
                <a:lnTo>
                  <a:pt x="718" y="34"/>
                </a:lnTo>
                <a:lnTo>
                  <a:pt x="734" y="34"/>
                </a:lnTo>
                <a:lnTo>
                  <a:pt x="752" y="35"/>
                </a:lnTo>
                <a:lnTo>
                  <a:pt x="761" y="34"/>
                </a:lnTo>
                <a:lnTo>
                  <a:pt x="769" y="34"/>
                </a:lnTo>
                <a:lnTo>
                  <a:pt x="778" y="33"/>
                </a:lnTo>
                <a:lnTo>
                  <a:pt x="787" y="31"/>
                </a:lnTo>
                <a:lnTo>
                  <a:pt x="790" y="24"/>
                </a:lnTo>
                <a:lnTo>
                  <a:pt x="795" y="17"/>
                </a:lnTo>
                <a:lnTo>
                  <a:pt x="796" y="13"/>
                </a:lnTo>
                <a:lnTo>
                  <a:pt x="799" y="9"/>
                </a:lnTo>
                <a:lnTo>
                  <a:pt x="802" y="4"/>
                </a:lnTo>
                <a:lnTo>
                  <a:pt x="807" y="0"/>
                </a:lnTo>
                <a:lnTo>
                  <a:pt x="814" y="0"/>
                </a:lnTo>
                <a:lnTo>
                  <a:pt x="827" y="0"/>
                </a:lnTo>
                <a:lnTo>
                  <a:pt x="828" y="8"/>
                </a:lnTo>
                <a:lnTo>
                  <a:pt x="830" y="14"/>
                </a:lnTo>
                <a:lnTo>
                  <a:pt x="833" y="18"/>
                </a:lnTo>
                <a:lnTo>
                  <a:pt x="839" y="21"/>
                </a:lnTo>
                <a:lnTo>
                  <a:pt x="843" y="22"/>
                </a:lnTo>
                <a:lnTo>
                  <a:pt x="848" y="23"/>
                </a:lnTo>
                <a:lnTo>
                  <a:pt x="854" y="24"/>
                </a:lnTo>
                <a:lnTo>
                  <a:pt x="859" y="24"/>
                </a:lnTo>
                <a:lnTo>
                  <a:pt x="869" y="24"/>
                </a:lnTo>
                <a:lnTo>
                  <a:pt x="879" y="24"/>
                </a:lnTo>
                <a:lnTo>
                  <a:pt x="887" y="24"/>
                </a:lnTo>
                <a:lnTo>
                  <a:pt x="894" y="2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297" name="Freeform 249"/>
          <p:cNvSpPr>
            <a:spLocks/>
          </p:cNvSpPr>
          <p:nvPr>
            <p:custDataLst>
              <p:tags r:id="rId176"/>
            </p:custDataLst>
          </p:nvPr>
        </p:nvSpPr>
        <p:spPr bwMode="auto">
          <a:xfrm>
            <a:off x="4243388" y="2693195"/>
            <a:ext cx="55562" cy="41672"/>
          </a:xfrm>
          <a:custGeom>
            <a:avLst/>
            <a:gdLst/>
            <a:ahLst/>
            <a:cxnLst>
              <a:cxn ang="0">
                <a:pos x="120" y="0"/>
              </a:cxn>
              <a:cxn ang="0">
                <a:pos x="121" y="27"/>
              </a:cxn>
              <a:cxn ang="0">
                <a:pos x="124" y="46"/>
              </a:cxn>
              <a:cxn ang="0">
                <a:pos x="125" y="53"/>
              </a:cxn>
              <a:cxn ang="0">
                <a:pos x="125" y="59"/>
              </a:cxn>
              <a:cxn ang="0">
                <a:pos x="125" y="65"/>
              </a:cxn>
              <a:cxn ang="0">
                <a:pos x="123" y="69"/>
              </a:cxn>
              <a:cxn ang="0">
                <a:pos x="119" y="72"/>
              </a:cxn>
              <a:cxn ang="0">
                <a:pos x="112" y="74"/>
              </a:cxn>
              <a:cxn ang="0">
                <a:pos x="103" y="76"/>
              </a:cxn>
              <a:cxn ang="0">
                <a:pos x="91" y="77"/>
              </a:cxn>
              <a:cxn ang="0">
                <a:pos x="57" y="79"/>
              </a:cxn>
              <a:cxn ang="0">
                <a:pos x="7" y="81"/>
              </a:cxn>
              <a:cxn ang="0">
                <a:pos x="5" y="79"/>
              </a:cxn>
              <a:cxn ang="0">
                <a:pos x="3" y="72"/>
              </a:cxn>
              <a:cxn ang="0">
                <a:pos x="1" y="59"/>
              </a:cxn>
              <a:cxn ang="0">
                <a:pos x="0" y="43"/>
              </a:cxn>
              <a:cxn ang="0">
                <a:pos x="0" y="37"/>
              </a:cxn>
              <a:cxn ang="0">
                <a:pos x="1" y="31"/>
              </a:cxn>
              <a:cxn ang="0">
                <a:pos x="2" y="25"/>
              </a:cxn>
              <a:cxn ang="0">
                <a:pos x="4" y="20"/>
              </a:cxn>
              <a:cxn ang="0">
                <a:pos x="8" y="15"/>
              </a:cxn>
              <a:cxn ang="0">
                <a:pos x="11" y="10"/>
              </a:cxn>
              <a:cxn ang="0">
                <a:pos x="14" y="5"/>
              </a:cxn>
              <a:cxn ang="0">
                <a:pos x="20" y="0"/>
              </a:cxn>
              <a:cxn ang="0">
                <a:pos x="120" y="0"/>
              </a:cxn>
            </a:cxnLst>
            <a:rect l="0" t="0" r="r" b="b"/>
            <a:pathLst>
              <a:path w="125" h="81">
                <a:moveTo>
                  <a:pt x="120" y="0"/>
                </a:moveTo>
                <a:lnTo>
                  <a:pt x="121" y="27"/>
                </a:lnTo>
                <a:lnTo>
                  <a:pt x="124" y="46"/>
                </a:lnTo>
                <a:lnTo>
                  <a:pt x="125" y="53"/>
                </a:lnTo>
                <a:lnTo>
                  <a:pt x="125" y="59"/>
                </a:lnTo>
                <a:lnTo>
                  <a:pt x="125" y="65"/>
                </a:lnTo>
                <a:lnTo>
                  <a:pt x="123" y="69"/>
                </a:lnTo>
                <a:lnTo>
                  <a:pt x="119" y="72"/>
                </a:lnTo>
                <a:lnTo>
                  <a:pt x="112" y="74"/>
                </a:lnTo>
                <a:lnTo>
                  <a:pt x="103" y="76"/>
                </a:lnTo>
                <a:lnTo>
                  <a:pt x="91" y="77"/>
                </a:lnTo>
                <a:lnTo>
                  <a:pt x="57" y="79"/>
                </a:lnTo>
                <a:lnTo>
                  <a:pt x="7" y="81"/>
                </a:lnTo>
                <a:lnTo>
                  <a:pt x="5" y="79"/>
                </a:lnTo>
                <a:lnTo>
                  <a:pt x="3" y="72"/>
                </a:lnTo>
                <a:lnTo>
                  <a:pt x="1" y="59"/>
                </a:lnTo>
                <a:lnTo>
                  <a:pt x="0" y="43"/>
                </a:lnTo>
                <a:lnTo>
                  <a:pt x="0" y="37"/>
                </a:lnTo>
                <a:lnTo>
                  <a:pt x="1" y="31"/>
                </a:lnTo>
                <a:lnTo>
                  <a:pt x="2" y="25"/>
                </a:lnTo>
                <a:lnTo>
                  <a:pt x="4" y="20"/>
                </a:lnTo>
                <a:lnTo>
                  <a:pt x="8" y="15"/>
                </a:lnTo>
                <a:lnTo>
                  <a:pt x="11" y="10"/>
                </a:lnTo>
                <a:lnTo>
                  <a:pt x="14" y="5"/>
                </a:lnTo>
                <a:lnTo>
                  <a:pt x="20" y="0"/>
                </a:lnTo>
                <a:lnTo>
                  <a:pt x="1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298" name="Freeform 250"/>
          <p:cNvSpPr>
            <a:spLocks/>
          </p:cNvSpPr>
          <p:nvPr>
            <p:custDataLst>
              <p:tags r:id="rId177"/>
            </p:custDataLst>
          </p:nvPr>
        </p:nvSpPr>
        <p:spPr bwMode="auto">
          <a:xfrm>
            <a:off x="4225925" y="2693197"/>
            <a:ext cx="152400" cy="151210"/>
          </a:xfrm>
          <a:custGeom>
            <a:avLst/>
            <a:gdLst/>
            <a:ahLst/>
            <a:cxnLst>
              <a:cxn ang="0">
                <a:pos x="262" y="15"/>
              </a:cxn>
              <a:cxn ang="0">
                <a:pos x="257" y="37"/>
              </a:cxn>
              <a:cxn ang="0">
                <a:pos x="264" y="51"/>
              </a:cxn>
              <a:cxn ang="0">
                <a:pos x="283" y="60"/>
              </a:cxn>
              <a:cxn ang="0">
                <a:pos x="319" y="55"/>
              </a:cxn>
              <a:cxn ang="0">
                <a:pos x="332" y="57"/>
              </a:cxn>
              <a:cxn ang="0">
                <a:pos x="340" y="68"/>
              </a:cxn>
              <a:cxn ang="0">
                <a:pos x="345" y="83"/>
              </a:cxn>
              <a:cxn ang="0">
                <a:pos x="351" y="94"/>
              </a:cxn>
              <a:cxn ang="0">
                <a:pos x="345" y="108"/>
              </a:cxn>
              <a:cxn ang="0">
                <a:pos x="320" y="136"/>
              </a:cxn>
              <a:cxn ang="0">
                <a:pos x="348" y="175"/>
              </a:cxn>
              <a:cxn ang="0">
                <a:pos x="355" y="202"/>
              </a:cxn>
              <a:cxn ang="0">
                <a:pos x="353" y="219"/>
              </a:cxn>
              <a:cxn ang="0">
                <a:pos x="345" y="254"/>
              </a:cxn>
              <a:cxn ang="0">
                <a:pos x="333" y="271"/>
              </a:cxn>
              <a:cxn ang="0">
                <a:pos x="312" y="280"/>
              </a:cxn>
              <a:cxn ang="0">
                <a:pos x="286" y="282"/>
              </a:cxn>
              <a:cxn ang="0">
                <a:pos x="270" y="282"/>
              </a:cxn>
              <a:cxn ang="0">
                <a:pos x="252" y="265"/>
              </a:cxn>
              <a:cxn ang="0">
                <a:pos x="240" y="259"/>
              </a:cxn>
              <a:cxn ang="0">
                <a:pos x="221" y="269"/>
              </a:cxn>
              <a:cxn ang="0">
                <a:pos x="205" y="279"/>
              </a:cxn>
              <a:cxn ang="0">
                <a:pos x="194" y="285"/>
              </a:cxn>
              <a:cxn ang="0">
                <a:pos x="185" y="298"/>
              </a:cxn>
              <a:cxn ang="0">
                <a:pos x="187" y="321"/>
              </a:cxn>
              <a:cxn ang="0">
                <a:pos x="207" y="358"/>
              </a:cxn>
              <a:cxn ang="0">
                <a:pos x="195" y="353"/>
              </a:cxn>
              <a:cxn ang="0">
                <a:pos x="177" y="355"/>
              </a:cxn>
              <a:cxn ang="0">
                <a:pos x="162" y="365"/>
              </a:cxn>
              <a:cxn ang="0">
                <a:pos x="146" y="388"/>
              </a:cxn>
              <a:cxn ang="0">
                <a:pos x="123" y="370"/>
              </a:cxn>
              <a:cxn ang="0">
                <a:pos x="113" y="358"/>
              </a:cxn>
              <a:cxn ang="0">
                <a:pos x="96" y="324"/>
              </a:cxn>
              <a:cxn ang="0">
                <a:pos x="50" y="280"/>
              </a:cxn>
              <a:cxn ang="0">
                <a:pos x="22" y="254"/>
              </a:cxn>
              <a:cxn ang="0">
                <a:pos x="5" y="223"/>
              </a:cxn>
              <a:cxn ang="0">
                <a:pos x="1" y="187"/>
              </a:cxn>
              <a:cxn ang="0">
                <a:pos x="11" y="162"/>
              </a:cxn>
              <a:cxn ang="0">
                <a:pos x="41" y="134"/>
              </a:cxn>
              <a:cxn ang="0">
                <a:pos x="54" y="116"/>
              </a:cxn>
              <a:cxn ang="0">
                <a:pos x="56" y="91"/>
              </a:cxn>
              <a:cxn ang="0">
                <a:pos x="108" y="83"/>
              </a:cxn>
              <a:cxn ang="0">
                <a:pos x="156" y="80"/>
              </a:cxn>
              <a:cxn ang="0">
                <a:pos x="172" y="73"/>
              </a:cxn>
              <a:cxn ang="0">
                <a:pos x="177" y="63"/>
              </a:cxn>
              <a:cxn ang="0">
                <a:pos x="174" y="41"/>
              </a:cxn>
              <a:cxn ang="0">
                <a:pos x="167" y="12"/>
              </a:cxn>
            </a:cxnLst>
            <a:rect l="0" t="0" r="r" b="b"/>
            <a:pathLst>
              <a:path w="355" h="388">
                <a:moveTo>
                  <a:pt x="266" y="7"/>
                </a:moveTo>
                <a:lnTo>
                  <a:pt x="265" y="9"/>
                </a:lnTo>
                <a:lnTo>
                  <a:pt x="262" y="15"/>
                </a:lnTo>
                <a:lnTo>
                  <a:pt x="259" y="23"/>
                </a:lnTo>
                <a:lnTo>
                  <a:pt x="257" y="32"/>
                </a:lnTo>
                <a:lnTo>
                  <a:pt x="257" y="37"/>
                </a:lnTo>
                <a:lnTo>
                  <a:pt x="258" y="42"/>
                </a:lnTo>
                <a:lnTo>
                  <a:pt x="261" y="46"/>
                </a:lnTo>
                <a:lnTo>
                  <a:pt x="264" y="51"/>
                </a:lnTo>
                <a:lnTo>
                  <a:pt x="268" y="54"/>
                </a:lnTo>
                <a:lnTo>
                  <a:pt x="275" y="58"/>
                </a:lnTo>
                <a:lnTo>
                  <a:pt x="283" y="60"/>
                </a:lnTo>
                <a:lnTo>
                  <a:pt x="294" y="63"/>
                </a:lnTo>
                <a:lnTo>
                  <a:pt x="301" y="58"/>
                </a:lnTo>
                <a:lnTo>
                  <a:pt x="319" y="55"/>
                </a:lnTo>
                <a:lnTo>
                  <a:pt x="323" y="55"/>
                </a:lnTo>
                <a:lnTo>
                  <a:pt x="328" y="55"/>
                </a:lnTo>
                <a:lnTo>
                  <a:pt x="332" y="57"/>
                </a:lnTo>
                <a:lnTo>
                  <a:pt x="335" y="59"/>
                </a:lnTo>
                <a:lnTo>
                  <a:pt x="337" y="63"/>
                </a:lnTo>
                <a:lnTo>
                  <a:pt x="340" y="68"/>
                </a:lnTo>
                <a:lnTo>
                  <a:pt x="340" y="74"/>
                </a:lnTo>
                <a:lnTo>
                  <a:pt x="340" y="81"/>
                </a:lnTo>
                <a:lnTo>
                  <a:pt x="345" y="83"/>
                </a:lnTo>
                <a:lnTo>
                  <a:pt x="348" y="87"/>
                </a:lnTo>
                <a:lnTo>
                  <a:pt x="350" y="90"/>
                </a:lnTo>
                <a:lnTo>
                  <a:pt x="351" y="94"/>
                </a:lnTo>
                <a:lnTo>
                  <a:pt x="350" y="99"/>
                </a:lnTo>
                <a:lnTo>
                  <a:pt x="347" y="103"/>
                </a:lnTo>
                <a:lnTo>
                  <a:pt x="345" y="108"/>
                </a:lnTo>
                <a:lnTo>
                  <a:pt x="342" y="113"/>
                </a:lnTo>
                <a:lnTo>
                  <a:pt x="328" y="129"/>
                </a:lnTo>
                <a:lnTo>
                  <a:pt x="320" y="136"/>
                </a:lnTo>
                <a:lnTo>
                  <a:pt x="326" y="143"/>
                </a:lnTo>
                <a:lnTo>
                  <a:pt x="341" y="162"/>
                </a:lnTo>
                <a:lnTo>
                  <a:pt x="348" y="175"/>
                </a:lnTo>
                <a:lnTo>
                  <a:pt x="353" y="188"/>
                </a:lnTo>
                <a:lnTo>
                  <a:pt x="355" y="195"/>
                </a:lnTo>
                <a:lnTo>
                  <a:pt x="355" y="202"/>
                </a:lnTo>
                <a:lnTo>
                  <a:pt x="355" y="209"/>
                </a:lnTo>
                <a:lnTo>
                  <a:pt x="353" y="216"/>
                </a:lnTo>
                <a:lnTo>
                  <a:pt x="353" y="219"/>
                </a:lnTo>
                <a:lnTo>
                  <a:pt x="352" y="228"/>
                </a:lnTo>
                <a:lnTo>
                  <a:pt x="350" y="241"/>
                </a:lnTo>
                <a:lnTo>
                  <a:pt x="345" y="254"/>
                </a:lnTo>
                <a:lnTo>
                  <a:pt x="342" y="260"/>
                </a:lnTo>
                <a:lnTo>
                  <a:pt x="339" y="266"/>
                </a:lnTo>
                <a:lnTo>
                  <a:pt x="333" y="271"/>
                </a:lnTo>
                <a:lnTo>
                  <a:pt x="328" y="276"/>
                </a:lnTo>
                <a:lnTo>
                  <a:pt x="321" y="279"/>
                </a:lnTo>
                <a:lnTo>
                  <a:pt x="312" y="280"/>
                </a:lnTo>
                <a:lnTo>
                  <a:pt x="303" y="280"/>
                </a:lnTo>
                <a:lnTo>
                  <a:pt x="294" y="277"/>
                </a:lnTo>
                <a:lnTo>
                  <a:pt x="286" y="282"/>
                </a:lnTo>
                <a:lnTo>
                  <a:pt x="280" y="285"/>
                </a:lnTo>
                <a:lnTo>
                  <a:pt x="275" y="285"/>
                </a:lnTo>
                <a:lnTo>
                  <a:pt x="270" y="282"/>
                </a:lnTo>
                <a:lnTo>
                  <a:pt x="263" y="276"/>
                </a:lnTo>
                <a:lnTo>
                  <a:pt x="255" y="268"/>
                </a:lnTo>
                <a:lnTo>
                  <a:pt x="252" y="265"/>
                </a:lnTo>
                <a:lnTo>
                  <a:pt x="249" y="261"/>
                </a:lnTo>
                <a:lnTo>
                  <a:pt x="244" y="259"/>
                </a:lnTo>
                <a:lnTo>
                  <a:pt x="240" y="259"/>
                </a:lnTo>
                <a:lnTo>
                  <a:pt x="234" y="260"/>
                </a:lnTo>
                <a:lnTo>
                  <a:pt x="229" y="263"/>
                </a:lnTo>
                <a:lnTo>
                  <a:pt x="221" y="269"/>
                </a:lnTo>
                <a:lnTo>
                  <a:pt x="213" y="277"/>
                </a:lnTo>
                <a:lnTo>
                  <a:pt x="211" y="278"/>
                </a:lnTo>
                <a:lnTo>
                  <a:pt x="205" y="279"/>
                </a:lnTo>
                <a:lnTo>
                  <a:pt x="201" y="280"/>
                </a:lnTo>
                <a:lnTo>
                  <a:pt x="197" y="282"/>
                </a:lnTo>
                <a:lnTo>
                  <a:pt x="194" y="285"/>
                </a:lnTo>
                <a:lnTo>
                  <a:pt x="190" y="288"/>
                </a:lnTo>
                <a:lnTo>
                  <a:pt x="187" y="292"/>
                </a:lnTo>
                <a:lnTo>
                  <a:pt x="185" y="298"/>
                </a:lnTo>
                <a:lnTo>
                  <a:pt x="185" y="304"/>
                </a:lnTo>
                <a:lnTo>
                  <a:pt x="185" y="312"/>
                </a:lnTo>
                <a:lnTo>
                  <a:pt x="187" y="321"/>
                </a:lnTo>
                <a:lnTo>
                  <a:pt x="191" y="331"/>
                </a:lnTo>
                <a:lnTo>
                  <a:pt x="198" y="344"/>
                </a:lnTo>
                <a:lnTo>
                  <a:pt x="207" y="358"/>
                </a:lnTo>
                <a:lnTo>
                  <a:pt x="206" y="357"/>
                </a:lnTo>
                <a:lnTo>
                  <a:pt x="201" y="355"/>
                </a:lnTo>
                <a:lnTo>
                  <a:pt x="195" y="353"/>
                </a:lnTo>
                <a:lnTo>
                  <a:pt x="187" y="353"/>
                </a:lnTo>
                <a:lnTo>
                  <a:pt x="183" y="353"/>
                </a:lnTo>
                <a:lnTo>
                  <a:pt x="177" y="355"/>
                </a:lnTo>
                <a:lnTo>
                  <a:pt x="173" y="357"/>
                </a:lnTo>
                <a:lnTo>
                  <a:pt x="167" y="361"/>
                </a:lnTo>
                <a:lnTo>
                  <a:pt x="162" y="365"/>
                </a:lnTo>
                <a:lnTo>
                  <a:pt x="157" y="371"/>
                </a:lnTo>
                <a:lnTo>
                  <a:pt x="152" y="379"/>
                </a:lnTo>
                <a:lnTo>
                  <a:pt x="146" y="388"/>
                </a:lnTo>
                <a:lnTo>
                  <a:pt x="137" y="380"/>
                </a:lnTo>
                <a:lnTo>
                  <a:pt x="128" y="373"/>
                </a:lnTo>
                <a:lnTo>
                  <a:pt x="123" y="370"/>
                </a:lnTo>
                <a:lnTo>
                  <a:pt x="120" y="366"/>
                </a:lnTo>
                <a:lnTo>
                  <a:pt x="117" y="362"/>
                </a:lnTo>
                <a:lnTo>
                  <a:pt x="113" y="358"/>
                </a:lnTo>
                <a:lnTo>
                  <a:pt x="109" y="346"/>
                </a:lnTo>
                <a:lnTo>
                  <a:pt x="102" y="334"/>
                </a:lnTo>
                <a:lnTo>
                  <a:pt x="96" y="324"/>
                </a:lnTo>
                <a:lnTo>
                  <a:pt x="87" y="315"/>
                </a:lnTo>
                <a:lnTo>
                  <a:pt x="70" y="297"/>
                </a:lnTo>
                <a:lnTo>
                  <a:pt x="50" y="280"/>
                </a:lnTo>
                <a:lnTo>
                  <a:pt x="40" y="271"/>
                </a:lnTo>
                <a:lnTo>
                  <a:pt x="31" y="263"/>
                </a:lnTo>
                <a:lnTo>
                  <a:pt x="22" y="254"/>
                </a:lnTo>
                <a:lnTo>
                  <a:pt x="16" y="245"/>
                </a:lnTo>
                <a:lnTo>
                  <a:pt x="9" y="235"/>
                </a:lnTo>
                <a:lnTo>
                  <a:pt x="5" y="223"/>
                </a:lnTo>
                <a:lnTo>
                  <a:pt x="1" y="211"/>
                </a:lnTo>
                <a:lnTo>
                  <a:pt x="0" y="198"/>
                </a:lnTo>
                <a:lnTo>
                  <a:pt x="1" y="187"/>
                </a:lnTo>
                <a:lnTo>
                  <a:pt x="4" y="178"/>
                </a:lnTo>
                <a:lnTo>
                  <a:pt x="7" y="169"/>
                </a:lnTo>
                <a:lnTo>
                  <a:pt x="11" y="162"/>
                </a:lnTo>
                <a:lnTo>
                  <a:pt x="22" y="150"/>
                </a:lnTo>
                <a:lnTo>
                  <a:pt x="34" y="139"/>
                </a:lnTo>
                <a:lnTo>
                  <a:pt x="41" y="134"/>
                </a:lnTo>
                <a:lnTo>
                  <a:pt x="45" y="129"/>
                </a:lnTo>
                <a:lnTo>
                  <a:pt x="50" y="123"/>
                </a:lnTo>
                <a:lnTo>
                  <a:pt x="54" y="116"/>
                </a:lnTo>
                <a:lnTo>
                  <a:pt x="56" y="109"/>
                </a:lnTo>
                <a:lnTo>
                  <a:pt x="57" y="101"/>
                </a:lnTo>
                <a:lnTo>
                  <a:pt x="56" y="91"/>
                </a:lnTo>
                <a:lnTo>
                  <a:pt x="54" y="81"/>
                </a:lnTo>
                <a:lnTo>
                  <a:pt x="84" y="83"/>
                </a:lnTo>
                <a:lnTo>
                  <a:pt x="108" y="83"/>
                </a:lnTo>
                <a:lnTo>
                  <a:pt x="129" y="83"/>
                </a:lnTo>
                <a:lnTo>
                  <a:pt x="144" y="82"/>
                </a:lnTo>
                <a:lnTo>
                  <a:pt x="156" y="80"/>
                </a:lnTo>
                <a:lnTo>
                  <a:pt x="165" y="77"/>
                </a:lnTo>
                <a:lnTo>
                  <a:pt x="168" y="75"/>
                </a:lnTo>
                <a:lnTo>
                  <a:pt x="172" y="73"/>
                </a:lnTo>
                <a:lnTo>
                  <a:pt x="174" y="71"/>
                </a:lnTo>
                <a:lnTo>
                  <a:pt x="175" y="69"/>
                </a:lnTo>
                <a:lnTo>
                  <a:pt x="177" y="63"/>
                </a:lnTo>
                <a:lnTo>
                  <a:pt x="176" y="56"/>
                </a:lnTo>
                <a:lnTo>
                  <a:pt x="175" y="49"/>
                </a:lnTo>
                <a:lnTo>
                  <a:pt x="174" y="41"/>
                </a:lnTo>
                <a:lnTo>
                  <a:pt x="172" y="32"/>
                </a:lnTo>
                <a:lnTo>
                  <a:pt x="169" y="22"/>
                </a:lnTo>
                <a:lnTo>
                  <a:pt x="167" y="12"/>
                </a:lnTo>
                <a:lnTo>
                  <a:pt x="167" y="0"/>
                </a:lnTo>
                <a:lnTo>
                  <a:pt x="266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299" name="Freeform 251"/>
          <p:cNvSpPr>
            <a:spLocks/>
          </p:cNvSpPr>
          <p:nvPr>
            <p:custDataLst>
              <p:tags r:id="rId178"/>
            </p:custDataLst>
          </p:nvPr>
        </p:nvSpPr>
        <p:spPr bwMode="auto">
          <a:xfrm>
            <a:off x="4759325" y="2996804"/>
            <a:ext cx="260350" cy="390525"/>
          </a:xfrm>
          <a:custGeom>
            <a:avLst/>
            <a:gdLst/>
            <a:ahLst/>
            <a:cxnLst>
              <a:cxn ang="0">
                <a:pos x="0" y="259"/>
              </a:cxn>
              <a:cxn ang="0">
                <a:pos x="182" y="224"/>
              </a:cxn>
              <a:cxn ang="0">
                <a:pos x="230" y="240"/>
              </a:cxn>
              <a:cxn ang="0">
                <a:pos x="258" y="258"/>
              </a:cxn>
              <a:cxn ang="0">
                <a:pos x="252" y="296"/>
              </a:cxn>
              <a:cxn ang="0">
                <a:pos x="234" y="327"/>
              </a:cxn>
              <a:cxn ang="0">
                <a:pos x="250" y="357"/>
              </a:cxn>
              <a:cxn ang="0">
                <a:pos x="294" y="365"/>
              </a:cxn>
              <a:cxn ang="0">
                <a:pos x="319" y="340"/>
              </a:cxn>
              <a:cxn ang="0">
                <a:pos x="338" y="317"/>
              </a:cxn>
              <a:cxn ang="0">
                <a:pos x="332" y="261"/>
              </a:cxn>
              <a:cxn ang="0">
                <a:pos x="314" y="204"/>
              </a:cxn>
              <a:cxn ang="0">
                <a:pos x="271" y="157"/>
              </a:cxn>
              <a:cxn ang="0">
                <a:pos x="254" y="125"/>
              </a:cxn>
              <a:cxn ang="0">
                <a:pos x="270" y="62"/>
              </a:cxn>
              <a:cxn ang="0">
                <a:pos x="320" y="55"/>
              </a:cxn>
              <a:cxn ang="0">
                <a:pos x="418" y="60"/>
              </a:cxn>
              <a:cxn ang="0">
                <a:pos x="521" y="36"/>
              </a:cxn>
              <a:cxn ang="0">
                <a:pos x="597" y="3"/>
              </a:cxn>
              <a:cxn ang="0">
                <a:pos x="597" y="30"/>
              </a:cxn>
              <a:cxn ang="0">
                <a:pos x="597" y="126"/>
              </a:cxn>
              <a:cxn ang="0">
                <a:pos x="592" y="228"/>
              </a:cxn>
              <a:cxn ang="0">
                <a:pos x="585" y="276"/>
              </a:cxn>
              <a:cxn ang="0">
                <a:pos x="550" y="337"/>
              </a:cxn>
              <a:cxn ang="0">
                <a:pos x="468" y="402"/>
              </a:cxn>
              <a:cxn ang="0">
                <a:pos x="374" y="426"/>
              </a:cxn>
              <a:cxn ang="0">
                <a:pos x="353" y="464"/>
              </a:cxn>
              <a:cxn ang="0">
                <a:pos x="293" y="507"/>
              </a:cxn>
              <a:cxn ang="0">
                <a:pos x="243" y="549"/>
              </a:cxn>
              <a:cxn ang="0">
                <a:pos x="229" y="582"/>
              </a:cxn>
              <a:cxn ang="0">
                <a:pos x="237" y="619"/>
              </a:cxn>
              <a:cxn ang="0">
                <a:pos x="267" y="654"/>
              </a:cxn>
              <a:cxn ang="0">
                <a:pos x="254" y="694"/>
              </a:cxn>
              <a:cxn ang="0">
                <a:pos x="265" y="729"/>
              </a:cxn>
              <a:cxn ang="0">
                <a:pos x="267" y="790"/>
              </a:cxn>
              <a:cxn ang="0">
                <a:pos x="256" y="814"/>
              </a:cxn>
              <a:cxn ang="0">
                <a:pos x="193" y="873"/>
              </a:cxn>
              <a:cxn ang="0">
                <a:pos x="147" y="887"/>
              </a:cxn>
              <a:cxn ang="0">
                <a:pos x="102" y="894"/>
              </a:cxn>
              <a:cxn ang="0">
                <a:pos x="87" y="913"/>
              </a:cxn>
              <a:cxn ang="0">
                <a:pos x="95" y="939"/>
              </a:cxn>
              <a:cxn ang="0">
                <a:pos x="91" y="992"/>
              </a:cxn>
              <a:cxn ang="0">
                <a:pos x="74" y="810"/>
              </a:cxn>
              <a:cxn ang="0">
                <a:pos x="58" y="765"/>
              </a:cxn>
              <a:cxn ang="0">
                <a:pos x="41" y="720"/>
              </a:cxn>
              <a:cxn ang="0">
                <a:pos x="108" y="666"/>
              </a:cxn>
              <a:cxn ang="0">
                <a:pos x="109" y="614"/>
              </a:cxn>
              <a:cxn ang="0">
                <a:pos x="149" y="571"/>
              </a:cxn>
              <a:cxn ang="0">
                <a:pos x="174" y="526"/>
              </a:cxn>
              <a:cxn ang="0">
                <a:pos x="168" y="441"/>
              </a:cxn>
              <a:cxn ang="0">
                <a:pos x="152" y="364"/>
              </a:cxn>
              <a:cxn ang="0">
                <a:pos x="81" y="341"/>
              </a:cxn>
            </a:cxnLst>
            <a:rect l="0" t="0" r="r" b="b"/>
            <a:pathLst>
              <a:path w="599" h="993">
                <a:moveTo>
                  <a:pt x="15" y="309"/>
                </a:moveTo>
                <a:lnTo>
                  <a:pt x="9" y="291"/>
                </a:lnTo>
                <a:lnTo>
                  <a:pt x="3" y="273"/>
                </a:lnTo>
                <a:lnTo>
                  <a:pt x="1" y="266"/>
                </a:lnTo>
                <a:lnTo>
                  <a:pt x="0" y="259"/>
                </a:lnTo>
                <a:lnTo>
                  <a:pt x="0" y="253"/>
                </a:lnTo>
                <a:lnTo>
                  <a:pt x="2" y="248"/>
                </a:lnTo>
                <a:lnTo>
                  <a:pt x="174" y="216"/>
                </a:lnTo>
                <a:lnTo>
                  <a:pt x="177" y="220"/>
                </a:lnTo>
                <a:lnTo>
                  <a:pt x="182" y="224"/>
                </a:lnTo>
                <a:lnTo>
                  <a:pt x="187" y="227"/>
                </a:lnTo>
                <a:lnTo>
                  <a:pt x="193" y="229"/>
                </a:lnTo>
                <a:lnTo>
                  <a:pt x="207" y="234"/>
                </a:lnTo>
                <a:lnTo>
                  <a:pt x="222" y="238"/>
                </a:lnTo>
                <a:lnTo>
                  <a:pt x="230" y="240"/>
                </a:lnTo>
                <a:lnTo>
                  <a:pt x="237" y="242"/>
                </a:lnTo>
                <a:lnTo>
                  <a:pt x="243" y="245"/>
                </a:lnTo>
                <a:lnTo>
                  <a:pt x="249" y="249"/>
                </a:lnTo>
                <a:lnTo>
                  <a:pt x="253" y="253"/>
                </a:lnTo>
                <a:lnTo>
                  <a:pt x="258" y="258"/>
                </a:lnTo>
                <a:lnTo>
                  <a:pt x="260" y="264"/>
                </a:lnTo>
                <a:lnTo>
                  <a:pt x="261" y="272"/>
                </a:lnTo>
                <a:lnTo>
                  <a:pt x="260" y="280"/>
                </a:lnTo>
                <a:lnTo>
                  <a:pt x="256" y="289"/>
                </a:lnTo>
                <a:lnTo>
                  <a:pt x="252" y="296"/>
                </a:lnTo>
                <a:lnTo>
                  <a:pt x="248" y="302"/>
                </a:lnTo>
                <a:lnTo>
                  <a:pt x="242" y="308"/>
                </a:lnTo>
                <a:lnTo>
                  <a:pt x="238" y="314"/>
                </a:lnTo>
                <a:lnTo>
                  <a:pt x="236" y="321"/>
                </a:lnTo>
                <a:lnTo>
                  <a:pt x="234" y="327"/>
                </a:lnTo>
                <a:lnTo>
                  <a:pt x="234" y="333"/>
                </a:lnTo>
                <a:lnTo>
                  <a:pt x="236" y="338"/>
                </a:lnTo>
                <a:lnTo>
                  <a:pt x="238" y="344"/>
                </a:lnTo>
                <a:lnTo>
                  <a:pt x="241" y="349"/>
                </a:lnTo>
                <a:lnTo>
                  <a:pt x="250" y="357"/>
                </a:lnTo>
                <a:lnTo>
                  <a:pt x="259" y="365"/>
                </a:lnTo>
                <a:lnTo>
                  <a:pt x="278" y="378"/>
                </a:lnTo>
                <a:lnTo>
                  <a:pt x="294" y="389"/>
                </a:lnTo>
                <a:lnTo>
                  <a:pt x="294" y="376"/>
                </a:lnTo>
                <a:lnTo>
                  <a:pt x="294" y="365"/>
                </a:lnTo>
                <a:lnTo>
                  <a:pt x="294" y="356"/>
                </a:lnTo>
                <a:lnTo>
                  <a:pt x="294" y="346"/>
                </a:lnTo>
                <a:lnTo>
                  <a:pt x="305" y="346"/>
                </a:lnTo>
                <a:lnTo>
                  <a:pt x="315" y="343"/>
                </a:lnTo>
                <a:lnTo>
                  <a:pt x="319" y="340"/>
                </a:lnTo>
                <a:lnTo>
                  <a:pt x="323" y="338"/>
                </a:lnTo>
                <a:lnTo>
                  <a:pt x="327" y="335"/>
                </a:lnTo>
                <a:lnTo>
                  <a:pt x="329" y="332"/>
                </a:lnTo>
                <a:lnTo>
                  <a:pt x="334" y="326"/>
                </a:lnTo>
                <a:lnTo>
                  <a:pt x="338" y="317"/>
                </a:lnTo>
                <a:lnTo>
                  <a:pt x="340" y="308"/>
                </a:lnTo>
                <a:lnTo>
                  <a:pt x="340" y="297"/>
                </a:lnTo>
                <a:lnTo>
                  <a:pt x="339" y="283"/>
                </a:lnTo>
                <a:lnTo>
                  <a:pt x="337" y="272"/>
                </a:lnTo>
                <a:lnTo>
                  <a:pt x="332" y="261"/>
                </a:lnTo>
                <a:lnTo>
                  <a:pt x="327" y="251"/>
                </a:lnTo>
                <a:lnTo>
                  <a:pt x="322" y="240"/>
                </a:lnTo>
                <a:lnTo>
                  <a:pt x="318" y="229"/>
                </a:lnTo>
                <a:lnTo>
                  <a:pt x="315" y="217"/>
                </a:lnTo>
                <a:lnTo>
                  <a:pt x="314" y="204"/>
                </a:lnTo>
                <a:lnTo>
                  <a:pt x="309" y="202"/>
                </a:lnTo>
                <a:lnTo>
                  <a:pt x="301" y="194"/>
                </a:lnTo>
                <a:lnTo>
                  <a:pt x="292" y="184"/>
                </a:lnTo>
                <a:lnTo>
                  <a:pt x="282" y="171"/>
                </a:lnTo>
                <a:lnTo>
                  <a:pt x="271" y="157"/>
                </a:lnTo>
                <a:lnTo>
                  <a:pt x="262" y="144"/>
                </a:lnTo>
                <a:lnTo>
                  <a:pt x="259" y="139"/>
                </a:lnTo>
                <a:lnTo>
                  <a:pt x="256" y="133"/>
                </a:lnTo>
                <a:lnTo>
                  <a:pt x="254" y="128"/>
                </a:lnTo>
                <a:lnTo>
                  <a:pt x="254" y="125"/>
                </a:lnTo>
                <a:lnTo>
                  <a:pt x="255" y="110"/>
                </a:lnTo>
                <a:lnTo>
                  <a:pt x="259" y="90"/>
                </a:lnTo>
                <a:lnTo>
                  <a:pt x="262" y="80"/>
                </a:lnTo>
                <a:lnTo>
                  <a:pt x="265" y="71"/>
                </a:lnTo>
                <a:lnTo>
                  <a:pt x="270" y="62"/>
                </a:lnTo>
                <a:lnTo>
                  <a:pt x="274" y="56"/>
                </a:lnTo>
                <a:lnTo>
                  <a:pt x="286" y="57"/>
                </a:lnTo>
                <a:lnTo>
                  <a:pt x="298" y="58"/>
                </a:lnTo>
                <a:lnTo>
                  <a:pt x="309" y="57"/>
                </a:lnTo>
                <a:lnTo>
                  <a:pt x="320" y="55"/>
                </a:lnTo>
                <a:lnTo>
                  <a:pt x="343" y="52"/>
                </a:lnTo>
                <a:lnTo>
                  <a:pt x="367" y="50"/>
                </a:lnTo>
                <a:lnTo>
                  <a:pt x="378" y="52"/>
                </a:lnTo>
                <a:lnTo>
                  <a:pt x="398" y="56"/>
                </a:lnTo>
                <a:lnTo>
                  <a:pt x="418" y="60"/>
                </a:lnTo>
                <a:lnTo>
                  <a:pt x="433" y="62"/>
                </a:lnTo>
                <a:lnTo>
                  <a:pt x="445" y="60"/>
                </a:lnTo>
                <a:lnTo>
                  <a:pt x="466" y="54"/>
                </a:lnTo>
                <a:lnTo>
                  <a:pt x="493" y="46"/>
                </a:lnTo>
                <a:lnTo>
                  <a:pt x="521" y="36"/>
                </a:lnTo>
                <a:lnTo>
                  <a:pt x="550" y="26"/>
                </a:lnTo>
                <a:lnTo>
                  <a:pt x="574" y="16"/>
                </a:lnTo>
                <a:lnTo>
                  <a:pt x="584" y="12"/>
                </a:lnTo>
                <a:lnTo>
                  <a:pt x="591" y="7"/>
                </a:lnTo>
                <a:lnTo>
                  <a:pt x="597" y="3"/>
                </a:lnTo>
                <a:lnTo>
                  <a:pt x="599" y="0"/>
                </a:lnTo>
                <a:lnTo>
                  <a:pt x="598" y="12"/>
                </a:lnTo>
                <a:lnTo>
                  <a:pt x="597" y="20"/>
                </a:lnTo>
                <a:lnTo>
                  <a:pt x="597" y="25"/>
                </a:lnTo>
                <a:lnTo>
                  <a:pt x="597" y="30"/>
                </a:lnTo>
                <a:lnTo>
                  <a:pt x="598" y="36"/>
                </a:lnTo>
                <a:lnTo>
                  <a:pt x="599" y="44"/>
                </a:lnTo>
                <a:lnTo>
                  <a:pt x="599" y="76"/>
                </a:lnTo>
                <a:lnTo>
                  <a:pt x="598" y="102"/>
                </a:lnTo>
                <a:lnTo>
                  <a:pt x="597" y="126"/>
                </a:lnTo>
                <a:lnTo>
                  <a:pt x="596" y="146"/>
                </a:lnTo>
                <a:lnTo>
                  <a:pt x="595" y="165"/>
                </a:lnTo>
                <a:lnTo>
                  <a:pt x="594" y="185"/>
                </a:lnTo>
                <a:lnTo>
                  <a:pt x="592" y="205"/>
                </a:lnTo>
                <a:lnTo>
                  <a:pt x="592" y="228"/>
                </a:lnTo>
                <a:lnTo>
                  <a:pt x="592" y="239"/>
                </a:lnTo>
                <a:lnTo>
                  <a:pt x="591" y="249"/>
                </a:lnTo>
                <a:lnTo>
                  <a:pt x="589" y="258"/>
                </a:lnTo>
                <a:lnTo>
                  <a:pt x="587" y="267"/>
                </a:lnTo>
                <a:lnTo>
                  <a:pt x="585" y="276"/>
                </a:lnTo>
                <a:lnTo>
                  <a:pt x="581" y="285"/>
                </a:lnTo>
                <a:lnTo>
                  <a:pt x="577" y="295"/>
                </a:lnTo>
                <a:lnTo>
                  <a:pt x="573" y="304"/>
                </a:lnTo>
                <a:lnTo>
                  <a:pt x="562" y="321"/>
                </a:lnTo>
                <a:lnTo>
                  <a:pt x="550" y="337"/>
                </a:lnTo>
                <a:lnTo>
                  <a:pt x="535" y="353"/>
                </a:lnTo>
                <a:lnTo>
                  <a:pt x="520" y="367"/>
                </a:lnTo>
                <a:lnTo>
                  <a:pt x="503" y="379"/>
                </a:lnTo>
                <a:lnTo>
                  <a:pt x="487" y="391"/>
                </a:lnTo>
                <a:lnTo>
                  <a:pt x="468" y="402"/>
                </a:lnTo>
                <a:lnTo>
                  <a:pt x="450" y="410"/>
                </a:lnTo>
                <a:lnTo>
                  <a:pt x="431" y="417"/>
                </a:lnTo>
                <a:lnTo>
                  <a:pt x="411" y="422"/>
                </a:lnTo>
                <a:lnTo>
                  <a:pt x="393" y="425"/>
                </a:lnTo>
                <a:lnTo>
                  <a:pt x="374" y="426"/>
                </a:lnTo>
                <a:lnTo>
                  <a:pt x="372" y="433"/>
                </a:lnTo>
                <a:lnTo>
                  <a:pt x="368" y="440"/>
                </a:lnTo>
                <a:lnTo>
                  <a:pt x="365" y="446"/>
                </a:lnTo>
                <a:lnTo>
                  <a:pt x="362" y="452"/>
                </a:lnTo>
                <a:lnTo>
                  <a:pt x="353" y="464"/>
                </a:lnTo>
                <a:lnTo>
                  <a:pt x="342" y="474"/>
                </a:lnTo>
                <a:lnTo>
                  <a:pt x="331" y="483"/>
                </a:lnTo>
                <a:lnTo>
                  <a:pt x="318" y="491"/>
                </a:lnTo>
                <a:lnTo>
                  <a:pt x="306" y="499"/>
                </a:lnTo>
                <a:lnTo>
                  <a:pt x="293" y="507"/>
                </a:lnTo>
                <a:lnTo>
                  <a:pt x="281" y="516"/>
                </a:lnTo>
                <a:lnTo>
                  <a:pt x="269" y="525"/>
                </a:lnTo>
                <a:lnTo>
                  <a:pt x="258" y="534"/>
                </a:lnTo>
                <a:lnTo>
                  <a:pt x="248" y="544"/>
                </a:lnTo>
                <a:lnTo>
                  <a:pt x="243" y="549"/>
                </a:lnTo>
                <a:lnTo>
                  <a:pt x="239" y="555"/>
                </a:lnTo>
                <a:lnTo>
                  <a:pt x="236" y="561"/>
                </a:lnTo>
                <a:lnTo>
                  <a:pt x="232" y="568"/>
                </a:lnTo>
                <a:lnTo>
                  <a:pt x="230" y="575"/>
                </a:lnTo>
                <a:lnTo>
                  <a:pt x="229" y="582"/>
                </a:lnTo>
                <a:lnTo>
                  <a:pt x="228" y="590"/>
                </a:lnTo>
                <a:lnTo>
                  <a:pt x="227" y="598"/>
                </a:lnTo>
                <a:lnTo>
                  <a:pt x="228" y="604"/>
                </a:lnTo>
                <a:lnTo>
                  <a:pt x="231" y="611"/>
                </a:lnTo>
                <a:lnTo>
                  <a:pt x="237" y="619"/>
                </a:lnTo>
                <a:lnTo>
                  <a:pt x="242" y="629"/>
                </a:lnTo>
                <a:lnTo>
                  <a:pt x="249" y="637"/>
                </a:lnTo>
                <a:lnTo>
                  <a:pt x="255" y="645"/>
                </a:lnTo>
                <a:lnTo>
                  <a:pt x="262" y="650"/>
                </a:lnTo>
                <a:lnTo>
                  <a:pt x="267" y="654"/>
                </a:lnTo>
                <a:lnTo>
                  <a:pt x="262" y="663"/>
                </a:lnTo>
                <a:lnTo>
                  <a:pt x="258" y="671"/>
                </a:lnTo>
                <a:lnTo>
                  <a:pt x="255" y="680"/>
                </a:lnTo>
                <a:lnTo>
                  <a:pt x="254" y="685"/>
                </a:lnTo>
                <a:lnTo>
                  <a:pt x="254" y="694"/>
                </a:lnTo>
                <a:lnTo>
                  <a:pt x="256" y="701"/>
                </a:lnTo>
                <a:lnTo>
                  <a:pt x="258" y="709"/>
                </a:lnTo>
                <a:lnTo>
                  <a:pt x="261" y="715"/>
                </a:lnTo>
                <a:lnTo>
                  <a:pt x="263" y="722"/>
                </a:lnTo>
                <a:lnTo>
                  <a:pt x="265" y="729"/>
                </a:lnTo>
                <a:lnTo>
                  <a:pt x="266" y="738"/>
                </a:lnTo>
                <a:lnTo>
                  <a:pt x="267" y="747"/>
                </a:lnTo>
                <a:lnTo>
                  <a:pt x="267" y="766"/>
                </a:lnTo>
                <a:lnTo>
                  <a:pt x="267" y="780"/>
                </a:lnTo>
                <a:lnTo>
                  <a:pt x="267" y="790"/>
                </a:lnTo>
                <a:lnTo>
                  <a:pt x="267" y="796"/>
                </a:lnTo>
                <a:lnTo>
                  <a:pt x="266" y="799"/>
                </a:lnTo>
                <a:lnTo>
                  <a:pt x="264" y="803"/>
                </a:lnTo>
                <a:lnTo>
                  <a:pt x="261" y="808"/>
                </a:lnTo>
                <a:lnTo>
                  <a:pt x="256" y="814"/>
                </a:lnTo>
                <a:lnTo>
                  <a:pt x="244" y="827"/>
                </a:lnTo>
                <a:lnTo>
                  <a:pt x="230" y="841"/>
                </a:lnTo>
                <a:lnTo>
                  <a:pt x="215" y="856"/>
                </a:lnTo>
                <a:lnTo>
                  <a:pt x="200" y="868"/>
                </a:lnTo>
                <a:lnTo>
                  <a:pt x="193" y="873"/>
                </a:lnTo>
                <a:lnTo>
                  <a:pt x="186" y="877"/>
                </a:lnTo>
                <a:lnTo>
                  <a:pt x="180" y="880"/>
                </a:lnTo>
                <a:lnTo>
                  <a:pt x="174" y="882"/>
                </a:lnTo>
                <a:lnTo>
                  <a:pt x="161" y="885"/>
                </a:lnTo>
                <a:lnTo>
                  <a:pt x="147" y="887"/>
                </a:lnTo>
                <a:lnTo>
                  <a:pt x="132" y="889"/>
                </a:lnTo>
                <a:lnTo>
                  <a:pt x="118" y="890"/>
                </a:lnTo>
                <a:lnTo>
                  <a:pt x="113" y="891"/>
                </a:lnTo>
                <a:lnTo>
                  <a:pt x="106" y="892"/>
                </a:lnTo>
                <a:lnTo>
                  <a:pt x="102" y="894"/>
                </a:lnTo>
                <a:lnTo>
                  <a:pt x="96" y="896"/>
                </a:lnTo>
                <a:lnTo>
                  <a:pt x="93" y="900"/>
                </a:lnTo>
                <a:lnTo>
                  <a:pt x="91" y="904"/>
                </a:lnTo>
                <a:lnTo>
                  <a:pt x="88" y="908"/>
                </a:lnTo>
                <a:lnTo>
                  <a:pt x="87" y="913"/>
                </a:lnTo>
                <a:lnTo>
                  <a:pt x="88" y="920"/>
                </a:lnTo>
                <a:lnTo>
                  <a:pt x="90" y="925"/>
                </a:lnTo>
                <a:lnTo>
                  <a:pt x="91" y="931"/>
                </a:lnTo>
                <a:lnTo>
                  <a:pt x="93" y="935"/>
                </a:lnTo>
                <a:lnTo>
                  <a:pt x="95" y="939"/>
                </a:lnTo>
                <a:lnTo>
                  <a:pt x="99" y="941"/>
                </a:lnTo>
                <a:lnTo>
                  <a:pt x="103" y="943"/>
                </a:lnTo>
                <a:lnTo>
                  <a:pt x="108" y="943"/>
                </a:lnTo>
                <a:lnTo>
                  <a:pt x="94" y="993"/>
                </a:lnTo>
                <a:lnTo>
                  <a:pt x="91" y="992"/>
                </a:lnTo>
                <a:lnTo>
                  <a:pt x="82" y="990"/>
                </a:lnTo>
                <a:lnTo>
                  <a:pt x="75" y="988"/>
                </a:lnTo>
                <a:lnTo>
                  <a:pt x="74" y="987"/>
                </a:lnTo>
                <a:lnTo>
                  <a:pt x="74" y="820"/>
                </a:lnTo>
                <a:lnTo>
                  <a:pt x="74" y="810"/>
                </a:lnTo>
                <a:lnTo>
                  <a:pt x="73" y="801"/>
                </a:lnTo>
                <a:lnTo>
                  <a:pt x="71" y="793"/>
                </a:lnTo>
                <a:lnTo>
                  <a:pt x="70" y="785"/>
                </a:lnTo>
                <a:lnTo>
                  <a:pt x="64" y="774"/>
                </a:lnTo>
                <a:lnTo>
                  <a:pt x="58" y="765"/>
                </a:lnTo>
                <a:lnTo>
                  <a:pt x="52" y="755"/>
                </a:lnTo>
                <a:lnTo>
                  <a:pt x="47" y="744"/>
                </a:lnTo>
                <a:lnTo>
                  <a:pt x="45" y="738"/>
                </a:lnTo>
                <a:lnTo>
                  <a:pt x="42" y="729"/>
                </a:lnTo>
                <a:lnTo>
                  <a:pt x="41" y="720"/>
                </a:lnTo>
                <a:lnTo>
                  <a:pt x="41" y="709"/>
                </a:lnTo>
                <a:lnTo>
                  <a:pt x="51" y="704"/>
                </a:lnTo>
                <a:lnTo>
                  <a:pt x="72" y="690"/>
                </a:lnTo>
                <a:lnTo>
                  <a:pt x="95" y="675"/>
                </a:lnTo>
                <a:lnTo>
                  <a:pt x="108" y="666"/>
                </a:lnTo>
                <a:lnTo>
                  <a:pt x="107" y="653"/>
                </a:lnTo>
                <a:lnTo>
                  <a:pt x="106" y="636"/>
                </a:lnTo>
                <a:lnTo>
                  <a:pt x="106" y="627"/>
                </a:lnTo>
                <a:lnTo>
                  <a:pt x="108" y="617"/>
                </a:lnTo>
                <a:lnTo>
                  <a:pt x="109" y="614"/>
                </a:lnTo>
                <a:lnTo>
                  <a:pt x="110" y="610"/>
                </a:lnTo>
                <a:lnTo>
                  <a:pt x="113" y="607"/>
                </a:lnTo>
                <a:lnTo>
                  <a:pt x="115" y="604"/>
                </a:lnTo>
                <a:lnTo>
                  <a:pt x="129" y="591"/>
                </a:lnTo>
                <a:lnTo>
                  <a:pt x="149" y="571"/>
                </a:lnTo>
                <a:lnTo>
                  <a:pt x="159" y="558"/>
                </a:lnTo>
                <a:lnTo>
                  <a:pt x="166" y="546"/>
                </a:lnTo>
                <a:lnTo>
                  <a:pt x="170" y="539"/>
                </a:lnTo>
                <a:lnTo>
                  <a:pt x="172" y="532"/>
                </a:lnTo>
                <a:lnTo>
                  <a:pt x="174" y="526"/>
                </a:lnTo>
                <a:lnTo>
                  <a:pt x="174" y="519"/>
                </a:lnTo>
                <a:lnTo>
                  <a:pt x="174" y="498"/>
                </a:lnTo>
                <a:lnTo>
                  <a:pt x="172" y="479"/>
                </a:lnTo>
                <a:lnTo>
                  <a:pt x="170" y="460"/>
                </a:lnTo>
                <a:lnTo>
                  <a:pt x="168" y="441"/>
                </a:lnTo>
                <a:lnTo>
                  <a:pt x="165" y="423"/>
                </a:lnTo>
                <a:lnTo>
                  <a:pt x="163" y="404"/>
                </a:lnTo>
                <a:lnTo>
                  <a:pt x="161" y="384"/>
                </a:lnTo>
                <a:lnTo>
                  <a:pt x="161" y="364"/>
                </a:lnTo>
                <a:lnTo>
                  <a:pt x="152" y="364"/>
                </a:lnTo>
                <a:lnTo>
                  <a:pt x="142" y="363"/>
                </a:lnTo>
                <a:lnTo>
                  <a:pt x="132" y="361"/>
                </a:lnTo>
                <a:lnTo>
                  <a:pt x="122" y="358"/>
                </a:lnTo>
                <a:lnTo>
                  <a:pt x="102" y="350"/>
                </a:lnTo>
                <a:lnTo>
                  <a:pt x="81" y="341"/>
                </a:lnTo>
                <a:lnTo>
                  <a:pt x="42" y="323"/>
                </a:lnTo>
                <a:lnTo>
                  <a:pt x="15" y="30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300" name="Freeform 252"/>
          <p:cNvSpPr>
            <a:spLocks/>
          </p:cNvSpPr>
          <p:nvPr>
            <p:custDataLst>
              <p:tags r:id="rId179"/>
            </p:custDataLst>
          </p:nvPr>
        </p:nvSpPr>
        <p:spPr bwMode="auto">
          <a:xfrm>
            <a:off x="4494220" y="3176589"/>
            <a:ext cx="238125" cy="215504"/>
          </a:xfrm>
          <a:custGeom>
            <a:avLst/>
            <a:gdLst/>
            <a:ahLst/>
            <a:cxnLst>
              <a:cxn ang="0">
                <a:pos x="30" y="428"/>
              </a:cxn>
              <a:cxn ang="0">
                <a:pos x="46" y="454"/>
              </a:cxn>
              <a:cxn ang="0">
                <a:pos x="46" y="512"/>
              </a:cxn>
              <a:cxn ang="0">
                <a:pos x="48" y="527"/>
              </a:cxn>
              <a:cxn ang="0">
                <a:pos x="55" y="537"/>
              </a:cxn>
              <a:cxn ang="0">
                <a:pos x="68" y="545"/>
              </a:cxn>
              <a:cxn ang="0">
                <a:pos x="100" y="549"/>
              </a:cxn>
              <a:cxn ang="0">
                <a:pos x="113" y="546"/>
              </a:cxn>
              <a:cxn ang="0">
                <a:pos x="130" y="533"/>
              </a:cxn>
              <a:cxn ang="0">
                <a:pos x="143" y="507"/>
              </a:cxn>
              <a:cxn ang="0">
                <a:pos x="154" y="477"/>
              </a:cxn>
              <a:cxn ang="0">
                <a:pos x="169" y="454"/>
              </a:cxn>
              <a:cxn ang="0">
                <a:pos x="183" y="445"/>
              </a:cxn>
              <a:cxn ang="0">
                <a:pos x="201" y="444"/>
              </a:cxn>
              <a:cxn ang="0">
                <a:pos x="222" y="448"/>
              </a:cxn>
              <a:cxn ang="0">
                <a:pos x="252" y="461"/>
              </a:cxn>
              <a:cxn ang="0">
                <a:pos x="272" y="468"/>
              </a:cxn>
              <a:cxn ang="0">
                <a:pos x="297" y="469"/>
              </a:cxn>
              <a:cxn ang="0">
                <a:pos x="319" y="464"/>
              </a:cxn>
              <a:cxn ang="0">
                <a:pos x="332" y="453"/>
              </a:cxn>
              <a:cxn ang="0">
                <a:pos x="359" y="388"/>
              </a:cxn>
              <a:cxn ang="0">
                <a:pos x="382" y="363"/>
              </a:cxn>
              <a:cxn ang="0">
                <a:pos x="447" y="314"/>
              </a:cxn>
              <a:cxn ang="0">
                <a:pos x="527" y="264"/>
              </a:cxn>
              <a:cxn ang="0">
                <a:pos x="528" y="232"/>
              </a:cxn>
              <a:cxn ang="0">
                <a:pos x="503" y="218"/>
              </a:cxn>
              <a:cxn ang="0">
                <a:pos x="485" y="199"/>
              </a:cxn>
              <a:cxn ang="0">
                <a:pos x="460" y="157"/>
              </a:cxn>
              <a:cxn ang="0">
                <a:pos x="440" y="132"/>
              </a:cxn>
              <a:cxn ang="0">
                <a:pos x="377" y="76"/>
              </a:cxn>
              <a:cxn ang="0">
                <a:pos x="359" y="53"/>
              </a:cxn>
              <a:cxn ang="0">
                <a:pos x="348" y="24"/>
              </a:cxn>
              <a:cxn ang="0">
                <a:pos x="319" y="0"/>
              </a:cxn>
              <a:cxn ang="0">
                <a:pos x="244" y="2"/>
              </a:cxn>
              <a:cxn ang="0">
                <a:pos x="176" y="13"/>
              </a:cxn>
              <a:cxn ang="0">
                <a:pos x="95" y="22"/>
              </a:cxn>
              <a:cxn ang="0">
                <a:pos x="71" y="27"/>
              </a:cxn>
              <a:cxn ang="0">
                <a:pos x="67" y="38"/>
              </a:cxn>
              <a:cxn ang="0">
                <a:pos x="73" y="56"/>
              </a:cxn>
              <a:cxn ang="0">
                <a:pos x="84" y="74"/>
              </a:cxn>
              <a:cxn ang="0">
                <a:pos x="86" y="107"/>
              </a:cxn>
              <a:cxn ang="0">
                <a:pos x="74" y="171"/>
              </a:cxn>
              <a:cxn ang="0">
                <a:pos x="62" y="237"/>
              </a:cxn>
              <a:cxn ang="0">
                <a:pos x="47" y="263"/>
              </a:cxn>
              <a:cxn ang="0">
                <a:pos x="26" y="277"/>
              </a:cxn>
              <a:cxn ang="0">
                <a:pos x="5" y="307"/>
              </a:cxn>
              <a:cxn ang="0">
                <a:pos x="1" y="339"/>
              </a:cxn>
              <a:cxn ang="0">
                <a:pos x="8" y="367"/>
              </a:cxn>
              <a:cxn ang="0">
                <a:pos x="8" y="391"/>
              </a:cxn>
              <a:cxn ang="0">
                <a:pos x="0" y="408"/>
              </a:cxn>
            </a:cxnLst>
            <a:rect l="0" t="0" r="r" b="b"/>
            <a:pathLst>
              <a:path w="545" h="549">
                <a:moveTo>
                  <a:pt x="13" y="420"/>
                </a:moveTo>
                <a:lnTo>
                  <a:pt x="21" y="424"/>
                </a:lnTo>
                <a:lnTo>
                  <a:pt x="30" y="428"/>
                </a:lnTo>
                <a:lnTo>
                  <a:pt x="40" y="431"/>
                </a:lnTo>
                <a:lnTo>
                  <a:pt x="46" y="432"/>
                </a:lnTo>
                <a:lnTo>
                  <a:pt x="46" y="454"/>
                </a:lnTo>
                <a:lnTo>
                  <a:pt x="46" y="472"/>
                </a:lnTo>
                <a:lnTo>
                  <a:pt x="46" y="491"/>
                </a:lnTo>
                <a:lnTo>
                  <a:pt x="46" y="512"/>
                </a:lnTo>
                <a:lnTo>
                  <a:pt x="47" y="518"/>
                </a:lnTo>
                <a:lnTo>
                  <a:pt x="47" y="523"/>
                </a:lnTo>
                <a:lnTo>
                  <a:pt x="48" y="527"/>
                </a:lnTo>
                <a:lnTo>
                  <a:pt x="51" y="531"/>
                </a:lnTo>
                <a:lnTo>
                  <a:pt x="53" y="534"/>
                </a:lnTo>
                <a:lnTo>
                  <a:pt x="55" y="537"/>
                </a:lnTo>
                <a:lnTo>
                  <a:pt x="57" y="540"/>
                </a:lnTo>
                <a:lnTo>
                  <a:pt x="61" y="542"/>
                </a:lnTo>
                <a:lnTo>
                  <a:pt x="68" y="545"/>
                </a:lnTo>
                <a:lnTo>
                  <a:pt x="77" y="547"/>
                </a:lnTo>
                <a:lnTo>
                  <a:pt x="88" y="548"/>
                </a:lnTo>
                <a:lnTo>
                  <a:pt x="100" y="549"/>
                </a:lnTo>
                <a:lnTo>
                  <a:pt x="104" y="548"/>
                </a:lnTo>
                <a:lnTo>
                  <a:pt x="109" y="548"/>
                </a:lnTo>
                <a:lnTo>
                  <a:pt x="113" y="546"/>
                </a:lnTo>
                <a:lnTo>
                  <a:pt x="117" y="544"/>
                </a:lnTo>
                <a:lnTo>
                  <a:pt x="123" y="539"/>
                </a:lnTo>
                <a:lnTo>
                  <a:pt x="130" y="533"/>
                </a:lnTo>
                <a:lnTo>
                  <a:pt x="134" y="525"/>
                </a:lnTo>
                <a:lnTo>
                  <a:pt x="138" y="516"/>
                </a:lnTo>
                <a:lnTo>
                  <a:pt x="143" y="507"/>
                </a:lnTo>
                <a:lnTo>
                  <a:pt x="146" y="496"/>
                </a:lnTo>
                <a:lnTo>
                  <a:pt x="151" y="487"/>
                </a:lnTo>
                <a:lnTo>
                  <a:pt x="154" y="477"/>
                </a:lnTo>
                <a:lnTo>
                  <a:pt x="158" y="469"/>
                </a:lnTo>
                <a:lnTo>
                  <a:pt x="164" y="461"/>
                </a:lnTo>
                <a:lnTo>
                  <a:pt x="169" y="454"/>
                </a:lnTo>
                <a:lnTo>
                  <a:pt x="176" y="448"/>
                </a:lnTo>
                <a:lnTo>
                  <a:pt x="179" y="446"/>
                </a:lnTo>
                <a:lnTo>
                  <a:pt x="183" y="445"/>
                </a:lnTo>
                <a:lnTo>
                  <a:pt x="188" y="444"/>
                </a:lnTo>
                <a:lnTo>
                  <a:pt x="193" y="444"/>
                </a:lnTo>
                <a:lnTo>
                  <a:pt x="201" y="444"/>
                </a:lnTo>
                <a:lnTo>
                  <a:pt x="209" y="445"/>
                </a:lnTo>
                <a:lnTo>
                  <a:pt x="215" y="446"/>
                </a:lnTo>
                <a:lnTo>
                  <a:pt x="222" y="448"/>
                </a:lnTo>
                <a:lnTo>
                  <a:pt x="232" y="453"/>
                </a:lnTo>
                <a:lnTo>
                  <a:pt x="242" y="457"/>
                </a:lnTo>
                <a:lnTo>
                  <a:pt x="252" y="461"/>
                </a:lnTo>
                <a:lnTo>
                  <a:pt x="261" y="465"/>
                </a:lnTo>
                <a:lnTo>
                  <a:pt x="267" y="467"/>
                </a:lnTo>
                <a:lnTo>
                  <a:pt x="272" y="468"/>
                </a:lnTo>
                <a:lnTo>
                  <a:pt x="279" y="469"/>
                </a:lnTo>
                <a:lnTo>
                  <a:pt x="286" y="469"/>
                </a:lnTo>
                <a:lnTo>
                  <a:pt x="297" y="469"/>
                </a:lnTo>
                <a:lnTo>
                  <a:pt x="305" y="468"/>
                </a:lnTo>
                <a:lnTo>
                  <a:pt x="313" y="466"/>
                </a:lnTo>
                <a:lnTo>
                  <a:pt x="319" y="464"/>
                </a:lnTo>
                <a:lnTo>
                  <a:pt x="324" y="461"/>
                </a:lnTo>
                <a:lnTo>
                  <a:pt x="328" y="457"/>
                </a:lnTo>
                <a:lnTo>
                  <a:pt x="332" y="453"/>
                </a:lnTo>
                <a:lnTo>
                  <a:pt x="335" y="447"/>
                </a:lnTo>
                <a:lnTo>
                  <a:pt x="345" y="422"/>
                </a:lnTo>
                <a:lnTo>
                  <a:pt x="359" y="388"/>
                </a:lnTo>
                <a:lnTo>
                  <a:pt x="365" y="380"/>
                </a:lnTo>
                <a:lnTo>
                  <a:pt x="373" y="372"/>
                </a:lnTo>
                <a:lnTo>
                  <a:pt x="382" y="363"/>
                </a:lnTo>
                <a:lnTo>
                  <a:pt x="393" y="353"/>
                </a:lnTo>
                <a:lnTo>
                  <a:pt x="418" y="333"/>
                </a:lnTo>
                <a:lnTo>
                  <a:pt x="447" y="314"/>
                </a:lnTo>
                <a:lnTo>
                  <a:pt x="476" y="296"/>
                </a:lnTo>
                <a:lnTo>
                  <a:pt x="503" y="278"/>
                </a:lnTo>
                <a:lnTo>
                  <a:pt x="527" y="264"/>
                </a:lnTo>
                <a:lnTo>
                  <a:pt x="545" y="253"/>
                </a:lnTo>
                <a:lnTo>
                  <a:pt x="538" y="235"/>
                </a:lnTo>
                <a:lnTo>
                  <a:pt x="528" y="232"/>
                </a:lnTo>
                <a:lnTo>
                  <a:pt x="518" y="229"/>
                </a:lnTo>
                <a:lnTo>
                  <a:pt x="511" y="223"/>
                </a:lnTo>
                <a:lnTo>
                  <a:pt x="503" y="218"/>
                </a:lnTo>
                <a:lnTo>
                  <a:pt x="496" y="212"/>
                </a:lnTo>
                <a:lnTo>
                  <a:pt x="491" y="206"/>
                </a:lnTo>
                <a:lnTo>
                  <a:pt x="485" y="199"/>
                </a:lnTo>
                <a:lnTo>
                  <a:pt x="480" y="191"/>
                </a:lnTo>
                <a:lnTo>
                  <a:pt x="470" y="175"/>
                </a:lnTo>
                <a:lnTo>
                  <a:pt x="460" y="157"/>
                </a:lnTo>
                <a:lnTo>
                  <a:pt x="454" y="149"/>
                </a:lnTo>
                <a:lnTo>
                  <a:pt x="447" y="141"/>
                </a:lnTo>
                <a:lnTo>
                  <a:pt x="440" y="132"/>
                </a:lnTo>
                <a:lnTo>
                  <a:pt x="432" y="124"/>
                </a:lnTo>
                <a:lnTo>
                  <a:pt x="404" y="101"/>
                </a:lnTo>
                <a:lnTo>
                  <a:pt x="377" y="76"/>
                </a:lnTo>
                <a:lnTo>
                  <a:pt x="370" y="69"/>
                </a:lnTo>
                <a:lnTo>
                  <a:pt x="365" y="62"/>
                </a:lnTo>
                <a:lnTo>
                  <a:pt x="359" y="53"/>
                </a:lnTo>
                <a:lnTo>
                  <a:pt x="355" y="44"/>
                </a:lnTo>
                <a:lnTo>
                  <a:pt x="350" y="35"/>
                </a:lnTo>
                <a:lnTo>
                  <a:pt x="348" y="24"/>
                </a:lnTo>
                <a:lnTo>
                  <a:pt x="346" y="13"/>
                </a:lnTo>
                <a:lnTo>
                  <a:pt x="346" y="0"/>
                </a:lnTo>
                <a:lnTo>
                  <a:pt x="319" y="0"/>
                </a:lnTo>
                <a:lnTo>
                  <a:pt x="293" y="0"/>
                </a:lnTo>
                <a:lnTo>
                  <a:pt x="268" y="1"/>
                </a:lnTo>
                <a:lnTo>
                  <a:pt x="244" y="2"/>
                </a:lnTo>
                <a:lnTo>
                  <a:pt x="221" y="6"/>
                </a:lnTo>
                <a:lnTo>
                  <a:pt x="198" y="9"/>
                </a:lnTo>
                <a:lnTo>
                  <a:pt x="176" y="13"/>
                </a:lnTo>
                <a:lnTo>
                  <a:pt x="153" y="19"/>
                </a:lnTo>
                <a:lnTo>
                  <a:pt x="123" y="21"/>
                </a:lnTo>
                <a:lnTo>
                  <a:pt x="95" y="22"/>
                </a:lnTo>
                <a:lnTo>
                  <a:pt x="84" y="23"/>
                </a:lnTo>
                <a:lnTo>
                  <a:pt x="75" y="25"/>
                </a:lnTo>
                <a:lnTo>
                  <a:pt x="71" y="27"/>
                </a:lnTo>
                <a:lnTo>
                  <a:pt x="68" y="30"/>
                </a:lnTo>
                <a:lnTo>
                  <a:pt x="67" y="33"/>
                </a:lnTo>
                <a:lnTo>
                  <a:pt x="67" y="38"/>
                </a:lnTo>
                <a:lnTo>
                  <a:pt x="67" y="44"/>
                </a:lnTo>
                <a:lnTo>
                  <a:pt x="69" y="50"/>
                </a:lnTo>
                <a:lnTo>
                  <a:pt x="73" y="56"/>
                </a:lnTo>
                <a:lnTo>
                  <a:pt x="77" y="63"/>
                </a:lnTo>
                <a:lnTo>
                  <a:pt x="80" y="68"/>
                </a:lnTo>
                <a:lnTo>
                  <a:pt x="84" y="74"/>
                </a:lnTo>
                <a:lnTo>
                  <a:pt x="86" y="80"/>
                </a:lnTo>
                <a:lnTo>
                  <a:pt x="87" y="87"/>
                </a:lnTo>
                <a:lnTo>
                  <a:pt x="86" y="107"/>
                </a:lnTo>
                <a:lnTo>
                  <a:pt x="82" y="129"/>
                </a:lnTo>
                <a:lnTo>
                  <a:pt x="78" y="150"/>
                </a:lnTo>
                <a:lnTo>
                  <a:pt x="74" y="171"/>
                </a:lnTo>
                <a:lnTo>
                  <a:pt x="68" y="193"/>
                </a:lnTo>
                <a:lnTo>
                  <a:pt x="64" y="214"/>
                </a:lnTo>
                <a:lnTo>
                  <a:pt x="62" y="237"/>
                </a:lnTo>
                <a:lnTo>
                  <a:pt x="61" y="259"/>
                </a:lnTo>
                <a:lnTo>
                  <a:pt x="54" y="261"/>
                </a:lnTo>
                <a:lnTo>
                  <a:pt x="47" y="263"/>
                </a:lnTo>
                <a:lnTo>
                  <a:pt x="42" y="266"/>
                </a:lnTo>
                <a:lnTo>
                  <a:pt x="36" y="269"/>
                </a:lnTo>
                <a:lnTo>
                  <a:pt x="26" y="277"/>
                </a:lnTo>
                <a:lnTo>
                  <a:pt x="18" y="287"/>
                </a:lnTo>
                <a:lnTo>
                  <a:pt x="10" y="297"/>
                </a:lnTo>
                <a:lnTo>
                  <a:pt x="5" y="307"/>
                </a:lnTo>
                <a:lnTo>
                  <a:pt x="1" y="317"/>
                </a:lnTo>
                <a:lnTo>
                  <a:pt x="0" y="327"/>
                </a:lnTo>
                <a:lnTo>
                  <a:pt x="1" y="339"/>
                </a:lnTo>
                <a:lnTo>
                  <a:pt x="3" y="349"/>
                </a:lnTo>
                <a:lnTo>
                  <a:pt x="6" y="358"/>
                </a:lnTo>
                <a:lnTo>
                  <a:pt x="8" y="367"/>
                </a:lnTo>
                <a:lnTo>
                  <a:pt x="9" y="376"/>
                </a:lnTo>
                <a:lnTo>
                  <a:pt x="9" y="386"/>
                </a:lnTo>
                <a:lnTo>
                  <a:pt x="8" y="391"/>
                </a:lnTo>
                <a:lnTo>
                  <a:pt x="6" y="397"/>
                </a:lnTo>
                <a:lnTo>
                  <a:pt x="3" y="402"/>
                </a:lnTo>
                <a:lnTo>
                  <a:pt x="0" y="408"/>
                </a:lnTo>
                <a:lnTo>
                  <a:pt x="13" y="42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301" name="Freeform 253"/>
          <p:cNvSpPr>
            <a:spLocks/>
          </p:cNvSpPr>
          <p:nvPr>
            <p:custDataLst>
              <p:tags r:id="rId180"/>
            </p:custDataLst>
          </p:nvPr>
        </p:nvSpPr>
        <p:spPr bwMode="auto">
          <a:xfrm>
            <a:off x="5067300" y="3027769"/>
            <a:ext cx="196850" cy="326231"/>
          </a:xfrm>
          <a:custGeom>
            <a:avLst/>
            <a:gdLst/>
            <a:ahLst/>
            <a:cxnLst>
              <a:cxn ang="0">
                <a:pos x="112" y="261"/>
              </a:cxn>
              <a:cxn ang="0">
                <a:pos x="138" y="248"/>
              </a:cxn>
              <a:cxn ang="0">
                <a:pos x="165" y="240"/>
              </a:cxn>
              <a:cxn ang="0">
                <a:pos x="192" y="232"/>
              </a:cxn>
              <a:cxn ang="0">
                <a:pos x="215" y="217"/>
              </a:cxn>
              <a:cxn ang="0">
                <a:pos x="232" y="200"/>
              </a:cxn>
              <a:cxn ang="0">
                <a:pos x="232" y="179"/>
              </a:cxn>
              <a:cxn ang="0">
                <a:pos x="265" y="178"/>
              </a:cxn>
              <a:cxn ang="0">
                <a:pos x="282" y="173"/>
              </a:cxn>
              <a:cxn ang="0">
                <a:pos x="298" y="162"/>
              </a:cxn>
              <a:cxn ang="0">
                <a:pos x="320" y="133"/>
              </a:cxn>
              <a:cxn ang="0">
                <a:pos x="350" y="75"/>
              </a:cxn>
              <a:cxn ang="0">
                <a:pos x="378" y="0"/>
              </a:cxn>
              <a:cxn ang="0">
                <a:pos x="385" y="19"/>
              </a:cxn>
              <a:cxn ang="0">
                <a:pos x="407" y="47"/>
              </a:cxn>
              <a:cxn ang="0">
                <a:pos x="448" y="85"/>
              </a:cxn>
              <a:cxn ang="0">
                <a:pos x="440" y="103"/>
              </a:cxn>
              <a:cxn ang="0">
                <a:pos x="444" y="138"/>
              </a:cxn>
              <a:cxn ang="0">
                <a:pos x="452" y="185"/>
              </a:cxn>
              <a:cxn ang="0">
                <a:pos x="448" y="206"/>
              </a:cxn>
              <a:cxn ang="0">
                <a:pos x="428" y="234"/>
              </a:cxn>
              <a:cxn ang="0">
                <a:pos x="409" y="261"/>
              </a:cxn>
              <a:cxn ang="0">
                <a:pos x="405" y="283"/>
              </a:cxn>
              <a:cxn ang="0">
                <a:pos x="393" y="308"/>
              </a:cxn>
              <a:cxn ang="0">
                <a:pos x="383" y="318"/>
              </a:cxn>
              <a:cxn ang="0">
                <a:pos x="377" y="332"/>
              </a:cxn>
              <a:cxn ang="0">
                <a:pos x="368" y="364"/>
              </a:cxn>
              <a:cxn ang="0">
                <a:pos x="338" y="427"/>
              </a:cxn>
              <a:cxn ang="0">
                <a:pos x="321" y="470"/>
              </a:cxn>
              <a:cxn ang="0">
                <a:pos x="318" y="500"/>
              </a:cxn>
              <a:cxn ang="0">
                <a:pos x="310" y="531"/>
              </a:cxn>
              <a:cxn ang="0">
                <a:pos x="281" y="602"/>
              </a:cxn>
              <a:cxn ang="0">
                <a:pos x="260" y="637"/>
              </a:cxn>
              <a:cxn ang="0">
                <a:pos x="242" y="655"/>
              </a:cxn>
              <a:cxn ang="0">
                <a:pos x="232" y="660"/>
              </a:cxn>
              <a:cxn ang="0">
                <a:pos x="228" y="714"/>
              </a:cxn>
              <a:cxn ang="0">
                <a:pos x="215" y="759"/>
              </a:cxn>
              <a:cxn ang="0">
                <a:pos x="191" y="795"/>
              </a:cxn>
              <a:cxn ang="0">
                <a:pos x="157" y="819"/>
              </a:cxn>
              <a:cxn ang="0">
                <a:pos x="110" y="831"/>
              </a:cxn>
              <a:cxn ang="0">
                <a:pos x="80" y="827"/>
              </a:cxn>
              <a:cxn ang="0">
                <a:pos x="73" y="817"/>
              </a:cxn>
              <a:cxn ang="0">
                <a:pos x="50" y="810"/>
              </a:cxn>
              <a:cxn ang="0">
                <a:pos x="26" y="798"/>
              </a:cxn>
              <a:cxn ang="0">
                <a:pos x="12" y="777"/>
              </a:cxn>
              <a:cxn ang="0">
                <a:pos x="3" y="752"/>
              </a:cxn>
              <a:cxn ang="0">
                <a:pos x="0" y="708"/>
              </a:cxn>
              <a:cxn ang="0">
                <a:pos x="4" y="694"/>
              </a:cxn>
              <a:cxn ang="0">
                <a:pos x="19" y="678"/>
              </a:cxn>
              <a:cxn ang="0">
                <a:pos x="11" y="672"/>
              </a:cxn>
              <a:cxn ang="0">
                <a:pos x="0" y="652"/>
              </a:cxn>
              <a:cxn ang="0">
                <a:pos x="5" y="628"/>
              </a:cxn>
              <a:cxn ang="0">
                <a:pos x="8" y="610"/>
              </a:cxn>
              <a:cxn ang="0">
                <a:pos x="5" y="591"/>
              </a:cxn>
              <a:cxn ang="0">
                <a:pos x="18" y="587"/>
              </a:cxn>
              <a:cxn ang="0">
                <a:pos x="43" y="568"/>
              </a:cxn>
              <a:cxn ang="0">
                <a:pos x="63" y="538"/>
              </a:cxn>
              <a:cxn ang="0">
                <a:pos x="76" y="506"/>
              </a:cxn>
              <a:cxn ang="0">
                <a:pos x="86" y="462"/>
              </a:cxn>
              <a:cxn ang="0">
                <a:pos x="83" y="438"/>
              </a:cxn>
              <a:cxn ang="0">
                <a:pos x="70" y="408"/>
              </a:cxn>
              <a:cxn ang="0">
                <a:pos x="56" y="382"/>
              </a:cxn>
              <a:cxn ang="0">
                <a:pos x="53" y="363"/>
              </a:cxn>
            </a:cxnLst>
            <a:rect l="0" t="0" r="r" b="b"/>
            <a:pathLst>
              <a:path w="452" h="832">
                <a:moveTo>
                  <a:pt x="93" y="264"/>
                </a:moveTo>
                <a:lnTo>
                  <a:pt x="103" y="263"/>
                </a:lnTo>
                <a:lnTo>
                  <a:pt x="112" y="261"/>
                </a:lnTo>
                <a:lnTo>
                  <a:pt x="120" y="257"/>
                </a:lnTo>
                <a:lnTo>
                  <a:pt x="129" y="252"/>
                </a:lnTo>
                <a:lnTo>
                  <a:pt x="138" y="248"/>
                </a:lnTo>
                <a:lnTo>
                  <a:pt x="147" y="244"/>
                </a:lnTo>
                <a:lnTo>
                  <a:pt x="157" y="241"/>
                </a:lnTo>
                <a:lnTo>
                  <a:pt x="165" y="240"/>
                </a:lnTo>
                <a:lnTo>
                  <a:pt x="175" y="239"/>
                </a:lnTo>
                <a:lnTo>
                  <a:pt x="184" y="236"/>
                </a:lnTo>
                <a:lnTo>
                  <a:pt x="192" y="232"/>
                </a:lnTo>
                <a:lnTo>
                  <a:pt x="199" y="227"/>
                </a:lnTo>
                <a:lnTo>
                  <a:pt x="206" y="222"/>
                </a:lnTo>
                <a:lnTo>
                  <a:pt x="215" y="217"/>
                </a:lnTo>
                <a:lnTo>
                  <a:pt x="222" y="213"/>
                </a:lnTo>
                <a:lnTo>
                  <a:pt x="232" y="209"/>
                </a:lnTo>
                <a:lnTo>
                  <a:pt x="232" y="200"/>
                </a:lnTo>
                <a:lnTo>
                  <a:pt x="232" y="191"/>
                </a:lnTo>
                <a:lnTo>
                  <a:pt x="232" y="184"/>
                </a:lnTo>
                <a:lnTo>
                  <a:pt x="232" y="179"/>
                </a:lnTo>
                <a:lnTo>
                  <a:pt x="248" y="179"/>
                </a:lnTo>
                <a:lnTo>
                  <a:pt x="259" y="179"/>
                </a:lnTo>
                <a:lnTo>
                  <a:pt x="265" y="178"/>
                </a:lnTo>
                <a:lnTo>
                  <a:pt x="271" y="177"/>
                </a:lnTo>
                <a:lnTo>
                  <a:pt x="276" y="175"/>
                </a:lnTo>
                <a:lnTo>
                  <a:pt x="282" y="173"/>
                </a:lnTo>
                <a:lnTo>
                  <a:pt x="287" y="170"/>
                </a:lnTo>
                <a:lnTo>
                  <a:pt x="293" y="166"/>
                </a:lnTo>
                <a:lnTo>
                  <a:pt x="298" y="162"/>
                </a:lnTo>
                <a:lnTo>
                  <a:pt x="303" y="157"/>
                </a:lnTo>
                <a:lnTo>
                  <a:pt x="311" y="145"/>
                </a:lnTo>
                <a:lnTo>
                  <a:pt x="320" y="133"/>
                </a:lnTo>
                <a:lnTo>
                  <a:pt x="329" y="120"/>
                </a:lnTo>
                <a:lnTo>
                  <a:pt x="336" y="106"/>
                </a:lnTo>
                <a:lnTo>
                  <a:pt x="350" y="75"/>
                </a:lnTo>
                <a:lnTo>
                  <a:pt x="361" y="46"/>
                </a:lnTo>
                <a:lnTo>
                  <a:pt x="371" y="20"/>
                </a:lnTo>
                <a:lnTo>
                  <a:pt x="378" y="0"/>
                </a:lnTo>
                <a:lnTo>
                  <a:pt x="379" y="7"/>
                </a:lnTo>
                <a:lnTo>
                  <a:pt x="383" y="13"/>
                </a:lnTo>
                <a:lnTo>
                  <a:pt x="385" y="19"/>
                </a:lnTo>
                <a:lnTo>
                  <a:pt x="389" y="25"/>
                </a:lnTo>
                <a:lnTo>
                  <a:pt x="397" y="36"/>
                </a:lnTo>
                <a:lnTo>
                  <a:pt x="407" y="47"/>
                </a:lnTo>
                <a:lnTo>
                  <a:pt x="430" y="65"/>
                </a:lnTo>
                <a:lnTo>
                  <a:pt x="452" y="80"/>
                </a:lnTo>
                <a:lnTo>
                  <a:pt x="448" y="85"/>
                </a:lnTo>
                <a:lnTo>
                  <a:pt x="444" y="91"/>
                </a:lnTo>
                <a:lnTo>
                  <a:pt x="442" y="96"/>
                </a:lnTo>
                <a:lnTo>
                  <a:pt x="440" y="103"/>
                </a:lnTo>
                <a:lnTo>
                  <a:pt x="440" y="114"/>
                </a:lnTo>
                <a:lnTo>
                  <a:pt x="442" y="125"/>
                </a:lnTo>
                <a:lnTo>
                  <a:pt x="444" y="138"/>
                </a:lnTo>
                <a:lnTo>
                  <a:pt x="448" y="151"/>
                </a:lnTo>
                <a:lnTo>
                  <a:pt x="451" y="168"/>
                </a:lnTo>
                <a:lnTo>
                  <a:pt x="452" y="185"/>
                </a:lnTo>
                <a:lnTo>
                  <a:pt x="451" y="192"/>
                </a:lnTo>
                <a:lnTo>
                  <a:pt x="450" y="199"/>
                </a:lnTo>
                <a:lnTo>
                  <a:pt x="448" y="206"/>
                </a:lnTo>
                <a:lnTo>
                  <a:pt x="444" y="213"/>
                </a:lnTo>
                <a:lnTo>
                  <a:pt x="437" y="224"/>
                </a:lnTo>
                <a:lnTo>
                  <a:pt x="428" y="234"/>
                </a:lnTo>
                <a:lnTo>
                  <a:pt x="420" y="244"/>
                </a:lnTo>
                <a:lnTo>
                  <a:pt x="412" y="255"/>
                </a:lnTo>
                <a:lnTo>
                  <a:pt x="409" y="261"/>
                </a:lnTo>
                <a:lnTo>
                  <a:pt x="407" y="269"/>
                </a:lnTo>
                <a:lnTo>
                  <a:pt x="406" y="276"/>
                </a:lnTo>
                <a:lnTo>
                  <a:pt x="405" y="283"/>
                </a:lnTo>
                <a:lnTo>
                  <a:pt x="402" y="289"/>
                </a:lnTo>
                <a:lnTo>
                  <a:pt x="397" y="302"/>
                </a:lnTo>
                <a:lnTo>
                  <a:pt x="393" y="308"/>
                </a:lnTo>
                <a:lnTo>
                  <a:pt x="388" y="314"/>
                </a:lnTo>
                <a:lnTo>
                  <a:pt x="386" y="316"/>
                </a:lnTo>
                <a:lnTo>
                  <a:pt x="383" y="318"/>
                </a:lnTo>
                <a:lnTo>
                  <a:pt x="381" y="319"/>
                </a:lnTo>
                <a:lnTo>
                  <a:pt x="378" y="320"/>
                </a:lnTo>
                <a:lnTo>
                  <a:pt x="377" y="332"/>
                </a:lnTo>
                <a:lnTo>
                  <a:pt x="376" y="343"/>
                </a:lnTo>
                <a:lnTo>
                  <a:pt x="373" y="354"/>
                </a:lnTo>
                <a:lnTo>
                  <a:pt x="368" y="364"/>
                </a:lnTo>
                <a:lnTo>
                  <a:pt x="360" y="386"/>
                </a:lnTo>
                <a:lnTo>
                  <a:pt x="349" y="406"/>
                </a:lnTo>
                <a:lnTo>
                  <a:pt x="338" y="427"/>
                </a:lnTo>
                <a:lnTo>
                  <a:pt x="328" y="449"/>
                </a:lnTo>
                <a:lnTo>
                  <a:pt x="325" y="459"/>
                </a:lnTo>
                <a:lnTo>
                  <a:pt x="321" y="470"/>
                </a:lnTo>
                <a:lnTo>
                  <a:pt x="319" y="481"/>
                </a:lnTo>
                <a:lnTo>
                  <a:pt x="319" y="493"/>
                </a:lnTo>
                <a:lnTo>
                  <a:pt x="318" y="500"/>
                </a:lnTo>
                <a:lnTo>
                  <a:pt x="316" y="509"/>
                </a:lnTo>
                <a:lnTo>
                  <a:pt x="314" y="520"/>
                </a:lnTo>
                <a:lnTo>
                  <a:pt x="310" y="531"/>
                </a:lnTo>
                <a:lnTo>
                  <a:pt x="300" y="559"/>
                </a:lnTo>
                <a:lnTo>
                  <a:pt x="288" y="587"/>
                </a:lnTo>
                <a:lnTo>
                  <a:pt x="281" y="602"/>
                </a:lnTo>
                <a:lnTo>
                  <a:pt x="274" y="615"/>
                </a:lnTo>
                <a:lnTo>
                  <a:pt x="266" y="627"/>
                </a:lnTo>
                <a:lnTo>
                  <a:pt x="260" y="637"/>
                </a:lnTo>
                <a:lnTo>
                  <a:pt x="252" y="646"/>
                </a:lnTo>
                <a:lnTo>
                  <a:pt x="245" y="653"/>
                </a:lnTo>
                <a:lnTo>
                  <a:pt x="242" y="655"/>
                </a:lnTo>
                <a:lnTo>
                  <a:pt x="239" y="658"/>
                </a:lnTo>
                <a:lnTo>
                  <a:pt x="236" y="659"/>
                </a:lnTo>
                <a:lnTo>
                  <a:pt x="232" y="660"/>
                </a:lnTo>
                <a:lnTo>
                  <a:pt x="231" y="678"/>
                </a:lnTo>
                <a:lnTo>
                  <a:pt x="230" y="696"/>
                </a:lnTo>
                <a:lnTo>
                  <a:pt x="228" y="714"/>
                </a:lnTo>
                <a:lnTo>
                  <a:pt x="225" y="730"/>
                </a:lnTo>
                <a:lnTo>
                  <a:pt x="220" y="745"/>
                </a:lnTo>
                <a:lnTo>
                  <a:pt x="215" y="759"/>
                </a:lnTo>
                <a:lnTo>
                  <a:pt x="207" y="773"/>
                </a:lnTo>
                <a:lnTo>
                  <a:pt x="199" y="785"/>
                </a:lnTo>
                <a:lnTo>
                  <a:pt x="191" y="795"/>
                </a:lnTo>
                <a:lnTo>
                  <a:pt x="181" y="805"/>
                </a:lnTo>
                <a:lnTo>
                  <a:pt x="169" y="812"/>
                </a:lnTo>
                <a:lnTo>
                  <a:pt x="157" y="819"/>
                </a:lnTo>
                <a:lnTo>
                  <a:pt x="142" y="825"/>
                </a:lnTo>
                <a:lnTo>
                  <a:pt x="127" y="829"/>
                </a:lnTo>
                <a:lnTo>
                  <a:pt x="110" y="831"/>
                </a:lnTo>
                <a:lnTo>
                  <a:pt x="93" y="832"/>
                </a:lnTo>
                <a:lnTo>
                  <a:pt x="86" y="831"/>
                </a:lnTo>
                <a:lnTo>
                  <a:pt x="80" y="827"/>
                </a:lnTo>
                <a:lnTo>
                  <a:pt x="77" y="825"/>
                </a:lnTo>
                <a:lnTo>
                  <a:pt x="75" y="821"/>
                </a:lnTo>
                <a:lnTo>
                  <a:pt x="73" y="817"/>
                </a:lnTo>
                <a:lnTo>
                  <a:pt x="73" y="813"/>
                </a:lnTo>
                <a:lnTo>
                  <a:pt x="61" y="812"/>
                </a:lnTo>
                <a:lnTo>
                  <a:pt x="50" y="810"/>
                </a:lnTo>
                <a:lnTo>
                  <a:pt x="41" y="807"/>
                </a:lnTo>
                <a:lnTo>
                  <a:pt x="34" y="803"/>
                </a:lnTo>
                <a:lnTo>
                  <a:pt x="26" y="798"/>
                </a:lnTo>
                <a:lnTo>
                  <a:pt x="20" y="791"/>
                </a:lnTo>
                <a:lnTo>
                  <a:pt x="15" y="785"/>
                </a:lnTo>
                <a:lnTo>
                  <a:pt x="12" y="777"/>
                </a:lnTo>
                <a:lnTo>
                  <a:pt x="8" y="769"/>
                </a:lnTo>
                <a:lnTo>
                  <a:pt x="5" y="760"/>
                </a:lnTo>
                <a:lnTo>
                  <a:pt x="3" y="752"/>
                </a:lnTo>
                <a:lnTo>
                  <a:pt x="2" y="743"/>
                </a:lnTo>
                <a:lnTo>
                  <a:pt x="0" y="726"/>
                </a:lnTo>
                <a:lnTo>
                  <a:pt x="0" y="708"/>
                </a:lnTo>
                <a:lnTo>
                  <a:pt x="1" y="702"/>
                </a:lnTo>
                <a:lnTo>
                  <a:pt x="2" y="697"/>
                </a:lnTo>
                <a:lnTo>
                  <a:pt x="4" y="694"/>
                </a:lnTo>
                <a:lnTo>
                  <a:pt x="7" y="691"/>
                </a:lnTo>
                <a:lnTo>
                  <a:pt x="14" y="685"/>
                </a:lnTo>
                <a:lnTo>
                  <a:pt x="19" y="678"/>
                </a:lnTo>
                <a:lnTo>
                  <a:pt x="17" y="677"/>
                </a:lnTo>
                <a:lnTo>
                  <a:pt x="14" y="675"/>
                </a:lnTo>
                <a:lnTo>
                  <a:pt x="11" y="672"/>
                </a:lnTo>
                <a:lnTo>
                  <a:pt x="7" y="668"/>
                </a:lnTo>
                <a:lnTo>
                  <a:pt x="2" y="660"/>
                </a:lnTo>
                <a:lnTo>
                  <a:pt x="0" y="652"/>
                </a:lnTo>
                <a:lnTo>
                  <a:pt x="1" y="642"/>
                </a:lnTo>
                <a:lnTo>
                  <a:pt x="3" y="635"/>
                </a:lnTo>
                <a:lnTo>
                  <a:pt x="5" y="628"/>
                </a:lnTo>
                <a:lnTo>
                  <a:pt x="7" y="622"/>
                </a:lnTo>
                <a:lnTo>
                  <a:pt x="8" y="616"/>
                </a:lnTo>
                <a:lnTo>
                  <a:pt x="8" y="610"/>
                </a:lnTo>
                <a:lnTo>
                  <a:pt x="5" y="602"/>
                </a:lnTo>
                <a:lnTo>
                  <a:pt x="0" y="591"/>
                </a:lnTo>
                <a:lnTo>
                  <a:pt x="5" y="591"/>
                </a:lnTo>
                <a:lnTo>
                  <a:pt x="9" y="590"/>
                </a:lnTo>
                <a:lnTo>
                  <a:pt x="14" y="589"/>
                </a:lnTo>
                <a:lnTo>
                  <a:pt x="18" y="587"/>
                </a:lnTo>
                <a:lnTo>
                  <a:pt x="27" y="582"/>
                </a:lnTo>
                <a:lnTo>
                  <a:pt x="36" y="575"/>
                </a:lnTo>
                <a:lnTo>
                  <a:pt x="43" y="568"/>
                </a:lnTo>
                <a:lnTo>
                  <a:pt x="50" y="559"/>
                </a:lnTo>
                <a:lnTo>
                  <a:pt x="57" y="549"/>
                </a:lnTo>
                <a:lnTo>
                  <a:pt x="63" y="538"/>
                </a:lnTo>
                <a:lnTo>
                  <a:pt x="68" y="527"/>
                </a:lnTo>
                <a:lnTo>
                  <a:pt x="73" y="516"/>
                </a:lnTo>
                <a:lnTo>
                  <a:pt x="76" y="506"/>
                </a:lnTo>
                <a:lnTo>
                  <a:pt x="80" y="496"/>
                </a:lnTo>
                <a:lnTo>
                  <a:pt x="84" y="476"/>
                </a:lnTo>
                <a:lnTo>
                  <a:pt x="86" y="462"/>
                </a:lnTo>
                <a:lnTo>
                  <a:pt x="85" y="453"/>
                </a:lnTo>
                <a:lnTo>
                  <a:pt x="84" y="445"/>
                </a:lnTo>
                <a:lnTo>
                  <a:pt x="83" y="438"/>
                </a:lnTo>
                <a:lnTo>
                  <a:pt x="81" y="430"/>
                </a:lnTo>
                <a:lnTo>
                  <a:pt x="75" y="419"/>
                </a:lnTo>
                <a:lnTo>
                  <a:pt x="70" y="408"/>
                </a:lnTo>
                <a:lnTo>
                  <a:pt x="63" y="398"/>
                </a:lnTo>
                <a:lnTo>
                  <a:pt x="58" y="388"/>
                </a:lnTo>
                <a:lnTo>
                  <a:pt x="56" y="382"/>
                </a:lnTo>
                <a:lnTo>
                  <a:pt x="54" y="376"/>
                </a:lnTo>
                <a:lnTo>
                  <a:pt x="53" y="370"/>
                </a:lnTo>
                <a:lnTo>
                  <a:pt x="53" y="363"/>
                </a:lnTo>
                <a:lnTo>
                  <a:pt x="93" y="26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302" name="Freeform 254"/>
          <p:cNvSpPr>
            <a:spLocks/>
          </p:cNvSpPr>
          <p:nvPr>
            <p:custDataLst>
              <p:tags r:id="rId181"/>
            </p:custDataLst>
          </p:nvPr>
        </p:nvSpPr>
        <p:spPr bwMode="auto">
          <a:xfrm>
            <a:off x="4743452" y="2801544"/>
            <a:ext cx="36513" cy="50006"/>
          </a:xfrm>
          <a:custGeom>
            <a:avLst/>
            <a:gdLst/>
            <a:ahLst/>
            <a:cxnLst>
              <a:cxn ang="0">
                <a:pos x="80" y="2"/>
              </a:cxn>
              <a:cxn ang="0">
                <a:pos x="80" y="101"/>
              </a:cxn>
              <a:cxn ang="0">
                <a:pos x="78" y="104"/>
              </a:cxn>
              <a:cxn ang="0">
                <a:pos x="75" y="107"/>
              </a:cxn>
              <a:cxn ang="0">
                <a:pos x="70" y="109"/>
              </a:cxn>
              <a:cxn ang="0">
                <a:pos x="67" y="111"/>
              </a:cxn>
              <a:cxn ang="0">
                <a:pos x="58" y="114"/>
              </a:cxn>
              <a:cxn ang="0">
                <a:pos x="48" y="116"/>
              </a:cxn>
              <a:cxn ang="0">
                <a:pos x="36" y="117"/>
              </a:cxn>
              <a:cxn ang="0">
                <a:pos x="25" y="119"/>
              </a:cxn>
              <a:cxn ang="0">
                <a:pos x="13" y="123"/>
              </a:cxn>
              <a:cxn ang="0">
                <a:pos x="0" y="126"/>
              </a:cxn>
              <a:cxn ang="0">
                <a:pos x="7" y="40"/>
              </a:cxn>
              <a:cxn ang="0">
                <a:pos x="23" y="27"/>
              </a:cxn>
              <a:cxn ang="0">
                <a:pos x="41" y="12"/>
              </a:cxn>
              <a:cxn ang="0">
                <a:pos x="51" y="5"/>
              </a:cxn>
              <a:cxn ang="0">
                <a:pos x="60" y="1"/>
              </a:cxn>
              <a:cxn ang="0">
                <a:pos x="65" y="0"/>
              </a:cxn>
              <a:cxn ang="0">
                <a:pos x="70" y="0"/>
              </a:cxn>
              <a:cxn ang="0">
                <a:pos x="75" y="1"/>
              </a:cxn>
              <a:cxn ang="0">
                <a:pos x="80" y="2"/>
              </a:cxn>
            </a:cxnLst>
            <a:rect l="0" t="0" r="r" b="b"/>
            <a:pathLst>
              <a:path w="80" h="126">
                <a:moveTo>
                  <a:pt x="80" y="2"/>
                </a:moveTo>
                <a:lnTo>
                  <a:pt x="80" y="101"/>
                </a:lnTo>
                <a:lnTo>
                  <a:pt x="78" y="104"/>
                </a:lnTo>
                <a:lnTo>
                  <a:pt x="75" y="107"/>
                </a:lnTo>
                <a:lnTo>
                  <a:pt x="70" y="109"/>
                </a:lnTo>
                <a:lnTo>
                  <a:pt x="67" y="111"/>
                </a:lnTo>
                <a:lnTo>
                  <a:pt x="58" y="114"/>
                </a:lnTo>
                <a:lnTo>
                  <a:pt x="48" y="116"/>
                </a:lnTo>
                <a:lnTo>
                  <a:pt x="36" y="117"/>
                </a:lnTo>
                <a:lnTo>
                  <a:pt x="25" y="119"/>
                </a:lnTo>
                <a:lnTo>
                  <a:pt x="13" y="123"/>
                </a:lnTo>
                <a:lnTo>
                  <a:pt x="0" y="126"/>
                </a:lnTo>
                <a:lnTo>
                  <a:pt x="7" y="40"/>
                </a:lnTo>
                <a:lnTo>
                  <a:pt x="23" y="27"/>
                </a:lnTo>
                <a:lnTo>
                  <a:pt x="41" y="12"/>
                </a:lnTo>
                <a:lnTo>
                  <a:pt x="51" y="5"/>
                </a:lnTo>
                <a:lnTo>
                  <a:pt x="60" y="1"/>
                </a:lnTo>
                <a:lnTo>
                  <a:pt x="65" y="0"/>
                </a:lnTo>
                <a:lnTo>
                  <a:pt x="70" y="0"/>
                </a:lnTo>
                <a:lnTo>
                  <a:pt x="75" y="1"/>
                </a:lnTo>
                <a:lnTo>
                  <a:pt x="80" y="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303" name="Freeform 255"/>
          <p:cNvSpPr>
            <a:spLocks/>
          </p:cNvSpPr>
          <p:nvPr>
            <p:custDataLst>
              <p:tags r:id="rId182"/>
            </p:custDataLst>
          </p:nvPr>
        </p:nvSpPr>
        <p:spPr bwMode="auto">
          <a:xfrm>
            <a:off x="4732338" y="2771780"/>
            <a:ext cx="55562" cy="45244"/>
          </a:xfrm>
          <a:custGeom>
            <a:avLst/>
            <a:gdLst/>
            <a:ahLst/>
            <a:cxnLst>
              <a:cxn ang="0">
                <a:pos x="113" y="0"/>
              </a:cxn>
              <a:cxn ang="0">
                <a:pos x="116" y="15"/>
              </a:cxn>
              <a:cxn ang="0">
                <a:pos x="122" y="35"/>
              </a:cxn>
              <a:cxn ang="0">
                <a:pos x="124" y="45"/>
              </a:cxn>
              <a:cxn ang="0">
                <a:pos x="124" y="54"/>
              </a:cxn>
              <a:cxn ang="0">
                <a:pos x="124" y="59"/>
              </a:cxn>
              <a:cxn ang="0">
                <a:pos x="123" y="64"/>
              </a:cxn>
              <a:cxn ang="0">
                <a:pos x="122" y="69"/>
              </a:cxn>
              <a:cxn ang="0">
                <a:pos x="119" y="73"/>
              </a:cxn>
              <a:cxn ang="0">
                <a:pos x="114" y="72"/>
              </a:cxn>
              <a:cxn ang="0">
                <a:pos x="108" y="71"/>
              </a:cxn>
              <a:cxn ang="0">
                <a:pos x="103" y="72"/>
              </a:cxn>
              <a:cxn ang="0">
                <a:pos x="96" y="73"/>
              </a:cxn>
              <a:cxn ang="0">
                <a:pos x="83" y="78"/>
              </a:cxn>
              <a:cxn ang="0">
                <a:pos x="71" y="85"/>
              </a:cxn>
              <a:cxn ang="0">
                <a:pos x="46" y="103"/>
              </a:cxn>
              <a:cxn ang="0">
                <a:pos x="26" y="117"/>
              </a:cxn>
              <a:cxn ang="0">
                <a:pos x="23" y="112"/>
              </a:cxn>
              <a:cxn ang="0">
                <a:pos x="13" y="101"/>
              </a:cxn>
              <a:cxn ang="0">
                <a:pos x="4" y="89"/>
              </a:cxn>
              <a:cxn ang="0">
                <a:pos x="0" y="79"/>
              </a:cxn>
              <a:cxn ang="0">
                <a:pos x="1" y="76"/>
              </a:cxn>
              <a:cxn ang="0">
                <a:pos x="2" y="72"/>
              </a:cxn>
              <a:cxn ang="0">
                <a:pos x="5" y="67"/>
              </a:cxn>
              <a:cxn ang="0">
                <a:pos x="9" y="62"/>
              </a:cxn>
              <a:cxn ang="0">
                <a:pos x="17" y="52"/>
              </a:cxn>
              <a:cxn ang="0">
                <a:pos x="27" y="42"/>
              </a:cxn>
              <a:cxn ang="0">
                <a:pos x="48" y="22"/>
              </a:cxn>
              <a:cxn ang="0">
                <a:pos x="60" y="12"/>
              </a:cxn>
              <a:cxn ang="0">
                <a:pos x="73" y="12"/>
              </a:cxn>
              <a:cxn ang="0">
                <a:pos x="86" y="12"/>
              </a:cxn>
              <a:cxn ang="0">
                <a:pos x="100" y="6"/>
              </a:cxn>
              <a:cxn ang="0">
                <a:pos x="113" y="0"/>
              </a:cxn>
            </a:cxnLst>
            <a:rect l="0" t="0" r="r" b="b"/>
            <a:pathLst>
              <a:path w="124" h="117">
                <a:moveTo>
                  <a:pt x="113" y="0"/>
                </a:moveTo>
                <a:lnTo>
                  <a:pt x="116" y="15"/>
                </a:lnTo>
                <a:lnTo>
                  <a:pt x="122" y="35"/>
                </a:lnTo>
                <a:lnTo>
                  <a:pt x="124" y="45"/>
                </a:lnTo>
                <a:lnTo>
                  <a:pt x="124" y="54"/>
                </a:lnTo>
                <a:lnTo>
                  <a:pt x="124" y="59"/>
                </a:lnTo>
                <a:lnTo>
                  <a:pt x="123" y="64"/>
                </a:lnTo>
                <a:lnTo>
                  <a:pt x="122" y="69"/>
                </a:lnTo>
                <a:lnTo>
                  <a:pt x="119" y="73"/>
                </a:lnTo>
                <a:lnTo>
                  <a:pt x="114" y="72"/>
                </a:lnTo>
                <a:lnTo>
                  <a:pt x="108" y="71"/>
                </a:lnTo>
                <a:lnTo>
                  <a:pt x="103" y="72"/>
                </a:lnTo>
                <a:lnTo>
                  <a:pt x="96" y="73"/>
                </a:lnTo>
                <a:lnTo>
                  <a:pt x="83" y="78"/>
                </a:lnTo>
                <a:lnTo>
                  <a:pt x="71" y="85"/>
                </a:lnTo>
                <a:lnTo>
                  <a:pt x="46" y="103"/>
                </a:lnTo>
                <a:lnTo>
                  <a:pt x="26" y="117"/>
                </a:lnTo>
                <a:lnTo>
                  <a:pt x="23" y="112"/>
                </a:lnTo>
                <a:lnTo>
                  <a:pt x="13" y="101"/>
                </a:lnTo>
                <a:lnTo>
                  <a:pt x="4" y="89"/>
                </a:lnTo>
                <a:lnTo>
                  <a:pt x="0" y="79"/>
                </a:lnTo>
                <a:lnTo>
                  <a:pt x="1" y="76"/>
                </a:lnTo>
                <a:lnTo>
                  <a:pt x="2" y="72"/>
                </a:lnTo>
                <a:lnTo>
                  <a:pt x="5" y="67"/>
                </a:lnTo>
                <a:lnTo>
                  <a:pt x="9" y="62"/>
                </a:lnTo>
                <a:lnTo>
                  <a:pt x="17" y="52"/>
                </a:lnTo>
                <a:lnTo>
                  <a:pt x="27" y="42"/>
                </a:lnTo>
                <a:lnTo>
                  <a:pt x="48" y="22"/>
                </a:lnTo>
                <a:lnTo>
                  <a:pt x="60" y="12"/>
                </a:lnTo>
                <a:lnTo>
                  <a:pt x="73" y="12"/>
                </a:lnTo>
                <a:lnTo>
                  <a:pt x="86" y="12"/>
                </a:lnTo>
                <a:lnTo>
                  <a:pt x="100" y="6"/>
                </a:lnTo>
                <a:lnTo>
                  <a:pt x="1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304" name="Freeform 256"/>
          <p:cNvSpPr>
            <a:spLocks/>
          </p:cNvSpPr>
          <p:nvPr>
            <p:custDataLst>
              <p:tags r:id="rId183"/>
            </p:custDataLst>
          </p:nvPr>
        </p:nvSpPr>
        <p:spPr bwMode="auto">
          <a:xfrm>
            <a:off x="5041900" y="1796661"/>
            <a:ext cx="503238" cy="354806"/>
          </a:xfrm>
          <a:custGeom>
            <a:avLst/>
            <a:gdLst/>
            <a:ahLst/>
            <a:cxnLst>
              <a:cxn ang="0">
                <a:pos x="928" y="191"/>
              </a:cxn>
              <a:cxn ang="0">
                <a:pos x="859" y="162"/>
              </a:cxn>
              <a:cxn ang="0">
                <a:pos x="773" y="111"/>
              </a:cxn>
              <a:cxn ang="0">
                <a:pos x="617" y="104"/>
              </a:cxn>
              <a:cxn ang="0">
                <a:pos x="551" y="154"/>
              </a:cxn>
              <a:cxn ang="0">
                <a:pos x="504" y="179"/>
              </a:cxn>
              <a:cxn ang="0">
                <a:pos x="426" y="197"/>
              </a:cxn>
              <a:cxn ang="0">
                <a:pos x="383" y="199"/>
              </a:cxn>
              <a:cxn ang="0">
                <a:pos x="355" y="173"/>
              </a:cxn>
              <a:cxn ang="0">
                <a:pos x="260" y="136"/>
              </a:cxn>
              <a:cxn ang="0">
                <a:pos x="228" y="86"/>
              </a:cxn>
              <a:cxn ang="0">
                <a:pos x="220" y="23"/>
              </a:cxn>
              <a:cxn ang="0">
                <a:pos x="188" y="1"/>
              </a:cxn>
              <a:cxn ang="0">
                <a:pos x="155" y="21"/>
              </a:cxn>
              <a:cxn ang="0">
                <a:pos x="136" y="67"/>
              </a:cxn>
              <a:cxn ang="0">
                <a:pos x="79" y="54"/>
              </a:cxn>
              <a:cxn ang="0">
                <a:pos x="4" y="16"/>
              </a:cxn>
              <a:cxn ang="0">
                <a:pos x="5" y="72"/>
              </a:cxn>
              <a:cxn ang="0">
                <a:pos x="45" y="146"/>
              </a:cxn>
              <a:cxn ang="0">
                <a:pos x="73" y="205"/>
              </a:cxn>
              <a:cxn ang="0">
                <a:pos x="135" y="284"/>
              </a:cxn>
              <a:cxn ang="0">
                <a:pos x="122" y="316"/>
              </a:cxn>
              <a:cxn ang="0">
                <a:pos x="133" y="370"/>
              </a:cxn>
              <a:cxn ang="0">
                <a:pos x="188" y="428"/>
              </a:cxn>
              <a:cxn ang="0">
                <a:pos x="259" y="456"/>
              </a:cxn>
              <a:cxn ang="0">
                <a:pos x="259" y="524"/>
              </a:cxn>
              <a:cxn ang="0">
                <a:pos x="335" y="581"/>
              </a:cxn>
              <a:cxn ang="0">
                <a:pos x="423" y="664"/>
              </a:cxn>
              <a:cxn ang="0">
                <a:pos x="471" y="720"/>
              </a:cxn>
              <a:cxn ang="0">
                <a:pos x="504" y="733"/>
              </a:cxn>
              <a:cxn ang="0">
                <a:pos x="542" y="755"/>
              </a:cxn>
              <a:cxn ang="0">
                <a:pos x="598" y="787"/>
              </a:cxn>
              <a:cxn ang="0">
                <a:pos x="685" y="795"/>
              </a:cxn>
              <a:cxn ang="0">
                <a:pos x="732" y="780"/>
              </a:cxn>
              <a:cxn ang="0">
                <a:pos x="779" y="764"/>
              </a:cxn>
              <a:cxn ang="0">
                <a:pos x="801" y="796"/>
              </a:cxn>
              <a:cxn ang="0">
                <a:pos x="813" y="857"/>
              </a:cxn>
              <a:cxn ang="0">
                <a:pos x="874" y="874"/>
              </a:cxn>
              <a:cxn ang="0">
                <a:pos x="1011" y="892"/>
              </a:cxn>
              <a:cxn ang="0">
                <a:pos x="1091" y="879"/>
              </a:cxn>
              <a:cxn ang="0">
                <a:pos x="1099" y="831"/>
              </a:cxn>
              <a:cxn ang="0">
                <a:pos x="1156" y="770"/>
              </a:cxn>
              <a:cxn ang="0">
                <a:pos x="1132" y="750"/>
              </a:cxn>
              <a:cxn ang="0">
                <a:pos x="1096" y="708"/>
              </a:cxn>
              <a:cxn ang="0">
                <a:pos x="1031" y="643"/>
              </a:cxn>
              <a:cxn ang="0">
                <a:pos x="1018" y="603"/>
              </a:cxn>
              <a:cxn ang="0">
                <a:pos x="1044" y="559"/>
              </a:cxn>
              <a:cxn ang="0">
                <a:pos x="1048" y="526"/>
              </a:cxn>
              <a:cxn ang="0">
                <a:pos x="1030" y="512"/>
              </a:cxn>
              <a:cxn ang="0">
                <a:pos x="983" y="507"/>
              </a:cxn>
              <a:cxn ang="0">
                <a:pos x="954" y="453"/>
              </a:cxn>
              <a:cxn ang="0">
                <a:pos x="937" y="373"/>
              </a:cxn>
              <a:cxn ang="0">
                <a:pos x="924" y="357"/>
              </a:cxn>
              <a:cxn ang="0">
                <a:pos x="940" y="334"/>
              </a:cxn>
              <a:cxn ang="0">
                <a:pos x="960" y="293"/>
              </a:cxn>
            </a:cxnLst>
            <a:rect l="0" t="0" r="r" b="b"/>
            <a:pathLst>
              <a:path w="1156" h="900">
                <a:moveTo>
                  <a:pt x="963" y="271"/>
                </a:moveTo>
                <a:lnTo>
                  <a:pt x="954" y="252"/>
                </a:lnTo>
                <a:lnTo>
                  <a:pt x="948" y="234"/>
                </a:lnTo>
                <a:lnTo>
                  <a:pt x="941" y="213"/>
                </a:lnTo>
                <a:lnTo>
                  <a:pt x="937" y="191"/>
                </a:lnTo>
                <a:lnTo>
                  <a:pt x="928" y="191"/>
                </a:lnTo>
                <a:lnTo>
                  <a:pt x="920" y="190"/>
                </a:lnTo>
                <a:lnTo>
                  <a:pt x="913" y="189"/>
                </a:lnTo>
                <a:lnTo>
                  <a:pt x="906" y="187"/>
                </a:lnTo>
                <a:lnTo>
                  <a:pt x="893" y="183"/>
                </a:lnTo>
                <a:lnTo>
                  <a:pt x="881" y="177"/>
                </a:lnTo>
                <a:lnTo>
                  <a:pt x="859" y="162"/>
                </a:lnTo>
                <a:lnTo>
                  <a:pt x="839" y="145"/>
                </a:lnTo>
                <a:lnTo>
                  <a:pt x="828" y="137"/>
                </a:lnTo>
                <a:lnTo>
                  <a:pt x="816" y="129"/>
                </a:lnTo>
                <a:lnTo>
                  <a:pt x="803" y="122"/>
                </a:lnTo>
                <a:lnTo>
                  <a:pt x="789" y="116"/>
                </a:lnTo>
                <a:lnTo>
                  <a:pt x="773" y="111"/>
                </a:lnTo>
                <a:lnTo>
                  <a:pt x="755" y="106"/>
                </a:lnTo>
                <a:lnTo>
                  <a:pt x="745" y="105"/>
                </a:lnTo>
                <a:lnTo>
                  <a:pt x="734" y="104"/>
                </a:lnTo>
                <a:lnTo>
                  <a:pt x="723" y="104"/>
                </a:lnTo>
                <a:lnTo>
                  <a:pt x="711" y="104"/>
                </a:lnTo>
                <a:lnTo>
                  <a:pt x="617" y="104"/>
                </a:lnTo>
                <a:lnTo>
                  <a:pt x="609" y="113"/>
                </a:lnTo>
                <a:lnTo>
                  <a:pt x="587" y="129"/>
                </a:lnTo>
                <a:lnTo>
                  <a:pt x="576" y="138"/>
                </a:lnTo>
                <a:lnTo>
                  <a:pt x="565" y="146"/>
                </a:lnTo>
                <a:lnTo>
                  <a:pt x="556" y="152"/>
                </a:lnTo>
                <a:lnTo>
                  <a:pt x="551" y="154"/>
                </a:lnTo>
                <a:lnTo>
                  <a:pt x="542" y="155"/>
                </a:lnTo>
                <a:lnTo>
                  <a:pt x="532" y="157"/>
                </a:lnTo>
                <a:lnTo>
                  <a:pt x="522" y="159"/>
                </a:lnTo>
                <a:lnTo>
                  <a:pt x="512" y="160"/>
                </a:lnTo>
                <a:lnTo>
                  <a:pt x="518" y="173"/>
                </a:lnTo>
                <a:lnTo>
                  <a:pt x="504" y="179"/>
                </a:lnTo>
                <a:lnTo>
                  <a:pt x="490" y="184"/>
                </a:lnTo>
                <a:lnTo>
                  <a:pt x="478" y="188"/>
                </a:lnTo>
                <a:lnTo>
                  <a:pt x="465" y="192"/>
                </a:lnTo>
                <a:lnTo>
                  <a:pt x="453" y="194"/>
                </a:lnTo>
                <a:lnTo>
                  <a:pt x="439" y="196"/>
                </a:lnTo>
                <a:lnTo>
                  <a:pt x="426" y="197"/>
                </a:lnTo>
                <a:lnTo>
                  <a:pt x="412" y="197"/>
                </a:lnTo>
                <a:lnTo>
                  <a:pt x="405" y="198"/>
                </a:lnTo>
                <a:lnTo>
                  <a:pt x="398" y="199"/>
                </a:lnTo>
                <a:lnTo>
                  <a:pt x="393" y="200"/>
                </a:lnTo>
                <a:lnTo>
                  <a:pt x="389" y="200"/>
                </a:lnTo>
                <a:lnTo>
                  <a:pt x="383" y="199"/>
                </a:lnTo>
                <a:lnTo>
                  <a:pt x="379" y="197"/>
                </a:lnTo>
                <a:lnTo>
                  <a:pt x="371" y="194"/>
                </a:lnTo>
                <a:lnTo>
                  <a:pt x="367" y="190"/>
                </a:lnTo>
                <a:lnTo>
                  <a:pt x="363" y="184"/>
                </a:lnTo>
                <a:lnTo>
                  <a:pt x="358" y="179"/>
                </a:lnTo>
                <a:lnTo>
                  <a:pt x="355" y="173"/>
                </a:lnTo>
                <a:lnTo>
                  <a:pt x="351" y="168"/>
                </a:lnTo>
                <a:lnTo>
                  <a:pt x="345" y="163"/>
                </a:lnTo>
                <a:lnTo>
                  <a:pt x="338" y="160"/>
                </a:lnTo>
                <a:lnTo>
                  <a:pt x="316" y="153"/>
                </a:lnTo>
                <a:lnTo>
                  <a:pt x="280" y="142"/>
                </a:lnTo>
                <a:lnTo>
                  <a:pt x="260" y="136"/>
                </a:lnTo>
                <a:lnTo>
                  <a:pt x="244" y="128"/>
                </a:lnTo>
                <a:lnTo>
                  <a:pt x="237" y="124"/>
                </a:lnTo>
                <a:lnTo>
                  <a:pt x="232" y="120"/>
                </a:lnTo>
                <a:lnTo>
                  <a:pt x="228" y="116"/>
                </a:lnTo>
                <a:lnTo>
                  <a:pt x="225" y="111"/>
                </a:lnTo>
                <a:lnTo>
                  <a:pt x="228" y="86"/>
                </a:lnTo>
                <a:lnTo>
                  <a:pt x="228" y="65"/>
                </a:lnTo>
                <a:lnTo>
                  <a:pt x="228" y="56"/>
                </a:lnTo>
                <a:lnTo>
                  <a:pt x="226" y="46"/>
                </a:lnTo>
                <a:lnTo>
                  <a:pt x="224" y="37"/>
                </a:lnTo>
                <a:lnTo>
                  <a:pt x="222" y="30"/>
                </a:lnTo>
                <a:lnTo>
                  <a:pt x="220" y="23"/>
                </a:lnTo>
                <a:lnTo>
                  <a:pt x="217" y="17"/>
                </a:lnTo>
                <a:lnTo>
                  <a:pt x="212" y="12"/>
                </a:lnTo>
                <a:lnTo>
                  <a:pt x="207" y="8"/>
                </a:lnTo>
                <a:lnTo>
                  <a:pt x="201" y="5"/>
                </a:lnTo>
                <a:lnTo>
                  <a:pt x="195" y="2"/>
                </a:lnTo>
                <a:lnTo>
                  <a:pt x="188" y="1"/>
                </a:lnTo>
                <a:lnTo>
                  <a:pt x="179" y="0"/>
                </a:lnTo>
                <a:lnTo>
                  <a:pt x="174" y="1"/>
                </a:lnTo>
                <a:lnTo>
                  <a:pt x="168" y="3"/>
                </a:lnTo>
                <a:lnTo>
                  <a:pt x="164" y="7"/>
                </a:lnTo>
                <a:lnTo>
                  <a:pt x="161" y="11"/>
                </a:lnTo>
                <a:lnTo>
                  <a:pt x="155" y="21"/>
                </a:lnTo>
                <a:lnTo>
                  <a:pt x="151" y="34"/>
                </a:lnTo>
                <a:lnTo>
                  <a:pt x="147" y="46"/>
                </a:lnTo>
                <a:lnTo>
                  <a:pt x="144" y="57"/>
                </a:lnTo>
                <a:lnTo>
                  <a:pt x="142" y="62"/>
                </a:lnTo>
                <a:lnTo>
                  <a:pt x="139" y="65"/>
                </a:lnTo>
                <a:lnTo>
                  <a:pt x="136" y="67"/>
                </a:lnTo>
                <a:lnTo>
                  <a:pt x="133" y="68"/>
                </a:lnTo>
                <a:lnTo>
                  <a:pt x="125" y="68"/>
                </a:lnTo>
                <a:lnTo>
                  <a:pt x="118" y="66"/>
                </a:lnTo>
                <a:lnTo>
                  <a:pt x="109" y="64"/>
                </a:lnTo>
                <a:lnTo>
                  <a:pt x="100" y="62"/>
                </a:lnTo>
                <a:lnTo>
                  <a:pt x="79" y="54"/>
                </a:lnTo>
                <a:lnTo>
                  <a:pt x="58" y="46"/>
                </a:lnTo>
                <a:lnTo>
                  <a:pt x="39" y="38"/>
                </a:lnTo>
                <a:lnTo>
                  <a:pt x="21" y="29"/>
                </a:lnTo>
                <a:lnTo>
                  <a:pt x="15" y="24"/>
                </a:lnTo>
                <a:lnTo>
                  <a:pt x="8" y="20"/>
                </a:lnTo>
                <a:lnTo>
                  <a:pt x="4" y="16"/>
                </a:lnTo>
                <a:lnTo>
                  <a:pt x="0" y="12"/>
                </a:lnTo>
                <a:lnTo>
                  <a:pt x="0" y="25"/>
                </a:lnTo>
                <a:lnTo>
                  <a:pt x="0" y="37"/>
                </a:lnTo>
                <a:lnTo>
                  <a:pt x="0" y="49"/>
                </a:lnTo>
                <a:lnTo>
                  <a:pt x="1" y="62"/>
                </a:lnTo>
                <a:lnTo>
                  <a:pt x="5" y="72"/>
                </a:lnTo>
                <a:lnTo>
                  <a:pt x="7" y="81"/>
                </a:lnTo>
                <a:lnTo>
                  <a:pt x="15" y="96"/>
                </a:lnTo>
                <a:lnTo>
                  <a:pt x="24" y="111"/>
                </a:lnTo>
                <a:lnTo>
                  <a:pt x="33" y="124"/>
                </a:lnTo>
                <a:lnTo>
                  <a:pt x="42" y="138"/>
                </a:lnTo>
                <a:lnTo>
                  <a:pt x="45" y="146"/>
                </a:lnTo>
                <a:lnTo>
                  <a:pt x="49" y="156"/>
                </a:lnTo>
                <a:lnTo>
                  <a:pt x="52" y="167"/>
                </a:lnTo>
                <a:lnTo>
                  <a:pt x="53" y="179"/>
                </a:lnTo>
                <a:lnTo>
                  <a:pt x="60" y="179"/>
                </a:lnTo>
                <a:lnTo>
                  <a:pt x="64" y="190"/>
                </a:lnTo>
                <a:lnTo>
                  <a:pt x="73" y="205"/>
                </a:lnTo>
                <a:lnTo>
                  <a:pt x="83" y="223"/>
                </a:lnTo>
                <a:lnTo>
                  <a:pt x="96" y="241"/>
                </a:lnTo>
                <a:lnTo>
                  <a:pt x="109" y="258"/>
                </a:lnTo>
                <a:lnTo>
                  <a:pt x="122" y="273"/>
                </a:lnTo>
                <a:lnTo>
                  <a:pt x="129" y="280"/>
                </a:lnTo>
                <a:lnTo>
                  <a:pt x="135" y="284"/>
                </a:lnTo>
                <a:lnTo>
                  <a:pt x="141" y="288"/>
                </a:lnTo>
                <a:lnTo>
                  <a:pt x="146" y="290"/>
                </a:lnTo>
                <a:lnTo>
                  <a:pt x="139" y="296"/>
                </a:lnTo>
                <a:lnTo>
                  <a:pt x="130" y="304"/>
                </a:lnTo>
                <a:lnTo>
                  <a:pt x="127" y="310"/>
                </a:lnTo>
                <a:lnTo>
                  <a:pt x="122" y="316"/>
                </a:lnTo>
                <a:lnTo>
                  <a:pt x="120" y="324"/>
                </a:lnTo>
                <a:lnTo>
                  <a:pt x="120" y="332"/>
                </a:lnTo>
                <a:lnTo>
                  <a:pt x="120" y="341"/>
                </a:lnTo>
                <a:lnTo>
                  <a:pt x="123" y="350"/>
                </a:lnTo>
                <a:lnTo>
                  <a:pt x="128" y="360"/>
                </a:lnTo>
                <a:lnTo>
                  <a:pt x="133" y="370"/>
                </a:lnTo>
                <a:lnTo>
                  <a:pt x="140" y="380"/>
                </a:lnTo>
                <a:lnTo>
                  <a:pt x="147" y="391"/>
                </a:lnTo>
                <a:lnTo>
                  <a:pt x="157" y="401"/>
                </a:lnTo>
                <a:lnTo>
                  <a:pt x="167" y="410"/>
                </a:lnTo>
                <a:lnTo>
                  <a:pt x="177" y="420"/>
                </a:lnTo>
                <a:lnTo>
                  <a:pt x="188" y="428"/>
                </a:lnTo>
                <a:lnTo>
                  <a:pt x="200" y="436"/>
                </a:lnTo>
                <a:lnTo>
                  <a:pt x="212" y="442"/>
                </a:lnTo>
                <a:lnTo>
                  <a:pt x="224" y="449"/>
                </a:lnTo>
                <a:lnTo>
                  <a:pt x="236" y="453"/>
                </a:lnTo>
                <a:lnTo>
                  <a:pt x="247" y="455"/>
                </a:lnTo>
                <a:lnTo>
                  <a:pt x="259" y="456"/>
                </a:lnTo>
                <a:lnTo>
                  <a:pt x="260" y="469"/>
                </a:lnTo>
                <a:lnTo>
                  <a:pt x="264" y="483"/>
                </a:lnTo>
                <a:lnTo>
                  <a:pt x="265" y="490"/>
                </a:lnTo>
                <a:lnTo>
                  <a:pt x="265" y="500"/>
                </a:lnTo>
                <a:lnTo>
                  <a:pt x="263" y="511"/>
                </a:lnTo>
                <a:lnTo>
                  <a:pt x="259" y="524"/>
                </a:lnTo>
                <a:lnTo>
                  <a:pt x="305" y="573"/>
                </a:lnTo>
                <a:lnTo>
                  <a:pt x="312" y="574"/>
                </a:lnTo>
                <a:lnTo>
                  <a:pt x="319" y="576"/>
                </a:lnTo>
                <a:lnTo>
                  <a:pt x="324" y="578"/>
                </a:lnTo>
                <a:lnTo>
                  <a:pt x="330" y="580"/>
                </a:lnTo>
                <a:lnTo>
                  <a:pt x="335" y="581"/>
                </a:lnTo>
                <a:lnTo>
                  <a:pt x="342" y="581"/>
                </a:lnTo>
                <a:lnTo>
                  <a:pt x="349" y="578"/>
                </a:lnTo>
                <a:lnTo>
                  <a:pt x="358" y="573"/>
                </a:lnTo>
                <a:lnTo>
                  <a:pt x="372" y="593"/>
                </a:lnTo>
                <a:lnTo>
                  <a:pt x="404" y="639"/>
                </a:lnTo>
                <a:lnTo>
                  <a:pt x="423" y="664"/>
                </a:lnTo>
                <a:lnTo>
                  <a:pt x="439" y="687"/>
                </a:lnTo>
                <a:lnTo>
                  <a:pt x="447" y="697"/>
                </a:lnTo>
                <a:lnTo>
                  <a:pt x="455" y="705"/>
                </a:lnTo>
                <a:lnTo>
                  <a:pt x="460" y="711"/>
                </a:lnTo>
                <a:lnTo>
                  <a:pt x="465" y="714"/>
                </a:lnTo>
                <a:lnTo>
                  <a:pt x="471" y="720"/>
                </a:lnTo>
                <a:lnTo>
                  <a:pt x="479" y="727"/>
                </a:lnTo>
                <a:lnTo>
                  <a:pt x="483" y="729"/>
                </a:lnTo>
                <a:lnTo>
                  <a:pt x="488" y="731"/>
                </a:lnTo>
                <a:lnTo>
                  <a:pt x="493" y="733"/>
                </a:lnTo>
                <a:lnTo>
                  <a:pt x="498" y="733"/>
                </a:lnTo>
                <a:lnTo>
                  <a:pt x="504" y="733"/>
                </a:lnTo>
                <a:lnTo>
                  <a:pt x="512" y="733"/>
                </a:lnTo>
                <a:lnTo>
                  <a:pt x="522" y="733"/>
                </a:lnTo>
                <a:lnTo>
                  <a:pt x="532" y="733"/>
                </a:lnTo>
                <a:lnTo>
                  <a:pt x="533" y="741"/>
                </a:lnTo>
                <a:lnTo>
                  <a:pt x="537" y="748"/>
                </a:lnTo>
                <a:lnTo>
                  <a:pt x="542" y="755"/>
                </a:lnTo>
                <a:lnTo>
                  <a:pt x="547" y="761"/>
                </a:lnTo>
                <a:lnTo>
                  <a:pt x="554" y="766"/>
                </a:lnTo>
                <a:lnTo>
                  <a:pt x="561" y="771"/>
                </a:lnTo>
                <a:lnTo>
                  <a:pt x="570" y="776"/>
                </a:lnTo>
                <a:lnTo>
                  <a:pt x="579" y="781"/>
                </a:lnTo>
                <a:lnTo>
                  <a:pt x="598" y="787"/>
                </a:lnTo>
                <a:lnTo>
                  <a:pt x="616" y="791"/>
                </a:lnTo>
                <a:lnTo>
                  <a:pt x="635" y="794"/>
                </a:lnTo>
                <a:lnTo>
                  <a:pt x="651" y="795"/>
                </a:lnTo>
                <a:lnTo>
                  <a:pt x="663" y="795"/>
                </a:lnTo>
                <a:lnTo>
                  <a:pt x="671" y="795"/>
                </a:lnTo>
                <a:lnTo>
                  <a:pt x="685" y="795"/>
                </a:lnTo>
                <a:lnTo>
                  <a:pt x="700" y="793"/>
                </a:lnTo>
                <a:lnTo>
                  <a:pt x="706" y="792"/>
                </a:lnTo>
                <a:lnTo>
                  <a:pt x="713" y="790"/>
                </a:lnTo>
                <a:lnTo>
                  <a:pt x="718" y="787"/>
                </a:lnTo>
                <a:lnTo>
                  <a:pt x="724" y="783"/>
                </a:lnTo>
                <a:lnTo>
                  <a:pt x="732" y="780"/>
                </a:lnTo>
                <a:lnTo>
                  <a:pt x="742" y="773"/>
                </a:lnTo>
                <a:lnTo>
                  <a:pt x="749" y="769"/>
                </a:lnTo>
                <a:lnTo>
                  <a:pt x="756" y="766"/>
                </a:lnTo>
                <a:lnTo>
                  <a:pt x="763" y="764"/>
                </a:lnTo>
                <a:lnTo>
                  <a:pt x="771" y="764"/>
                </a:lnTo>
                <a:lnTo>
                  <a:pt x="779" y="764"/>
                </a:lnTo>
                <a:lnTo>
                  <a:pt x="785" y="767"/>
                </a:lnTo>
                <a:lnTo>
                  <a:pt x="790" y="771"/>
                </a:lnTo>
                <a:lnTo>
                  <a:pt x="794" y="775"/>
                </a:lnTo>
                <a:lnTo>
                  <a:pt x="796" y="782"/>
                </a:lnTo>
                <a:lnTo>
                  <a:pt x="798" y="789"/>
                </a:lnTo>
                <a:lnTo>
                  <a:pt x="801" y="796"/>
                </a:lnTo>
                <a:lnTo>
                  <a:pt x="802" y="804"/>
                </a:lnTo>
                <a:lnTo>
                  <a:pt x="803" y="820"/>
                </a:lnTo>
                <a:lnTo>
                  <a:pt x="805" y="837"/>
                </a:lnTo>
                <a:lnTo>
                  <a:pt x="807" y="845"/>
                </a:lnTo>
                <a:lnTo>
                  <a:pt x="809" y="851"/>
                </a:lnTo>
                <a:lnTo>
                  <a:pt x="813" y="857"/>
                </a:lnTo>
                <a:lnTo>
                  <a:pt x="817" y="862"/>
                </a:lnTo>
                <a:lnTo>
                  <a:pt x="822" y="865"/>
                </a:lnTo>
                <a:lnTo>
                  <a:pt x="828" y="867"/>
                </a:lnTo>
                <a:lnTo>
                  <a:pt x="838" y="869"/>
                </a:lnTo>
                <a:lnTo>
                  <a:pt x="849" y="871"/>
                </a:lnTo>
                <a:lnTo>
                  <a:pt x="874" y="874"/>
                </a:lnTo>
                <a:lnTo>
                  <a:pt x="897" y="875"/>
                </a:lnTo>
                <a:lnTo>
                  <a:pt x="925" y="876"/>
                </a:lnTo>
                <a:lnTo>
                  <a:pt x="948" y="878"/>
                </a:lnTo>
                <a:lnTo>
                  <a:pt x="970" y="882"/>
                </a:lnTo>
                <a:lnTo>
                  <a:pt x="991" y="887"/>
                </a:lnTo>
                <a:lnTo>
                  <a:pt x="1011" y="892"/>
                </a:lnTo>
                <a:lnTo>
                  <a:pt x="1035" y="896"/>
                </a:lnTo>
                <a:lnTo>
                  <a:pt x="1047" y="898"/>
                </a:lnTo>
                <a:lnTo>
                  <a:pt x="1060" y="899"/>
                </a:lnTo>
                <a:lnTo>
                  <a:pt x="1074" y="900"/>
                </a:lnTo>
                <a:lnTo>
                  <a:pt x="1089" y="900"/>
                </a:lnTo>
                <a:lnTo>
                  <a:pt x="1091" y="879"/>
                </a:lnTo>
                <a:lnTo>
                  <a:pt x="1093" y="865"/>
                </a:lnTo>
                <a:lnTo>
                  <a:pt x="1095" y="854"/>
                </a:lnTo>
                <a:lnTo>
                  <a:pt x="1096" y="844"/>
                </a:lnTo>
                <a:lnTo>
                  <a:pt x="1096" y="840"/>
                </a:lnTo>
                <a:lnTo>
                  <a:pt x="1097" y="836"/>
                </a:lnTo>
                <a:lnTo>
                  <a:pt x="1099" y="831"/>
                </a:lnTo>
                <a:lnTo>
                  <a:pt x="1102" y="827"/>
                </a:lnTo>
                <a:lnTo>
                  <a:pt x="1108" y="820"/>
                </a:lnTo>
                <a:lnTo>
                  <a:pt x="1116" y="814"/>
                </a:lnTo>
                <a:lnTo>
                  <a:pt x="1136" y="802"/>
                </a:lnTo>
                <a:lnTo>
                  <a:pt x="1156" y="789"/>
                </a:lnTo>
                <a:lnTo>
                  <a:pt x="1156" y="770"/>
                </a:lnTo>
                <a:lnTo>
                  <a:pt x="1151" y="769"/>
                </a:lnTo>
                <a:lnTo>
                  <a:pt x="1147" y="768"/>
                </a:lnTo>
                <a:lnTo>
                  <a:pt x="1143" y="766"/>
                </a:lnTo>
                <a:lnTo>
                  <a:pt x="1140" y="764"/>
                </a:lnTo>
                <a:lnTo>
                  <a:pt x="1136" y="758"/>
                </a:lnTo>
                <a:lnTo>
                  <a:pt x="1132" y="750"/>
                </a:lnTo>
                <a:lnTo>
                  <a:pt x="1130" y="734"/>
                </a:lnTo>
                <a:lnTo>
                  <a:pt x="1129" y="720"/>
                </a:lnTo>
                <a:lnTo>
                  <a:pt x="1121" y="719"/>
                </a:lnTo>
                <a:lnTo>
                  <a:pt x="1114" y="717"/>
                </a:lnTo>
                <a:lnTo>
                  <a:pt x="1105" y="713"/>
                </a:lnTo>
                <a:lnTo>
                  <a:pt x="1096" y="708"/>
                </a:lnTo>
                <a:lnTo>
                  <a:pt x="1087" y="701"/>
                </a:lnTo>
                <a:lnTo>
                  <a:pt x="1077" y="694"/>
                </a:lnTo>
                <a:lnTo>
                  <a:pt x="1069" y="686"/>
                </a:lnTo>
                <a:lnTo>
                  <a:pt x="1061" y="678"/>
                </a:lnTo>
                <a:lnTo>
                  <a:pt x="1044" y="660"/>
                </a:lnTo>
                <a:lnTo>
                  <a:pt x="1031" y="643"/>
                </a:lnTo>
                <a:lnTo>
                  <a:pt x="1026" y="635"/>
                </a:lnTo>
                <a:lnTo>
                  <a:pt x="1021" y="628"/>
                </a:lnTo>
                <a:lnTo>
                  <a:pt x="1018" y="622"/>
                </a:lnTo>
                <a:lnTo>
                  <a:pt x="1016" y="616"/>
                </a:lnTo>
                <a:lnTo>
                  <a:pt x="1017" y="609"/>
                </a:lnTo>
                <a:lnTo>
                  <a:pt x="1018" y="603"/>
                </a:lnTo>
                <a:lnTo>
                  <a:pt x="1019" y="598"/>
                </a:lnTo>
                <a:lnTo>
                  <a:pt x="1021" y="593"/>
                </a:lnTo>
                <a:lnTo>
                  <a:pt x="1027" y="584"/>
                </a:lnTo>
                <a:lnTo>
                  <a:pt x="1033" y="576"/>
                </a:lnTo>
                <a:lnTo>
                  <a:pt x="1039" y="568"/>
                </a:lnTo>
                <a:lnTo>
                  <a:pt x="1044" y="559"/>
                </a:lnTo>
                <a:lnTo>
                  <a:pt x="1047" y="553"/>
                </a:lnTo>
                <a:lnTo>
                  <a:pt x="1048" y="548"/>
                </a:lnTo>
                <a:lnTo>
                  <a:pt x="1049" y="542"/>
                </a:lnTo>
                <a:lnTo>
                  <a:pt x="1050" y="536"/>
                </a:lnTo>
                <a:lnTo>
                  <a:pt x="1049" y="531"/>
                </a:lnTo>
                <a:lnTo>
                  <a:pt x="1048" y="526"/>
                </a:lnTo>
                <a:lnTo>
                  <a:pt x="1047" y="522"/>
                </a:lnTo>
                <a:lnTo>
                  <a:pt x="1044" y="519"/>
                </a:lnTo>
                <a:lnTo>
                  <a:pt x="1041" y="517"/>
                </a:lnTo>
                <a:lnTo>
                  <a:pt x="1038" y="515"/>
                </a:lnTo>
                <a:lnTo>
                  <a:pt x="1035" y="513"/>
                </a:lnTo>
                <a:lnTo>
                  <a:pt x="1030" y="512"/>
                </a:lnTo>
                <a:lnTo>
                  <a:pt x="1013" y="511"/>
                </a:lnTo>
                <a:lnTo>
                  <a:pt x="996" y="512"/>
                </a:lnTo>
                <a:lnTo>
                  <a:pt x="993" y="511"/>
                </a:lnTo>
                <a:lnTo>
                  <a:pt x="990" y="510"/>
                </a:lnTo>
                <a:lnTo>
                  <a:pt x="986" y="509"/>
                </a:lnTo>
                <a:lnTo>
                  <a:pt x="983" y="507"/>
                </a:lnTo>
                <a:lnTo>
                  <a:pt x="976" y="501"/>
                </a:lnTo>
                <a:lnTo>
                  <a:pt x="971" y="493"/>
                </a:lnTo>
                <a:lnTo>
                  <a:pt x="966" y="485"/>
                </a:lnTo>
                <a:lnTo>
                  <a:pt x="962" y="475"/>
                </a:lnTo>
                <a:lnTo>
                  <a:pt x="958" y="464"/>
                </a:lnTo>
                <a:lnTo>
                  <a:pt x="954" y="453"/>
                </a:lnTo>
                <a:lnTo>
                  <a:pt x="950" y="429"/>
                </a:lnTo>
                <a:lnTo>
                  <a:pt x="946" y="407"/>
                </a:lnTo>
                <a:lnTo>
                  <a:pt x="943" y="389"/>
                </a:lnTo>
                <a:lnTo>
                  <a:pt x="943" y="375"/>
                </a:lnTo>
                <a:lnTo>
                  <a:pt x="940" y="375"/>
                </a:lnTo>
                <a:lnTo>
                  <a:pt x="937" y="373"/>
                </a:lnTo>
                <a:lnTo>
                  <a:pt x="934" y="371"/>
                </a:lnTo>
                <a:lnTo>
                  <a:pt x="931" y="369"/>
                </a:lnTo>
                <a:lnTo>
                  <a:pt x="928" y="366"/>
                </a:lnTo>
                <a:lnTo>
                  <a:pt x="926" y="363"/>
                </a:lnTo>
                <a:lnTo>
                  <a:pt x="924" y="360"/>
                </a:lnTo>
                <a:lnTo>
                  <a:pt x="924" y="357"/>
                </a:lnTo>
                <a:lnTo>
                  <a:pt x="924" y="354"/>
                </a:lnTo>
                <a:lnTo>
                  <a:pt x="925" y="351"/>
                </a:lnTo>
                <a:lnTo>
                  <a:pt x="926" y="348"/>
                </a:lnTo>
                <a:lnTo>
                  <a:pt x="928" y="345"/>
                </a:lnTo>
                <a:lnTo>
                  <a:pt x="934" y="339"/>
                </a:lnTo>
                <a:lnTo>
                  <a:pt x="940" y="334"/>
                </a:lnTo>
                <a:lnTo>
                  <a:pt x="946" y="328"/>
                </a:lnTo>
                <a:lnTo>
                  <a:pt x="951" y="323"/>
                </a:lnTo>
                <a:lnTo>
                  <a:pt x="955" y="318"/>
                </a:lnTo>
                <a:lnTo>
                  <a:pt x="957" y="314"/>
                </a:lnTo>
                <a:lnTo>
                  <a:pt x="958" y="301"/>
                </a:lnTo>
                <a:lnTo>
                  <a:pt x="960" y="293"/>
                </a:lnTo>
                <a:lnTo>
                  <a:pt x="962" y="285"/>
                </a:lnTo>
                <a:lnTo>
                  <a:pt x="963" y="27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305" name="Freeform 257"/>
          <p:cNvSpPr>
            <a:spLocks/>
          </p:cNvSpPr>
          <p:nvPr>
            <p:custDataLst>
              <p:tags r:id="rId184"/>
            </p:custDataLst>
          </p:nvPr>
        </p:nvSpPr>
        <p:spPr bwMode="auto">
          <a:xfrm>
            <a:off x="5065713" y="2289572"/>
            <a:ext cx="247650" cy="171450"/>
          </a:xfrm>
          <a:custGeom>
            <a:avLst/>
            <a:gdLst/>
            <a:ahLst/>
            <a:cxnLst>
              <a:cxn ang="0">
                <a:pos x="26" y="190"/>
              </a:cxn>
              <a:cxn ang="0">
                <a:pos x="37" y="177"/>
              </a:cxn>
              <a:cxn ang="0">
                <a:pos x="41" y="164"/>
              </a:cxn>
              <a:cxn ang="0">
                <a:pos x="39" y="129"/>
              </a:cxn>
              <a:cxn ang="0">
                <a:pos x="44" y="120"/>
              </a:cxn>
              <a:cxn ang="0">
                <a:pos x="55" y="112"/>
              </a:cxn>
              <a:cxn ang="0">
                <a:pos x="68" y="107"/>
              </a:cxn>
              <a:cxn ang="0">
                <a:pos x="80" y="104"/>
              </a:cxn>
              <a:cxn ang="0">
                <a:pos x="103" y="106"/>
              </a:cxn>
              <a:cxn ang="0">
                <a:pos x="124" y="109"/>
              </a:cxn>
              <a:cxn ang="0">
                <a:pos x="158" y="120"/>
              </a:cxn>
              <a:cxn ang="0">
                <a:pos x="184" y="135"/>
              </a:cxn>
              <a:cxn ang="0">
                <a:pos x="206" y="154"/>
              </a:cxn>
              <a:cxn ang="0">
                <a:pos x="254" y="92"/>
              </a:cxn>
              <a:cxn ang="0">
                <a:pos x="285" y="49"/>
              </a:cxn>
              <a:cxn ang="0">
                <a:pos x="538" y="43"/>
              </a:cxn>
              <a:cxn ang="0">
                <a:pos x="557" y="78"/>
              </a:cxn>
              <a:cxn ang="0">
                <a:pos x="562" y="98"/>
              </a:cxn>
              <a:cxn ang="0">
                <a:pos x="564" y="123"/>
              </a:cxn>
              <a:cxn ang="0">
                <a:pos x="568" y="151"/>
              </a:cxn>
              <a:cxn ang="0">
                <a:pos x="571" y="178"/>
              </a:cxn>
              <a:cxn ang="0">
                <a:pos x="564" y="180"/>
              </a:cxn>
              <a:cxn ang="0">
                <a:pos x="562" y="179"/>
              </a:cxn>
              <a:cxn ang="0">
                <a:pos x="558" y="184"/>
              </a:cxn>
              <a:cxn ang="0">
                <a:pos x="548" y="207"/>
              </a:cxn>
              <a:cxn ang="0">
                <a:pos x="534" y="225"/>
              </a:cxn>
              <a:cxn ang="0">
                <a:pos x="515" y="239"/>
              </a:cxn>
              <a:cxn ang="0">
                <a:pos x="494" y="249"/>
              </a:cxn>
              <a:cxn ang="0">
                <a:pos x="405" y="283"/>
              </a:cxn>
              <a:cxn ang="0">
                <a:pos x="347" y="307"/>
              </a:cxn>
              <a:cxn ang="0">
                <a:pos x="295" y="328"/>
              </a:cxn>
              <a:cxn ang="0">
                <a:pos x="245" y="345"/>
              </a:cxn>
              <a:cxn ang="0">
                <a:pos x="186" y="363"/>
              </a:cxn>
              <a:cxn ang="0">
                <a:pos x="167" y="371"/>
              </a:cxn>
              <a:cxn ang="0">
                <a:pos x="149" y="381"/>
              </a:cxn>
              <a:cxn ang="0">
                <a:pos x="119" y="403"/>
              </a:cxn>
              <a:cxn ang="0">
                <a:pos x="92" y="426"/>
              </a:cxn>
              <a:cxn ang="0">
                <a:pos x="67" y="443"/>
              </a:cxn>
              <a:cxn ang="0">
                <a:pos x="50" y="378"/>
              </a:cxn>
              <a:cxn ang="0">
                <a:pos x="33" y="313"/>
              </a:cxn>
              <a:cxn ang="0">
                <a:pos x="16" y="251"/>
              </a:cxn>
              <a:cxn ang="0">
                <a:pos x="0" y="196"/>
              </a:cxn>
            </a:cxnLst>
            <a:rect l="0" t="0" r="r" b="b"/>
            <a:pathLst>
              <a:path w="571" h="443">
                <a:moveTo>
                  <a:pt x="0" y="196"/>
                </a:moveTo>
                <a:lnTo>
                  <a:pt x="26" y="190"/>
                </a:lnTo>
                <a:lnTo>
                  <a:pt x="33" y="184"/>
                </a:lnTo>
                <a:lnTo>
                  <a:pt x="37" y="177"/>
                </a:lnTo>
                <a:lnTo>
                  <a:pt x="39" y="171"/>
                </a:lnTo>
                <a:lnTo>
                  <a:pt x="41" y="164"/>
                </a:lnTo>
                <a:lnTo>
                  <a:pt x="41" y="149"/>
                </a:lnTo>
                <a:lnTo>
                  <a:pt x="39" y="129"/>
                </a:lnTo>
                <a:lnTo>
                  <a:pt x="41" y="124"/>
                </a:lnTo>
                <a:lnTo>
                  <a:pt x="44" y="120"/>
                </a:lnTo>
                <a:lnTo>
                  <a:pt x="49" y="116"/>
                </a:lnTo>
                <a:lnTo>
                  <a:pt x="55" y="112"/>
                </a:lnTo>
                <a:lnTo>
                  <a:pt x="61" y="109"/>
                </a:lnTo>
                <a:lnTo>
                  <a:pt x="68" y="107"/>
                </a:lnTo>
                <a:lnTo>
                  <a:pt x="75" y="105"/>
                </a:lnTo>
                <a:lnTo>
                  <a:pt x="80" y="104"/>
                </a:lnTo>
                <a:lnTo>
                  <a:pt x="92" y="105"/>
                </a:lnTo>
                <a:lnTo>
                  <a:pt x="103" y="106"/>
                </a:lnTo>
                <a:lnTo>
                  <a:pt x="114" y="107"/>
                </a:lnTo>
                <a:lnTo>
                  <a:pt x="124" y="109"/>
                </a:lnTo>
                <a:lnTo>
                  <a:pt x="142" y="113"/>
                </a:lnTo>
                <a:lnTo>
                  <a:pt x="158" y="120"/>
                </a:lnTo>
                <a:lnTo>
                  <a:pt x="172" y="127"/>
                </a:lnTo>
                <a:lnTo>
                  <a:pt x="184" y="135"/>
                </a:lnTo>
                <a:lnTo>
                  <a:pt x="195" y="145"/>
                </a:lnTo>
                <a:lnTo>
                  <a:pt x="206" y="154"/>
                </a:lnTo>
                <a:lnTo>
                  <a:pt x="227" y="127"/>
                </a:lnTo>
                <a:lnTo>
                  <a:pt x="254" y="92"/>
                </a:lnTo>
                <a:lnTo>
                  <a:pt x="276" y="62"/>
                </a:lnTo>
                <a:lnTo>
                  <a:pt x="285" y="49"/>
                </a:lnTo>
                <a:lnTo>
                  <a:pt x="538" y="0"/>
                </a:lnTo>
                <a:lnTo>
                  <a:pt x="538" y="43"/>
                </a:lnTo>
                <a:lnTo>
                  <a:pt x="548" y="60"/>
                </a:lnTo>
                <a:lnTo>
                  <a:pt x="557" y="78"/>
                </a:lnTo>
                <a:lnTo>
                  <a:pt x="560" y="87"/>
                </a:lnTo>
                <a:lnTo>
                  <a:pt x="562" y="98"/>
                </a:lnTo>
                <a:lnTo>
                  <a:pt x="564" y="110"/>
                </a:lnTo>
                <a:lnTo>
                  <a:pt x="564" y="123"/>
                </a:lnTo>
                <a:lnTo>
                  <a:pt x="565" y="136"/>
                </a:lnTo>
                <a:lnTo>
                  <a:pt x="568" y="151"/>
                </a:lnTo>
                <a:lnTo>
                  <a:pt x="570" y="164"/>
                </a:lnTo>
                <a:lnTo>
                  <a:pt x="571" y="178"/>
                </a:lnTo>
                <a:lnTo>
                  <a:pt x="568" y="180"/>
                </a:lnTo>
                <a:lnTo>
                  <a:pt x="564" y="180"/>
                </a:lnTo>
                <a:lnTo>
                  <a:pt x="563" y="179"/>
                </a:lnTo>
                <a:lnTo>
                  <a:pt x="562" y="179"/>
                </a:lnTo>
                <a:lnTo>
                  <a:pt x="561" y="179"/>
                </a:lnTo>
                <a:lnTo>
                  <a:pt x="558" y="184"/>
                </a:lnTo>
                <a:lnTo>
                  <a:pt x="553" y="196"/>
                </a:lnTo>
                <a:lnTo>
                  <a:pt x="548" y="207"/>
                </a:lnTo>
                <a:lnTo>
                  <a:pt x="541" y="217"/>
                </a:lnTo>
                <a:lnTo>
                  <a:pt x="534" y="225"/>
                </a:lnTo>
                <a:lnTo>
                  <a:pt x="525" y="232"/>
                </a:lnTo>
                <a:lnTo>
                  <a:pt x="515" y="239"/>
                </a:lnTo>
                <a:lnTo>
                  <a:pt x="505" y="244"/>
                </a:lnTo>
                <a:lnTo>
                  <a:pt x="494" y="249"/>
                </a:lnTo>
                <a:lnTo>
                  <a:pt x="449" y="267"/>
                </a:lnTo>
                <a:lnTo>
                  <a:pt x="405" y="283"/>
                </a:lnTo>
                <a:lnTo>
                  <a:pt x="374" y="296"/>
                </a:lnTo>
                <a:lnTo>
                  <a:pt x="347" y="307"/>
                </a:lnTo>
                <a:lnTo>
                  <a:pt x="321" y="318"/>
                </a:lnTo>
                <a:lnTo>
                  <a:pt x="295" y="328"/>
                </a:lnTo>
                <a:lnTo>
                  <a:pt x="270" y="337"/>
                </a:lnTo>
                <a:lnTo>
                  <a:pt x="245" y="345"/>
                </a:lnTo>
                <a:lnTo>
                  <a:pt x="216" y="354"/>
                </a:lnTo>
                <a:lnTo>
                  <a:pt x="186" y="363"/>
                </a:lnTo>
                <a:lnTo>
                  <a:pt x="177" y="366"/>
                </a:lnTo>
                <a:lnTo>
                  <a:pt x="167" y="371"/>
                </a:lnTo>
                <a:lnTo>
                  <a:pt x="158" y="376"/>
                </a:lnTo>
                <a:lnTo>
                  <a:pt x="149" y="381"/>
                </a:lnTo>
                <a:lnTo>
                  <a:pt x="134" y="392"/>
                </a:lnTo>
                <a:lnTo>
                  <a:pt x="119" y="403"/>
                </a:lnTo>
                <a:lnTo>
                  <a:pt x="105" y="414"/>
                </a:lnTo>
                <a:lnTo>
                  <a:pt x="92" y="426"/>
                </a:lnTo>
                <a:lnTo>
                  <a:pt x="79" y="435"/>
                </a:lnTo>
                <a:lnTo>
                  <a:pt x="67" y="443"/>
                </a:lnTo>
                <a:lnTo>
                  <a:pt x="58" y="410"/>
                </a:lnTo>
                <a:lnTo>
                  <a:pt x="50" y="378"/>
                </a:lnTo>
                <a:lnTo>
                  <a:pt x="42" y="345"/>
                </a:lnTo>
                <a:lnTo>
                  <a:pt x="33" y="313"/>
                </a:lnTo>
                <a:lnTo>
                  <a:pt x="24" y="282"/>
                </a:lnTo>
                <a:lnTo>
                  <a:pt x="16" y="251"/>
                </a:lnTo>
                <a:lnTo>
                  <a:pt x="8" y="223"/>
                </a:lnTo>
                <a:lnTo>
                  <a:pt x="0" y="19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306" name="Freeform 258"/>
          <p:cNvSpPr>
            <a:spLocks/>
          </p:cNvSpPr>
          <p:nvPr>
            <p:custDataLst>
              <p:tags r:id="rId185"/>
            </p:custDataLst>
          </p:nvPr>
        </p:nvSpPr>
        <p:spPr bwMode="auto">
          <a:xfrm>
            <a:off x="5260975" y="2120505"/>
            <a:ext cx="120650" cy="90488"/>
          </a:xfrm>
          <a:custGeom>
            <a:avLst/>
            <a:gdLst/>
            <a:ahLst/>
            <a:cxnLst>
              <a:cxn ang="0">
                <a:pos x="0" y="111"/>
              </a:cxn>
              <a:cxn ang="0">
                <a:pos x="4" y="109"/>
              </a:cxn>
              <a:cxn ang="0">
                <a:pos x="7" y="109"/>
              </a:cxn>
              <a:cxn ang="0">
                <a:pos x="10" y="110"/>
              </a:cxn>
              <a:cxn ang="0">
                <a:pos x="11" y="111"/>
              </a:cxn>
              <a:cxn ang="0">
                <a:pos x="12" y="117"/>
              </a:cxn>
              <a:cxn ang="0">
                <a:pos x="13" y="123"/>
              </a:cxn>
              <a:cxn ang="0">
                <a:pos x="14" y="128"/>
              </a:cxn>
              <a:cxn ang="0">
                <a:pos x="16" y="131"/>
              </a:cxn>
              <a:cxn ang="0">
                <a:pos x="19" y="134"/>
              </a:cxn>
              <a:cxn ang="0">
                <a:pos x="24" y="136"/>
              </a:cxn>
              <a:cxn ang="0">
                <a:pos x="29" y="137"/>
              </a:cxn>
              <a:cxn ang="0">
                <a:pos x="37" y="138"/>
              </a:cxn>
              <a:cxn ang="0">
                <a:pos x="48" y="138"/>
              </a:cxn>
              <a:cxn ang="0">
                <a:pos x="60" y="136"/>
              </a:cxn>
              <a:cxn ang="0">
                <a:pos x="98" y="130"/>
              </a:cxn>
              <a:cxn ang="0">
                <a:pos x="129" y="122"/>
              </a:cxn>
              <a:cxn ang="0">
                <a:pos x="143" y="118"/>
              </a:cxn>
              <a:cxn ang="0">
                <a:pos x="156" y="114"/>
              </a:cxn>
              <a:cxn ang="0">
                <a:pos x="167" y="109"/>
              </a:cxn>
              <a:cxn ang="0">
                <a:pos x="178" y="103"/>
              </a:cxn>
              <a:cxn ang="0">
                <a:pos x="188" y="96"/>
              </a:cxn>
              <a:cxn ang="0">
                <a:pos x="198" y="87"/>
              </a:cxn>
              <a:cxn ang="0">
                <a:pos x="208" y="78"/>
              </a:cxn>
              <a:cxn ang="0">
                <a:pos x="219" y="65"/>
              </a:cxn>
              <a:cxn ang="0">
                <a:pos x="229" y="52"/>
              </a:cxn>
              <a:cxn ang="0">
                <a:pos x="241" y="37"/>
              </a:cxn>
              <a:cxn ang="0">
                <a:pos x="253" y="20"/>
              </a:cxn>
              <a:cxn ang="0">
                <a:pos x="266" y="0"/>
              </a:cxn>
              <a:cxn ang="0">
                <a:pos x="270" y="7"/>
              </a:cxn>
              <a:cxn ang="0">
                <a:pos x="274" y="13"/>
              </a:cxn>
              <a:cxn ang="0">
                <a:pos x="276" y="20"/>
              </a:cxn>
              <a:cxn ang="0">
                <a:pos x="279" y="27"/>
              </a:cxn>
              <a:cxn ang="0">
                <a:pos x="282" y="42"/>
              </a:cxn>
              <a:cxn ang="0">
                <a:pos x="286" y="62"/>
              </a:cxn>
              <a:cxn ang="0">
                <a:pos x="246" y="198"/>
              </a:cxn>
              <a:cxn ang="0">
                <a:pos x="226" y="228"/>
              </a:cxn>
              <a:cxn ang="0">
                <a:pos x="53" y="210"/>
              </a:cxn>
              <a:cxn ang="0">
                <a:pos x="0" y="111"/>
              </a:cxn>
            </a:cxnLst>
            <a:rect l="0" t="0" r="r" b="b"/>
            <a:pathLst>
              <a:path w="286" h="228">
                <a:moveTo>
                  <a:pt x="0" y="111"/>
                </a:moveTo>
                <a:lnTo>
                  <a:pt x="4" y="109"/>
                </a:lnTo>
                <a:lnTo>
                  <a:pt x="7" y="109"/>
                </a:lnTo>
                <a:lnTo>
                  <a:pt x="10" y="110"/>
                </a:lnTo>
                <a:lnTo>
                  <a:pt x="11" y="111"/>
                </a:lnTo>
                <a:lnTo>
                  <a:pt x="12" y="117"/>
                </a:lnTo>
                <a:lnTo>
                  <a:pt x="13" y="123"/>
                </a:lnTo>
                <a:lnTo>
                  <a:pt x="14" y="128"/>
                </a:lnTo>
                <a:lnTo>
                  <a:pt x="16" y="131"/>
                </a:lnTo>
                <a:lnTo>
                  <a:pt x="19" y="134"/>
                </a:lnTo>
                <a:lnTo>
                  <a:pt x="24" y="136"/>
                </a:lnTo>
                <a:lnTo>
                  <a:pt x="29" y="137"/>
                </a:lnTo>
                <a:lnTo>
                  <a:pt x="37" y="138"/>
                </a:lnTo>
                <a:lnTo>
                  <a:pt x="48" y="138"/>
                </a:lnTo>
                <a:lnTo>
                  <a:pt x="60" y="136"/>
                </a:lnTo>
                <a:lnTo>
                  <a:pt x="98" y="130"/>
                </a:lnTo>
                <a:lnTo>
                  <a:pt x="129" y="122"/>
                </a:lnTo>
                <a:lnTo>
                  <a:pt x="143" y="118"/>
                </a:lnTo>
                <a:lnTo>
                  <a:pt x="156" y="114"/>
                </a:lnTo>
                <a:lnTo>
                  <a:pt x="167" y="109"/>
                </a:lnTo>
                <a:lnTo>
                  <a:pt x="178" y="103"/>
                </a:lnTo>
                <a:lnTo>
                  <a:pt x="188" y="96"/>
                </a:lnTo>
                <a:lnTo>
                  <a:pt x="198" y="87"/>
                </a:lnTo>
                <a:lnTo>
                  <a:pt x="208" y="78"/>
                </a:lnTo>
                <a:lnTo>
                  <a:pt x="219" y="65"/>
                </a:lnTo>
                <a:lnTo>
                  <a:pt x="229" y="52"/>
                </a:lnTo>
                <a:lnTo>
                  <a:pt x="241" y="37"/>
                </a:lnTo>
                <a:lnTo>
                  <a:pt x="253" y="20"/>
                </a:lnTo>
                <a:lnTo>
                  <a:pt x="266" y="0"/>
                </a:lnTo>
                <a:lnTo>
                  <a:pt x="270" y="7"/>
                </a:lnTo>
                <a:lnTo>
                  <a:pt x="274" y="13"/>
                </a:lnTo>
                <a:lnTo>
                  <a:pt x="276" y="20"/>
                </a:lnTo>
                <a:lnTo>
                  <a:pt x="279" y="27"/>
                </a:lnTo>
                <a:lnTo>
                  <a:pt x="282" y="42"/>
                </a:lnTo>
                <a:lnTo>
                  <a:pt x="286" y="62"/>
                </a:lnTo>
                <a:lnTo>
                  <a:pt x="246" y="198"/>
                </a:lnTo>
                <a:lnTo>
                  <a:pt x="226" y="228"/>
                </a:lnTo>
                <a:lnTo>
                  <a:pt x="53" y="210"/>
                </a:lnTo>
                <a:lnTo>
                  <a:pt x="0" y="11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307" name="Freeform 259"/>
          <p:cNvSpPr>
            <a:spLocks/>
          </p:cNvSpPr>
          <p:nvPr>
            <p:custDataLst>
              <p:tags r:id="rId186"/>
            </p:custDataLst>
          </p:nvPr>
        </p:nvSpPr>
        <p:spPr bwMode="auto">
          <a:xfrm>
            <a:off x="4948238" y="1859762"/>
            <a:ext cx="222250" cy="197644"/>
          </a:xfrm>
          <a:custGeom>
            <a:avLst/>
            <a:gdLst/>
            <a:ahLst/>
            <a:cxnLst>
              <a:cxn ang="0">
                <a:pos x="478" y="370"/>
              </a:cxn>
              <a:cxn ang="0">
                <a:pos x="484" y="346"/>
              </a:cxn>
              <a:cxn ang="0">
                <a:pos x="483" y="329"/>
              </a:cxn>
              <a:cxn ang="0">
                <a:pos x="478" y="302"/>
              </a:cxn>
              <a:cxn ang="0">
                <a:pos x="455" y="299"/>
              </a:cxn>
              <a:cxn ang="0">
                <a:pos x="431" y="288"/>
              </a:cxn>
              <a:cxn ang="0">
                <a:pos x="407" y="274"/>
              </a:cxn>
              <a:cxn ang="0">
                <a:pos x="386" y="256"/>
              </a:cxn>
              <a:cxn ang="0">
                <a:pos x="366" y="237"/>
              </a:cxn>
              <a:cxn ang="0">
                <a:pos x="352" y="216"/>
              </a:cxn>
              <a:cxn ang="0">
                <a:pos x="342" y="196"/>
              </a:cxn>
              <a:cxn ang="0">
                <a:pos x="339" y="178"/>
              </a:cxn>
              <a:cxn ang="0">
                <a:pos x="341" y="162"/>
              </a:cxn>
              <a:cxn ang="0">
                <a:pos x="349" y="150"/>
              </a:cxn>
              <a:cxn ang="0">
                <a:pos x="365" y="136"/>
              </a:cxn>
              <a:cxn ang="0">
                <a:pos x="354" y="130"/>
              </a:cxn>
              <a:cxn ang="0">
                <a:pos x="341" y="119"/>
              </a:cxn>
              <a:cxn ang="0">
                <a:pos x="315" y="87"/>
              </a:cxn>
              <a:cxn ang="0">
                <a:pos x="292" y="51"/>
              </a:cxn>
              <a:cxn ang="0">
                <a:pos x="279" y="25"/>
              </a:cxn>
              <a:cxn ang="0">
                <a:pos x="260" y="24"/>
              </a:cxn>
              <a:cxn ang="0">
                <a:pos x="239" y="19"/>
              </a:cxn>
              <a:cxn ang="0">
                <a:pos x="219" y="11"/>
              </a:cxn>
              <a:cxn ang="0">
                <a:pos x="197" y="6"/>
              </a:cxn>
              <a:cxn ang="0">
                <a:pos x="170" y="3"/>
              </a:cxn>
              <a:cxn ang="0">
                <a:pos x="149" y="8"/>
              </a:cxn>
              <a:cxn ang="0">
                <a:pos x="114" y="41"/>
              </a:cxn>
              <a:cxn ang="0">
                <a:pos x="98" y="57"/>
              </a:cxn>
              <a:cxn ang="0">
                <a:pos x="93" y="64"/>
              </a:cxn>
              <a:cxn ang="0">
                <a:pos x="94" y="94"/>
              </a:cxn>
              <a:cxn ang="0">
                <a:pos x="95" y="140"/>
              </a:cxn>
              <a:cxn ang="0">
                <a:pos x="94" y="164"/>
              </a:cxn>
              <a:cxn ang="0">
                <a:pos x="86" y="180"/>
              </a:cxn>
              <a:cxn ang="0">
                <a:pos x="67" y="197"/>
              </a:cxn>
              <a:cxn ang="0">
                <a:pos x="40" y="214"/>
              </a:cxn>
              <a:cxn ang="0">
                <a:pos x="13" y="228"/>
              </a:cxn>
              <a:cxn ang="0">
                <a:pos x="2" y="246"/>
              </a:cxn>
              <a:cxn ang="0">
                <a:pos x="2" y="264"/>
              </a:cxn>
              <a:cxn ang="0">
                <a:pos x="0" y="278"/>
              </a:cxn>
              <a:cxn ang="0">
                <a:pos x="0" y="289"/>
              </a:cxn>
              <a:cxn ang="0">
                <a:pos x="7" y="301"/>
              </a:cxn>
              <a:cxn ang="0">
                <a:pos x="26" y="314"/>
              </a:cxn>
              <a:cxn ang="0">
                <a:pos x="62" y="331"/>
              </a:cxn>
              <a:cxn ang="0">
                <a:pos x="120" y="355"/>
              </a:cxn>
              <a:cxn ang="0">
                <a:pos x="180" y="374"/>
              </a:cxn>
              <a:cxn ang="0">
                <a:pos x="214" y="385"/>
              </a:cxn>
              <a:cxn ang="0">
                <a:pos x="237" y="400"/>
              </a:cxn>
              <a:cxn ang="0">
                <a:pos x="252" y="418"/>
              </a:cxn>
              <a:cxn ang="0">
                <a:pos x="262" y="435"/>
              </a:cxn>
              <a:cxn ang="0">
                <a:pos x="266" y="451"/>
              </a:cxn>
              <a:cxn ang="0">
                <a:pos x="270" y="469"/>
              </a:cxn>
              <a:cxn ang="0">
                <a:pos x="277" y="481"/>
              </a:cxn>
              <a:cxn ang="0">
                <a:pos x="287" y="489"/>
              </a:cxn>
              <a:cxn ang="0">
                <a:pos x="307" y="497"/>
              </a:cxn>
              <a:cxn ang="0">
                <a:pos x="328" y="503"/>
              </a:cxn>
              <a:cxn ang="0">
                <a:pos x="335" y="500"/>
              </a:cxn>
              <a:cxn ang="0">
                <a:pos x="346" y="499"/>
              </a:cxn>
              <a:cxn ang="0">
                <a:pos x="366" y="503"/>
              </a:cxn>
              <a:cxn ang="0">
                <a:pos x="383" y="505"/>
              </a:cxn>
              <a:cxn ang="0">
                <a:pos x="437" y="505"/>
              </a:cxn>
              <a:cxn ang="0">
                <a:pos x="465" y="449"/>
              </a:cxn>
              <a:cxn ang="0">
                <a:pos x="492" y="437"/>
              </a:cxn>
            </a:cxnLst>
            <a:rect l="0" t="0" r="r" b="b"/>
            <a:pathLst>
              <a:path w="524" h="505">
                <a:moveTo>
                  <a:pt x="524" y="419"/>
                </a:moveTo>
                <a:lnTo>
                  <a:pt x="478" y="370"/>
                </a:lnTo>
                <a:lnTo>
                  <a:pt x="482" y="357"/>
                </a:lnTo>
                <a:lnTo>
                  <a:pt x="484" y="346"/>
                </a:lnTo>
                <a:lnTo>
                  <a:pt x="484" y="336"/>
                </a:lnTo>
                <a:lnTo>
                  <a:pt x="483" y="329"/>
                </a:lnTo>
                <a:lnTo>
                  <a:pt x="479" y="315"/>
                </a:lnTo>
                <a:lnTo>
                  <a:pt x="478" y="302"/>
                </a:lnTo>
                <a:lnTo>
                  <a:pt x="466" y="301"/>
                </a:lnTo>
                <a:lnTo>
                  <a:pt x="455" y="299"/>
                </a:lnTo>
                <a:lnTo>
                  <a:pt x="443" y="295"/>
                </a:lnTo>
                <a:lnTo>
                  <a:pt x="431" y="288"/>
                </a:lnTo>
                <a:lnTo>
                  <a:pt x="419" y="282"/>
                </a:lnTo>
                <a:lnTo>
                  <a:pt x="407" y="274"/>
                </a:lnTo>
                <a:lnTo>
                  <a:pt x="396" y="266"/>
                </a:lnTo>
                <a:lnTo>
                  <a:pt x="386" y="256"/>
                </a:lnTo>
                <a:lnTo>
                  <a:pt x="376" y="247"/>
                </a:lnTo>
                <a:lnTo>
                  <a:pt x="366" y="237"/>
                </a:lnTo>
                <a:lnTo>
                  <a:pt x="359" y="226"/>
                </a:lnTo>
                <a:lnTo>
                  <a:pt x="352" y="216"/>
                </a:lnTo>
                <a:lnTo>
                  <a:pt x="347" y="206"/>
                </a:lnTo>
                <a:lnTo>
                  <a:pt x="342" y="196"/>
                </a:lnTo>
                <a:lnTo>
                  <a:pt x="339" y="187"/>
                </a:lnTo>
                <a:lnTo>
                  <a:pt x="339" y="178"/>
                </a:lnTo>
                <a:lnTo>
                  <a:pt x="339" y="170"/>
                </a:lnTo>
                <a:lnTo>
                  <a:pt x="341" y="162"/>
                </a:lnTo>
                <a:lnTo>
                  <a:pt x="346" y="156"/>
                </a:lnTo>
                <a:lnTo>
                  <a:pt x="349" y="150"/>
                </a:lnTo>
                <a:lnTo>
                  <a:pt x="358" y="142"/>
                </a:lnTo>
                <a:lnTo>
                  <a:pt x="365" y="136"/>
                </a:lnTo>
                <a:lnTo>
                  <a:pt x="360" y="134"/>
                </a:lnTo>
                <a:lnTo>
                  <a:pt x="354" y="130"/>
                </a:lnTo>
                <a:lnTo>
                  <a:pt x="348" y="126"/>
                </a:lnTo>
                <a:lnTo>
                  <a:pt x="341" y="119"/>
                </a:lnTo>
                <a:lnTo>
                  <a:pt x="328" y="104"/>
                </a:lnTo>
                <a:lnTo>
                  <a:pt x="315" y="87"/>
                </a:lnTo>
                <a:lnTo>
                  <a:pt x="302" y="69"/>
                </a:lnTo>
                <a:lnTo>
                  <a:pt x="292" y="51"/>
                </a:lnTo>
                <a:lnTo>
                  <a:pt x="283" y="36"/>
                </a:lnTo>
                <a:lnTo>
                  <a:pt x="279" y="25"/>
                </a:lnTo>
                <a:lnTo>
                  <a:pt x="272" y="25"/>
                </a:lnTo>
                <a:lnTo>
                  <a:pt x="260" y="24"/>
                </a:lnTo>
                <a:lnTo>
                  <a:pt x="249" y="22"/>
                </a:lnTo>
                <a:lnTo>
                  <a:pt x="239" y="19"/>
                </a:lnTo>
                <a:lnTo>
                  <a:pt x="229" y="16"/>
                </a:lnTo>
                <a:lnTo>
                  <a:pt x="219" y="11"/>
                </a:lnTo>
                <a:lnTo>
                  <a:pt x="208" y="9"/>
                </a:lnTo>
                <a:lnTo>
                  <a:pt x="197" y="6"/>
                </a:lnTo>
                <a:lnTo>
                  <a:pt x="185" y="6"/>
                </a:lnTo>
                <a:lnTo>
                  <a:pt x="170" y="3"/>
                </a:lnTo>
                <a:lnTo>
                  <a:pt x="159" y="0"/>
                </a:lnTo>
                <a:lnTo>
                  <a:pt x="149" y="8"/>
                </a:lnTo>
                <a:lnTo>
                  <a:pt x="126" y="29"/>
                </a:lnTo>
                <a:lnTo>
                  <a:pt x="114" y="41"/>
                </a:lnTo>
                <a:lnTo>
                  <a:pt x="103" y="52"/>
                </a:lnTo>
                <a:lnTo>
                  <a:pt x="98" y="57"/>
                </a:lnTo>
                <a:lnTo>
                  <a:pt x="95" y="61"/>
                </a:lnTo>
                <a:lnTo>
                  <a:pt x="93" y="64"/>
                </a:lnTo>
                <a:lnTo>
                  <a:pt x="93" y="68"/>
                </a:lnTo>
                <a:lnTo>
                  <a:pt x="94" y="94"/>
                </a:lnTo>
                <a:lnTo>
                  <a:pt x="95" y="125"/>
                </a:lnTo>
                <a:lnTo>
                  <a:pt x="95" y="140"/>
                </a:lnTo>
                <a:lnTo>
                  <a:pt x="95" y="153"/>
                </a:lnTo>
                <a:lnTo>
                  <a:pt x="94" y="164"/>
                </a:lnTo>
                <a:lnTo>
                  <a:pt x="93" y="172"/>
                </a:lnTo>
                <a:lnTo>
                  <a:pt x="86" y="180"/>
                </a:lnTo>
                <a:lnTo>
                  <a:pt x="78" y="188"/>
                </a:lnTo>
                <a:lnTo>
                  <a:pt x="67" y="197"/>
                </a:lnTo>
                <a:lnTo>
                  <a:pt x="53" y="206"/>
                </a:lnTo>
                <a:lnTo>
                  <a:pt x="40" y="214"/>
                </a:lnTo>
                <a:lnTo>
                  <a:pt x="26" y="222"/>
                </a:lnTo>
                <a:lnTo>
                  <a:pt x="13" y="228"/>
                </a:lnTo>
                <a:lnTo>
                  <a:pt x="0" y="235"/>
                </a:lnTo>
                <a:lnTo>
                  <a:pt x="2" y="246"/>
                </a:lnTo>
                <a:lnTo>
                  <a:pt x="3" y="256"/>
                </a:lnTo>
                <a:lnTo>
                  <a:pt x="2" y="264"/>
                </a:lnTo>
                <a:lnTo>
                  <a:pt x="1" y="272"/>
                </a:lnTo>
                <a:lnTo>
                  <a:pt x="0" y="278"/>
                </a:lnTo>
                <a:lnTo>
                  <a:pt x="0" y="284"/>
                </a:lnTo>
                <a:lnTo>
                  <a:pt x="0" y="289"/>
                </a:lnTo>
                <a:lnTo>
                  <a:pt x="2" y="295"/>
                </a:lnTo>
                <a:lnTo>
                  <a:pt x="7" y="301"/>
                </a:lnTo>
                <a:lnTo>
                  <a:pt x="15" y="307"/>
                </a:lnTo>
                <a:lnTo>
                  <a:pt x="26" y="314"/>
                </a:lnTo>
                <a:lnTo>
                  <a:pt x="41" y="321"/>
                </a:lnTo>
                <a:lnTo>
                  <a:pt x="62" y="331"/>
                </a:lnTo>
                <a:lnTo>
                  <a:pt x="89" y="341"/>
                </a:lnTo>
                <a:lnTo>
                  <a:pt x="120" y="355"/>
                </a:lnTo>
                <a:lnTo>
                  <a:pt x="159" y="370"/>
                </a:lnTo>
                <a:lnTo>
                  <a:pt x="180" y="374"/>
                </a:lnTo>
                <a:lnTo>
                  <a:pt x="198" y="379"/>
                </a:lnTo>
                <a:lnTo>
                  <a:pt x="214" y="385"/>
                </a:lnTo>
                <a:lnTo>
                  <a:pt x="226" y="393"/>
                </a:lnTo>
                <a:lnTo>
                  <a:pt x="237" y="400"/>
                </a:lnTo>
                <a:lnTo>
                  <a:pt x="246" y="410"/>
                </a:lnTo>
                <a:lnTo>
                  <a:pt x="252" y="418"/>
                </a:lnTo>
                <a:lnTo>
                  <a:pt x="258" y="427"/>
                </a:lnTo>
                <a:lnTo>
                  <a:pt x="262" y="435"/>
                </a:lnTo>
                <a:lnTo>
                  <a:pt x="265" y="443"/>
                </a:lnTo>
                <a:lnTo>
                  <a:pt x="266" y="451"/>
                </a:lnTo>
                <a:lnTo>
                  <a:pt x="269" y="458"/>
                </a:lnTo>
                <a:lnTo>
                  <a:pt x="270" y="469"/>
                </a:lnTo>
                <a:lnTo>
                  <a:pt x="272" y="475"/>
                </a:lnTo>
                <a:lnTo>
                  <a:pt x="277" y="481"/>
                </a:lnTo>
                <a:lnTo>
                  <a:pt x="282" y="485"/>
                </a:lnTo>
                <a:lnTo>
                  <a:pt x="287" y="489"/>
                </a:lnTo>
                <a:lnTo>
                  <a:pt x="294" y="492"/>
                </a:lnTo>
                <a:lnTo>
                  <a:pt x="307" y="497"/>
                </a:lnTo>
                <a:lnTo>
                  <a:pt x="325" y="505"/>
                </a:lnTo>
                <a:lnTo>
                  <a:pt x="328" y="503"/>
                </a:lnTo>
                <a:lnTo>
                  <a:pt x="331" y="501"/>
                </a:lnTo>
                <a:lnTo>
                  <a:pt x="335" y="500"/>
                </a:lnTo>
                <a:lnTo>
                  <a:pt x="338" y="500"/>
                </a:lnTo>
                <a:lnTo>
                  <a:pt x="346" y="499"/>
                </a:lnTo>
                <a:lnTo>
                  <a:pt x="353" y="500"/>
                </a:lnTo>
                <a:lnTo>
                  <a:pt x="366" y="503"/>
                </a:lnTo>
                <a:lnTo>
                  <a:pt x="372" y="505"/>
                </a:lnTo>
                <a:lnTo>
                  <a:pt x="383" y="505"/>
                </a:lnTo>
                <a:lnTo>
                  <a:pt x="407" y="505"/>
                </a:lnTo>
                <a:lnTo>
                  <a:pt x="437" y="505"/>
                </a:lnTo>
                <a:lnTo>
                  <a:pt x="458" y="505"/>
                </a:lnTo>
                <a:lnTo>
                  <a:pt x="465" y="449"/>
                </a:lnTo>
                <a:lnTo>
                  <a:pt x="478" y="443"/>
                </a:lnTo>
                <a:lnTo>
                  <a:pt x="492" y="437"/>
                </a:lnTo>
                <a:lnTo>
                  <a:pt x="524" y="4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308" name="Freeform 260"/>
          <p:cNvSpPr>
            <a:spLocks/>
          </p:cNvSpPr>
          <p:nvPr>
            <p:custDataLst>
              <p:tags r:id="rId187"/>
            </p:custDataLst>
          </p:nvPr>
        </p:nvSpPr>
        <p:spPr bwMode="auto">
          <a:xfrm>
            <a:off x="5448300" y="1829991"/>
            <a:ext cx="331788" cy="217884"/>
          </a:xfrm>
          <a:custGeom>
            <a:avLst/>
            <a:gdLst/>
            <a:ahLst/>
            <a:cxnLst>
              <a:cxn ang="0">
                <a:pos x="62" y="196"/>
              </a:cxn>
              <a:cxn ang="0">
                <a:pos x="93" y="190"/>
              </a:cxn>
              <a:cxn ang="0">
                <a:pos x="128" y="182"/>
              </a:cxn>
              <a:cxn ang="0">
                <a:pos x="175" y="151"/>
              </a:cxn>
              <a:cxn ang="0">
                <a:pos x="194" y="126"/>
              </a:cxn>
              <a:cxn ang="0">
                <a:pos x="199" y="88"/>
              </a:cxn>
              <a:cxn ang="0">
                <a:pos x="208" y="69"/>
              </a:cxn>
              <a:cxn ang="0">
                <a:pos x="240" y="60"/>
              </a:cxn>
              <a:cxn ang="0">
                <a:pos x="294" y="62"/>
              </a:cxn>
              <a:cxn ang="0">
                <a:pos x="329" y="71"/>
              </a:cxn>
              <a:cxn ang="0">
                <a:pos x="362" y="90"/>
              </a:cxn>
              <a:cxn ang="0">
                <a:pos x="386" y="93"/>
              </a:cxn>
              <a:cxn ang="0">
                <a:pos x="419" y="84"/>
              </a:cxn>
              <a:cxn ang="0">
                <a:pos x="460" y="61"/>
              </a:cxn>
              <a:cxn ang="0">
                <a:pos x="479" y="33"/>
              </a:cxn>
              <a:cxn ang="0">
                <a:pos x="508" y="4"/>
              </a:cxn>
              <a:cxn ang="0">
                <a:pos x="530" y="19"/>
              </a:cxn>
              <a:cxn ang="0">
                <a:pos x="550" y="45"/>
              </a:cxn>
              <a:cxn ang="0">
                <a:pos x="561" y="87"/>
              </a:cxn>
              <a:cxn ang="0">
                <a:pos x="570" y="101"/>
              </a:cxn>
              <a:cxn ang="0">
                <a:pos x="589" y="104"/>
              </a:cxn>
              <a:cxn ang="0">
                <a:pos x="622" y="73"/>
              </a:cxn>
              <a:cxn ang="0">
                <a:pos x="743" y="66"/>
              </a:cxn>
              <a:cxn ang="0">
                <a:pos x="759" y="87"/>
              </a:cxn>
              <a:cxn ang="0">
                <a:pos x="679" y="100"/>
              </a:cxn>
              <a:cxn ang="0">
                <a:pos x="605" y="112"/>
              </a:cxn>
              <a:cxn ang="0">
                <a:pos x="574" y="130"/>
              </a:cxn>
              <a:cxn ang="0">
                <a:pos x="571" y="147"/>
              </a:cxn>
              <a:cxn ang="0">
                <a:pos x="582" y="164"/>
              </a:cxn>
              <a:cxn ang="0">
                <a:pos x="601" y="180"/>
              </a:cxn>
              <a:cxn ang="0">
                <a:pos x="604" y="195"/>
              </a:cxn>
              <a:cxn ang="0">
                <a:pos x="594" y="213"/>
              </a:cxn>
              <a:cxn ang="0">
                <a:pos x="574" y="237"/>
              </a:cxn>
              <a:cxn ang="0">
                <a:pos x="565" y="255"/>
              </a:cxn>
              <a:cxn ang="0">
                <a:pos x="542" y="269"/>
              </a:cxn>
              <a:cxn ang="0">
                <a:pos x="519" y="310"/>
              </a:cxn>
              <a:cxn ang="0">
                <a:pos x="508" y="363"/>
              </a:cxn>
              <a:cxn ang="0">
                <a:pos x="497" y="425"/>
              </a:cxn>
              <a:cxn ang="0">
                <a:pos x="477" y="412"/>
              </a:cxn>
              <a:cxn ang="0">
                <a:pos x="460" y="407"/>
              </a:cxn>
              <a:cxn ang="0">
                <a:pos x="439" y="418"/>
              </a:cxn>
              <a:cxn ang="0">
                <a:pos x="411" y="440"/>
              </a:cxn>
              <a:cxn ang="0">
                <a:pos x="393" y="444"/>
              </a:cxn>
              <a:cxn ang="0">
                <a:pos x="375" y="463"/>
              </a:cxn>
              <a:cxn ang="0">
                <a:pos x="365" y="511"/>
              </a:cxn>
              <a:cxn ang="0">
                <a:pos x="350" y="525"/>
              </a:cxn>
              <a:cxn ang="0">
                <a:pos x="270" y="546"/>
              </a:cxn>
              <a:cxn ang="0">
                <a:pos x="194" y="554"/>
              </a:cxn>
              <a:cxn ang="0">
                <a:pos x="113" y="542"/>
              </a:cxn>
              <a:cxn ang="0">
                <a:pos x="95" y="518"/>
              </a:cxn>
              <a:cxn ang="0">
                <a:pos x="115" y="488"/>
              </a:cxn>
              <a:cxn ang="0">
                <a:pos x="125" y="462"/>
              </a:cxn>
              <a:cxn ang="0">
                <a:pos x="123" y="442"/>
              </a:cxn>
              <a:cxn ang="0">
                <a:pos x="111" y="433"/>
              </a:cxn>
              <a:cxn ang="0">
                <a:pos x="69" y="431"/>
              </a:cxn>
              <a:cxn ang="0">
                <a:pos x="52" y="421"/>
              </a:cxn>
              <a:cxn ang="0">
                <a:pos x="34" y="384"/>
              </a:cxn>
              <a:cxn ang="0">
                <a:pos x="19" y="309"/>
              </a:cxn>
              <a:cxn ang="0">
                <a:pos x="10" y="291"/>
              </a:cxn>
              <a:cxn ang="0">
                <a:pos x="0" y="280"/>
              </a:cxn>
              <a:cxn ang="0">
                <a:pos x="2" y="268"/>
              </a:cxn>
              <a:cxn ang="0">
                <a:pos x="22" y="248"/>
              </a:cxn>
              <a:cxn ang="0">
                <a:pos x="34" y="221"/>
              </a:cxn>
            </a:cxnLst>
            <a:rect l="0" t="0" r="r" b="b"/>
            <a:pathLst>
              <a:path w="764" h="555">
                <a:moveTo>
                  <a:pt x="39" y="191"/>
                </a:moveTo>
                <a:lnTo>
                  <a:pt x="48" y="194"/>
                </a:lnTo>
                <a:lnTo>
                  <a:pt x="56" y="196"/>
                </a:lnTo>
                <a:lnTo>
                  <a:pt x="62" y="196"/>
                </a:lnTo>
                <a:lnTo>
                  <a:pt x="68" y="195"/>
                </a:lnTo>
                <a:lnTo>
                  <a:pt x="77" y="192"/>
                </a:lnTo>
                <a:lnTo>
                  <a:pt x="85" y="191"/>
                </a:lnTo>
                <a:lnTo>
                  <a:pt x="93" y="190"/>
                </a:lnTo>
                <a:lnTo>
                  <a:pt x="101" y="190"/>
                </a:lnTo>
                <a:lnTo>
                  <a:pt x="107" y="188"/>
                </a:lnTo>
                <a:lnTo>
                  <a:pt x="114" y="186"/>
                </a:lnTo>
                <a:lnTo>
                  <a:pt x="128" y="182"/>
                </a:lnTo>
                <a:lnTo>
                  <a:pt x="140" y="175"/>
                </a:lnTo>
                <a:lnTo>
                  <a:pt x="152" y="168"/>
                </a:lnTo>
                <a:lnTo>
                  <a:pt x="164" y="160"/>
                </a:lnTo>
                <a:lnTo>
                  <a:pt x="175" y="151"/>
                </a:lnTo>
                <a:lnTo>
                  <a:pt x="185" y="142"/>
                </a:lnTo>
                <a:lnTo>
                  <a:pt x="189" y="136"/>
                </a:lnTo>
                <a:lnTo>
                  <a:pt x="192" y="131"/>
                </a:lnTo>
                <a:lnTo>
                  <a:pt x="194" y="126"/>
                </a:lnTo>
                <a:lnTo>
                  <a:pt x="195" y="120"/>
                </a:lnTo>
                <a:lnTo>
                  <a:pt x="197" y="109"/>
                </a:lnTo>
                <a:lnTo>
                  <a:pt x="198" y="98"/>
                </a:lnTo>
                <a:lnTo>
                  <a:pt x="199" y="88"/>
                </a:lnTo>
                <a:lnTo>
                  <a:pt x="202" y="78"/>
                </a:lnTo>
                <a:lnTo>
                  <a:pt x="204" y="74"/>
                </a:lnTo>
                <a:lnTo>
                  <a:pt x="206" y="71"/>
                </a:lnTo>
                <a:lnTo>
                  <a:pt x="208" y="69"/>
                </a:lnTo>
                <a:lnTo>
                  <a:pt x="212" y="68"/>
                </a:lnTo>
                <a:lnTo>
                  <a:pt x="221" y="64"/>
                </a:lnTo>
                <a:lnTo>
                  <a:pt x="231" y="62"/>
                </a:lnTo>
                <a:lnTo>
                  <a:pt x="240" y="60"/>
                </a:lnTo>
                <a:lnTo>
                  <a:pt x="249" y="60"/>
                </a:lnTo>
                <a:lnTo>
                  <a:pt x="266" y="61"/>
                </a:lnTo>
                <a:lnTo>
                  <a:pt x="285" y="61"/>
                </a:lnTo>
                <a:lnTo>
                  <a:pt x="294" y="62"/>
                </a:lnTo>
                <a:lnTo>
                  <a:pt x="303" y="63"/>
                </a:lnTo>
                <a:lnTo>
                  <a:pt x="310" y="64"/>
                </a:lnTo>
                <a:lnTo>
                  <a:pt x="317" y="66"/>
                </a:lnTo>
                <a:lnTo>
                  <a:pt x="329" y="71"/>
                </a:lnTo>
                <a:lnTo>
                  <a:pt x="339" y="77"/>
                </a:lnTo>
                <a:lnTo>
                  <a:pt x="348" y="82"/>
                </a:lnTo>
                <a:lnTo>
                  <a:pt x="357" y="88"/>
                </a:lnTo>
                <a:lnTo>
                  <a:pt x="362" y="90"/>
                </a:lnTo>
                <a:lnTo>
                  <a:pt x="366" y="91"/>
                </a:lnTo>
                <a:lnTo>
                  <a:pt x="372" y="92"/>
                </a:lnTo>
                <a:lnTo>
                  <a:pt x="378" y="93"/>
                </a:lnTo>
                <a:lnTo>
                  <a:pt x="386" y="93"/>
                </a:lnTo>
                <a:lnTo>
                  <a:pt x="394" y="92"/>
                </a:lnTo>
                <a:lnTo>
                  <a:pt x="402" y="90"/>
                </a:lnTo>
                <a:lnTo>
                  <a:pt x="407" y="89"/>
                </a:lnTo>
                <a:lnTo>
                  <a:pt x="419" y="84"/>
                </a:lnTo>
                <a:lnTo>
                  <a:pt x="429" y="78"/>
                </a:lnTo>
                <a:lnTo>
                  <a:pt x="439" y="72"/>
                </a:lnTo>
                <a:lnTo>
                  <a:pt x="449" y="66"/>
                </a:lnTo>
                <a:lnTo>
                  <a:pt x="460" y="61"/>
                </a:lnTo>
                <a:lnTo>
                  <a:pt x="471" y="55"/>
                </a:lnTo>
                <a:lnTo>
                  <a:pt x="472" y="48"/>
                </a:lnTo>
                <a:lnTo>
                  <a:pt x="475" y="41"/>
                </a:lnTo>
                <a:lnTo>
                  <a:pt x="479" y="33"/>
                </a:lnTo>
                <a:lnTo>
                  <a:pt x="485" y="25"/>
                </a:lnTo>
                <a:lnTo>
                  <a:pt x="496" y="11"/>
                </a:lnTo>
                <a:lnTo>
                  <a:pt x="505" y="0"/>
                </a:lnTo>
                <a:lnTo>
                  <a:pt x="508" y="4"/>
                </a:lnTo>
                <a:lnTo>
                  <a:pt x="512" y="8"/>
                </a:lnTo>
                <a:lnTo>
                  <a:pt x="518" y="12"/>
                </a:lnTo>
                <a:lnTo>
                  <a:pt x="525" y="15"/>
                </a:lnTo>
                <a:lnTo>
                  <a:pt x="530" y="19"/>
                </a:lnTo>
                <a:lnTo>
                  <a:pt x="537" y="22"/>
                </a:lnTo>
                <a:lnTo>
                  <a:pt x="541" y="26"/>
                </a:lnTo>
                <a:lnTo>
                  <a:pt x="544" y="31"/>
                </a:lnTo>
                <a:lnTo>
                  <a:pt x="550" y="45"/>
                </a:lnTo>
                <a:lnTo>
                  <a:pt x="554" y="58"/>
                </a:lnTo>
                <a:lnTo>
                  <a:pt x="556" y="70"/>
                </a:lnTo>
                <a:lnTo>
                  <a:pt x="559" y="81"/>
                </a:lnTo>
                <a:lnTo>
                  <a:pt x="561" y="87"/>
                </a:lnTo>
                <a:lnTo>
                  <a:pt x="562" y="91"/>
                </a:lnTo>
                <a:lnTo>
                  <a:pt x="564" y="95"/>
                </a:lnTo>
                <a:lnTo>
                  <a:pt x="566" y="99"/>
                </a:lnTo>
                <a:lnTo>
                  <a:pt x="570" y="101"/>
                </a:lnTo>
                <a:lnTo>
                  <a:pt x="574" y="103"/>
                </a:lnTo>
                <a:lnTo>
                  <a:pt x="578" y="104"/>
                </a:lnTo>
                <a:lnTo>
                  <a:pt x="584" y="105"/>
                </a:lnTo>
                <a:lnTo>
                  <a:pt x="589" y="104"/>
                </a:lnTo>
                <a:lnTo>
                  <a:pt x="596" y="100"/>
                </a:lnTo>
                <a:lnTo>
                  <a:pt x="602" y="95"/>
                </a:lnTo>
                <a:lnTo>
                  <a:pt x="610" y="88"/>
                </a:lnTo>
                <a:lnTo>
                  <a:pt x="622" y="73"/>
                </a:lnTo>
                <a:lnTo>
                  <a:pt x="631" y="61"/>
                </a:lnTo>
                <a:lnTo>
                  <a:pt x="723" y="61"/>
                </a:lnTo>
                <a:lnTo>
                  <a:pt x="736" y="61"/>
                </a:lnTo>
                <a:lnTo>
                  <a:pt x="743" y="66"/>
                </a:lnTo>
                <a:lnTo>
                  <a:pt x="748" y="70"/>
                </a:lnTo>
                <a:lnTo>
                  <a:pt x="752" y="75"/>
                </a:lnTo>
                <a:lnTo>
                  <a:pt x="755" y="79"/>
                </a:lnTo>
                <a:lnTo>
                  <a:pt x="759" y="87"/>
                </a:lnTo>
                <a:lnTo>
                  <a:pt x="764" y="93"/>
                </a:lnTo>
                <a:lnTo>
                  <a:pt x="740" y="95"/>
                </a:lnTo>
                <a:lnTo>
                  <a:pt x="711" y="97"/>
                </a:lnTo>
                <a:lnTo>
                  <a:pt x="679" y="100"/>
                </a:lnTo>
                <a:lnTo>
                  <a:pt x="647" y="103"/>
                </a:lnTo>
                <a:lnTo>
                  <a:pt x="632" y="106"/>
                </a:lnTo>
                <a:lnTo>
                  <a:pt x="618" y="109"/>
                </a:lnTo>
                <a:lnTo>
                  <a:pt x="605" y="112"/>
                </a:lnTo>
                <a:lnTo>
                  <a:pt x="594" y="117"/>
                </a:lnTo>
                <a:lnTo>
                  <a:pt x="584" y="122"/>
                </a:lnTo>
                <a:lnTo>
                  <a:pt x="577" y="127"/>
                </a:lnTo>
                <a:lnTo>
                  <a:pt x="574" y="130"/>
                </a:lnTo>
                <a:lnTo>
                  <a:pt x="572" y="134"/>
                </a:lnTo>
                <a:lnTo>
                  <a:pt x="571" y="137"/>
                </a:lnTo>
                <a:lnTo>
                  <a:pt x="571" y="142"/>
                </a:lnTo>
                <a:lnTo>
                  <a:pt x="571" y="147"/>
                </a:lnTo>
                <a:lnTo>
                  <a:pt x="572" y="152"/>
                </a:lnTo>
                <a:lnTo>
                  <a:pt x="574" y="156"/>
                </a:lnTo>
                <a:lnTo>
                  <a:pt x="576" y="159"/>
                </a:lnTo>
                <a:lnTo>
                  <a:pt x="582" y="164"/>
                </a:lnTo>
                <a:lnTo>
                  <a:pt x="587" y="169"/>
                </a:lnTo>
                <a:lnTo>
                  <a:pt x="594" y="173"/>
                </a:lnTo>
                <a:lnTo>
                  <a:pt x="599" y="177"/>
                </a:lnTo>
                <a:lnTo>
                  <a:pt x="601" y="180"/>
                </a:lnTo>
                <a:lnTo>
                  <a:pt x="602" y="183"/>
                </a:lnTo>
                <a:lnTo>
                  <a:pt x="604" y="186"/>
                </a:lnTo>
                <a:lnTo>
                  <a:pt x="604" y="191"/>
                </a:lnTo>
                <a:lnTo>
                  <a:pt x="604" y="195"/>
                </a:lnTo>
                <a:lnTo>
                  <a:pt x="602" y="200"/>
                </a:lnTo>
                <a:lnTo>
                  <a:pt x="601" y="204"/>
                </a:lnTo>
                <a:lnTo>
                  <a:pt x="599" y="207"/>
                </a:lnTo>
                <a:lnTo>
                  <a:pt x="594" y="213"/>
                </a:lnTo>
                <a:lnTo>
                  <a:pt x="587" y="220"/>
                </a:lnTo>
                <a:lnTo>
                  <a:pt x="582" y="226"/>
                </a:lnTo>
                <a:lnTo>
                  <a:pt x="576" y="233"/>
                </a:lnTo>
                <a:lnTo>
                  <a:pt x="574" y="237"/>
                </a:lnTo>
                <a:lnTo>
                  <a:pt x="572" y="242"/>
                </a:lnTo>
                <a:lnTo>
                  <a:pt x="571" y="247"/>
                </a:lnTo>
                <a:lnTo>
                  <a:pt x="571" y="252"/>
                </a:lnTo>
                <a:lnTo>
                  <a:pt x="565" y="255"/>
                </a:lnTo>
                <a:lnTo>
                  <a:pt x="560" y="256"/>
                </a:lnTo>
                <a:lnTo>
                  <a:pt x="555" y="259"/>
                </a:lnTo>
                <a:lnTo>
                  <a:pt x="551" y="262"/>
                </a:lnTo>
                <a:lnTo>
                  <a:pt x="542" y="269"/>
                </a:lnTo>
                <a:lnTo>
                  <a:pt x="535" y="277"/>
                </a:lnTo>
                <a:lnTo>
                  <a:pt x="529" y="287"/>
                </a:lnTo>
                <a:lnTo>
                  <a:pt x="523" y="298"/>
                </a:lnTo>
                <a:lnTo>
                  <a:pt x="519" y="310"/>
                </a:lnTo>
                <a:lnTo>
                  <a:pt x="515" y="323"/>
                </a:lnTo>
                <a:lnTo>
                  <a:pt x="512" y="336"/>
                </a:lnTo>
                <a:lnTo>
                  <a:pt x="509" y="349"/>
                </a:lnTo>
                <a:lnTo>
                  <a:pt x="508" y="363"/>
                </a:lnTo>
                <a:lnTo>
                  <a:pt x="506" y="377"/>
                </a:lnTo>
                <a:lnTo>
                  <a:pt x="505" y="402"/>
                </a:lnTo>
                <a:lnTo>
                  <a:pt x="505" y="425"/>
                </a:lnTo>
                <a:lnTo>
                  <a:pt x="497" y="425"/>
                </a:lnTo>
                <a:lnTo>
                  <a:pt x="492" y="423"/>
                </a:lnTo>
                <a:lnTo>
                  <a:pt x="486" y="420"/>
                </a:lnTo>
                <a:lnTo>
                  <a:pt x="482" y="415"/>
                </a:lnTo>
                <a:lnTo>
                  <a:pt x="477" y="412"/>
                </a:lnTo>
                <a:lnTo>
                  <a:pt x="473" y="409"/>
                </a:lnTo>
                <a:lnTo>
                  <a:pt x="470" y="407"/>
                </a:lnTo>
                <a:lnTo>
                  <a:pt x="464" y="406"/>
                </a:lnTo>
                <a:lnTo>
                  <a:pt x="460" y="407"/>
                </a:lnTo>
                <a:lnTo>
                  <a:pt x="455" y="408"/>
                </a:lnTo>
                <a:lnTo>
                  <a:pt x="451" y="410"/>
                </a:lnTo>
                <a:lnTo>
                  <a:pt x="447" y="412"/>
                </a:lnTo>
                <a:lnTo>
                  <a:pt x="439" y="418"/>
                </a:lnTo>
                <a:lnTo>
                  <a:pt x="431" y="425"/>
                </a:lnTo>
                <a:lnTo>
                  <a:pt x="423" y="432"/>
                </a:lnTo>
                <a:lnTo>
                  <a:pt x="416" y="438"/>
                </a:lnTo>
                <a:lnTo>
                  <a:pt x="411" y="440"/>
                </a:lnTo>
                <a:lnTo>
                  <a:pt x="407" y="442"/>
                </a:lnTo>
                <a:lnTo>
                  <a:pt x="403" y="443"/>
                </a:lnTo>
                <a:lnTo>
                  <a:pt x="398" y="444"/>
                </a:lnTo>
                <a:lnTo>
                  <a:pt x="393" y="444"/>
                </a:lnTo>
                <a:lnTo>
                  <a:pt x="388" y="446"/>
                </a:lnTo>
                <a:lnTo>
                  <a:pt x="385" y="449"/>
                </a:lnTo>
                <a:lnTo>
                  <a:pt x="382" y="453"/>
                </a:lnTo>
                <a:lnTo>
                  <a:pt x="375" y="463"/>
                </a:lnTo>
                <a:lnTo>
                  <a:pt x="372" y="476"/>
                </a:lnTo>
                <a:lnTo>
                  <a:pt x="369" y="489"/>
                </a:lnTo>
                <a:lnTo>
                  <a:pt x="366" y="501"/>
                </a:lnTo>
                <a:lnTo>
                  <a:pt x="365" y="511"/>
                </a:lnTo>
                <a:lnTo>
                  <a:pt x="365" y="517"/>
                </a:lnTo>
                <a:lnTo>
                  <a:pt x="362" y="520"/>
                </a:lnTo>
                <a:lnTo>
                  <a:pt x="358" y="522"/>
                </a:lnTo>
                <a:lnTo>
                  <a:pt x="350" y="525"/>
                </a:lnTo>
                <a:lnTo>
                  <a:pt x="342" y="528"/>
                </a:lnTo>
                <a:lnTo>
                  <a:pt x="320" y="535"/>
                </a:lnTo>
                <a:lnTo>
                  <a:pt x="296" y="541"/>
                </a:lnTo>
                <a:lnTo>
                  <a:pt x="270" y="546"/>
                </a:lnTo>
                <a:lnTo>
                  <a:pt x="246" y="551"/>
                </a:lnTo>
                <a:lnTo>
                  <a:pt x="226" y="554"/>
                </a:lnTo>
                <a:lnTo>
                  <a:pt x="212" y="555"/>
                </a:lnTo>
                <a:lnTo>
                  <a:pt x="194" y="554"/>
                </a:lnTo>
                <a:lnTo>
                  <a:pt x="176" y="553"/>
                </a:lnTo>
                <a:lnTo>
                  <a:pt x="159" y="550"/>
                </a:lnTo>
                <a:lnTo>
                  <a:pt x="142" y="548"/>
                </a:lnTo>
                <a:lnTo>
                  <a:pt x="113" y="542"/>
                </a:lnTo>
                <a:lnTo>
                  <a:pt x="92" y="536"/>
                </a:lnTo>
                <a:lnTo>
                  <a:pt x="93" y="529"/>
                </a:lnTo>
                <a:lnTo>
                  <a:pt x="94" y="523"/>
                </a:lnTo>
                <a:lnTo>
                  <a:pt x="95" y="518"/>
                </a:lnTo>
                <a:lnTo>
                  <a:pt x="97" y="513"/>
                </a:lnTo>
                <a:lnTo>
                  <a:pt x="103" y="504"/>
                </a:lnTo>
                <a:lnTo>
                  <a:pt x="109" y="496"/>
                </a:lnTo>
                <a:lnTo>
                  <a:pt x="115" y="488"/>
                </a:lnTo>
                <a:lnTo>
                  <a:pt x="120" y="479"/>
                </a:lnTo>
                <a:lnTo>
                  <a:pt x="123" y="473"/>
                </a:lnTo>
                <a:lnTo>
                  <a:pt x="124" y="468"/>
                </a:lnTo>
                <a:lnTo>
                  <a:pt x="125" y="462"/>
                </a:lnTo>
                <a:lnTo>
                  <a:pt x="126" y="456"/>
                </a:lnTo>
                <a:lnTo>
                  <a:pt x="125" y="451"/>
                </a:lnTo>
                <a:lnTo>
                  <a:pt x="124" y="446"/>
                </a:lnTo>
                <a:lnTo>
                  <a:pt x="123" y="442"/>
                </a:lnTo>
                <a:lnTo>
                  <a:pt x="120" y="439"/>
                </a:lnTo>
                <a:lnTo>
                  <a:pt x="117" y="437"/>
                </a:lnTo>
                <a:lnTo>
                  <a:pt x="114" y="435"/>
                </a:lnTo>
                <a:lnTo>
                  <a:pt x="111" y="433"/>
                </a:lnTo>
                <a:lnTo>
                  <a:pt x="106" y="432"/>
                </a:lnTo>
                <a:lnTo>
                  <a:pt x="89" y="431"/>
                </a:lnTo>
                <a:lnTo>
                  <a:pt x="72" y="432"/>
                </a:lnTo>
                <a:lnTo>
                  <a:pt x="69" y="431"/>
                </a:lnTo>
                <a:lnTo>
                  <a:pt x="66" y="430"/>
                </a:lnTo>
                <a:lnTo>
                  <a:pt x="62" y="429"/>
                </a:lnTo>
                <a:lnTo>
                  <a:pt x="59" y="427"/>
                </a:lnTo>
                <a:lnTo>
                  <a:pt x="52" y="421"/>
                </a:lnTo>
                <a:lnTo>
                  <a:pt x="47" y="413"/>
                </a:lnTo>
                <a:lnTo>
                  <a:pt x="42" y="405"/>
                </a:lnTo>
                <a:lnTo>
                  <a:pt x="38" y="395"/>
                </a:lnTo>
                <a:lnTo>
                  <a:pt x="34" y="384"/>
                </a:lnTo>
                <a:lnTo>
                  <a:pt x="30" y="373"/>
                </a:lnTo>
                <a:lnTo>
                  <a:pt x="26" y="349"/>
                </a:lnTo>
                <a:lnTo>
                  <a:pt x="22" y="327"/>
                </a:lnTo>
                <a:lnTo>
                  <a:pt x="19" y="309"/>
                </a:lnTo>
                <a:lnTo>
                  <a:pt x="19" y="295"/>
                </a:lnTo>
                <a:lnTo>
                  <a:pt x="16" y="295"/>
                </a:lnTo>
                <a:lnTo>
                  <a:pt x="13" y="293"/>
                </a:lnTo>
                <a:lnTo>
                  <a:pt x="10" y="291"/>
                </a:lnTo>
                <a:lnTo>
                  <a:pt x="7" y="289"/>
                </a:lnTo>
                <a:lnTo>
                  <a:pt x="4" y="286"/>
                </a:lnTo>
                <a:lnTo>
                  <a:pt x="2" y="283"/>
                </a:lnTo>
                <a:lnTo>
                  <a:pt x="0" y="280"/>
                </a:lnTo>
                <a:lnTo>
                  <a:pt x="0" y="277"/>
                </a:lnTo>
                <a:lnTo>
                  <a:pt x="0" y="274"/>
                </a:lnTo>
                <a:lnTo>
                  <a:pt x="1" y="271"/>
                </a:lnTo>
                <a:lnTo>
                  <a:pt x="2" y="268"/>
                </a:lnTo>
                <a:lnTo>
                  <a:pt x="4" y="265"/>
                </a:lnTo>
                <a:lnTo>
                  <a:pt x="10" y="259"/>
                </a:lnTo>
                <a:lnTo>
                  <a:pt x="16" y="254"/>
                </a:lnTo>
                <a:lnTo>
                  <a:pt x="22" y="248"/>
                </a:lnTo>
                <a:lnTo>
                  <a:pt x="27" y="243"/>
                </a:lnTo>
                <a:lnTo>
                  <a:pt x="31" y="238"/>
                </a:lnTo>
                <a:lnTo>
                  <a:pt x="33" y="234"/>
                </a:lnTo>
                <a:lnTo>
                  <a:pt x="34" y="221"/>
                </a:lnTo>
                <a:lnTo>
                  <a:pt x="36" y="213"/>
                </a:lnTo>
                <a:lnTo>
                  <a:pt x="38" y="205"/>
                </a:lnTo>
                <a:lnTo>
                  <a:pt x="39" y="19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309" name="Freeform 261"/>
          <p:cNvSpPr>
            <a:spLocks/>
          </p:cNvSpPr>
          <p:nvPr>
            <p:custDataLst>
              <p:tags r:id="rId188"/>
            </p:custDataLst>
          </p:nvPr>
        </p:nvSpPr>
        <p:spPr bwMode="auto">
          <a:xfrm>
            <a:off x="5480050" y="1866909"/>
            <a:ext cx="365125" cy="317897"/>
          </a:xfrm>
          <a:custGeom>
            <a:avLst/>
            <a:gdLst/>
            <a:ahLst/>
            <a:cxnLst>
              <a:cxn ang="0">
                <a:pos x="779" y="82"/>
              </a:cxn>
              <a:cxn ang="0">
                <a:pos x="707" y="29"/>
              </a:cxn>
              <a:cxn ang="0">
                <a:pos x="562" y="10"/>
              </a:cxn>
              <a:cxn ang="0">
                <a:pos x="499" y="29"/>
              </a:cxn>
              <a:cxn ang="0">
                <a:pos x="486" y="49"/>
              </a:cxn>
              <a:cxn ang="0">
                <a:pos x="497" y="71"/>
              </a:cxn>
              <a:cxn ang="0">
                <a:pos x="517" y="90"/>
              </a:cxn>
              <a:cxn ang="0">
                <a:pos x="516" y="111"/>
              </a:cxn>
              <a:cxn ang="0">
                <a:pos x="491" y="140"/>
              </a:cxn>
              <a:cxn ang="0">
                <a:pos x="480" y="162"/>
              </a:cxn>
              <a:cxn ang="0">
                <a:pos x="450" y="184"/>
              </a:cxn>
              <a:cxn ang="0">
                <a:pos x="427" y="243"/>
              </a:cxn>
              <a:cxn ang="0">
                <a:pos x="420" y="332"/>
              </a:cxn>
              <a:cxn ang="0">
                <a:pos x="392" y="319"/>
              </a:cxn>
              <a:cxn ang="0">
                <a:pos x="370" y="315"/>
              </a:cxn>
              <a:cxn ang="0">
                <a:pos x="338" y="339"/>
              </a:cxn>
              <a:cxn ang="0">
                <a:pos x="313" y="351"/>
              </a:cxn>
              <a:cxn ang="0">
                <a:pos x="290" y="370"/>
              </a:cxn>
              <a:cxn ang="0">
                <a:pos x="280" y="424"/>
              </a:cxn>
              <a:cxn ang="0">
                <a:pos x="235" y="442"/>
              </a:cxn>
              <a:cxn ang="0">
                <a:pos x="127" y="462"/>
              </a:cxn>
              <a:cxn ang="0">
                <a:pos x="26" y="449"/>
              </a:cxn>
              <a:cxn ang="0">
                <a:pos x="51" y="505"/>
              </a:cxn>
              <a:cxn ang="0">
                <a:pos x="96" y="540"/>
              </a:cxn>
              <a:cxn ang="0">
                <a:pos x="123" y="577"/>
              </a:cxn>
              <a:cxn ang="0">
                <a:pos x="142" y="596"/>
              </a:cxn>
              <a:cxn ang="0">
                <a:pos x="99" y="647"/>
              </a:cxn>
              <a:cxn ang="0">
                <a:pos x="87" y="671"/>
              </a:cxn>
              <a:cxn ang="0">
                <a:pos x="109" y="720"/>
              </a:cxn>
              <a:cxn ang="0">
                <a:pos x="222" y="710"/>
              </a:cxn>
              <a:cxn ang="0">
                <a:pos x="302" y="705"/>
              </a:cxn>
              <a:cxn ang="0">
                <a:pos x="330" y="721"/>
              </a:cxn>
              <a:cxn ang="0">
                <a:pos x="359" y="756"/>
              </a:cxn>
              <a:cxn ang="0">
                <a:pos x="408" y="785"/>
              </a:cxn>
              <a:cxn ang="0">
                <a:pos x="449" y="803"/>
              </a:cxn>
              <a:cxn ang="0">
                <a:pos x="460" y="791"/>
              </a:cxn>
              <a:cxn ang="0">
                <a:pos x="487" y="774"/>
              </a:cxn>
              <a:cxn ang="0">
                <a:pos x="554" y="764"/>
              </a:cxn>
              <a:cxn ang="0">
                <a:pos x="597" y="750"/>
              </a:cxn>
              <a:cxn ang="0">
                <a:pos x="618" y="727"/>
              </a:cxn>
              <a:cxn ang="0">
                <a:pos x="584" y="700"/>
              </a:cxn>
              <a:cxn ang="0">
                <a:pos x="542" y="641"/>
              </a:cxn>
              <a:cxn ang="0">
                <a:pos x="526" y="624"/>
              </a:cxn>
              <a:cxn ang="0">
                <a:pos x="526" y="578"/>
              </a:cxn>
              <a:cxn ang="0">
                <a:pos x="582" y="563"/>
              </a:cxn>
              <a:cxn ang="0">
                <a:pos x="622" y="531"/>
              </a:cxn>
              <a:cxn ang="0">
                <a:pos x="688" y="417"/>
              </a:cxn>
              <a:cxn ang="0">
                <a:pos x="730" y="368"/>
              </a:cxn>
              <a:cxn ang="0">
                <a:pos x="725" y="330"/>
              </a:cxn>
              <a:cxn ang="0">
                <a:pos x="729" y="305"/>
              </a:cxn>
              <a:cxn ang="0">
                <a:pos x="751" y="289"/>
              </a:cxn>
              <a:cxn ang="0">
                <a:pos x="670" y="207"/>
              </a:cxn>
              <a:cxn ang="0">
                <a:pos x="758" y="140"/>
              </a:cxn>
              <a:cxn ang="0">
                <a:pos x="805" y="123"/>
              </a:cxn>
            </a:cxnLst>
            <a:rect l="0" t="0" r="r" b="b"/>
            <a:pathLst>
              <a:path w="831" h="812">
                <a:moveTo>
                  <a:pt x="831" y="98"/>
                </a:moveTo>
                <a:lnTo>
                  <a:pt x="817" y="95"/>
                </a:lnTo>
                <a:lnTo>
                  <a:pt x="803" y="91"/>
                </a:lnTo>
                <a:lnTo>
                  <a:pt x="791" y="87"/>
                </a:lnTo>
                <a:lnTo>
                  <a:pt x="779" y="82"/>
                </a:lnTo>
                <a:lnTo>
                  <a:pt x="769" y="77"/>
                </a:lnTo>
                <a:lnTo>
                  <a:pt x="758" y="71"/>
                </a:lnTo>
                <a:lnTo>
                  <a:pt x="749" y="65"/>
                </a:lnTo>
                <a:lnTo>
                  <a:pt x="740" y="58"/>
                </a:lnTo>
                <a:lnTo>
                  <a:pt x="707" y="29"/>
                </a:lnTo>
                <a:lnTo>
                  <a:pt x="679" y="0"/>
                </a:lnTo>
                <a:lnTo>
                  <a:pt x="655" y="2"/>
                </a:lnTo>
                <a:lnTo>
                  <a:pt x="626" y="4"/>
                </a:lnTo>
                <a:lnTo>
                  <a:pt x="594" y="7"/>
                </a:lnTo>
                <a:lnTo>
                  <a:pt x="562" y="10"/>
                </a:lnTo>
                <a:lnTo>
                  <a:pt x="547" y="13"/>
                </a:lnTo>
                <a:lnTo>
                  <a:pt x="533" y="16"/>
                </a:lnTo>
                <a:lnTo>
                  <a:pt x="520" y="19"/>
                </a:lnTo>
                <a:lnTo>
                  <a:pt x="509" y="24"/>
                </a:lnTo>
                <a:lnTo>
                  <a:pt x="499" y="29"/>
                </a:lnTo>
                <a:lnTo>
                  <a:pt x="492" y="34"/>
                </a:lnTo>
                <a:lnTo>
                  <a:pt x="489" y="37"/>
                </a:lnTo>
                <a:lnTo>
                  <a:pt x="487" y="41"/>
                </a:lnTo>
                <a:lnTo>
                  <a:pt x="486" y="44"/>
                </a:lnTo>
                <a:lnTo>
                  <a:pt x="486" y="49"/>
                </a:lnTo>
                <a:lnTo>
                  <a:pt x="486" y="54"/>
                </a:lnTo>
                <a:lnTo>
                  <a:pt x="487" y="59"/>
                </a:lnTo>
                <a:lnTo>
                  <a:pt x="489" y="63"/>
                </a:lnTo>
                <a:lnTo>
                  <a:pt x="491" y="66"/>
                </a:lnTo>
                <a:lnTo>
                  <a:pt x="497" y="71"/>
                </a:lnTo>
                <a:lnTo>
                  <a:pt x="502" y="76"/>
                </a:lnTo>
                <a:lnTo>
                  <a:pt x="509" y="80"/>
                </a:lnTo>
                <a:lnTo>
                  <a:pt x="514" y="84"/>
                </a:lnTo>
                <a:lnTo>
                  <a:pt x="516" y="87"/>
                </a:lnTo>
                <a:lnTo>
                  <a:pt x="517" y="90"/>
                </a:lnTo>
                <a:lnTo>
                  <a:pt x="519" y="93"/>
                </a:lnTo>
                <a:lnTo>
                  <a:pt x="519" y="98"/>
                </a:lnTo>
                <a:lnTo>
                  <a:pt x="519" y="102"/>
                </a:lnTo>
                <a:lnTo>
                  <a:pt x="517" y="107"/>
                </a:lnTo>
                <a:lnTo>
                  <a:pt x="516" y="111"/>
                </a:lnTo>
                <a:lnTo>
                  <a:pt x="514" y="114"/>
                </a:lnTo>
                <a:lnTo>
                  <a:pt x="509" y="120"/>
                </a:lnTo>
                <a:lnTo>
                  <a:pt x="502" y="127"/>
                </a:lnTo>
                <a:lnTo>
                  <a:pt x="497" y="133"/>
                </a:lnTo>
                <a:lnTo>
                  <a:pt x="491" y="140"/>
                </a:lnTo>
                <a:lnTo>
                  <a:pt x="489" y="144"/>
                </a:lnTo>
                <a:lnTo>
                  <a:pt x="487" y="149"/>
                </a:lnTo>
                <a:lnTo>
                  <a:pt x="486" y="154"/>
                </a:lnTo>
                <a:lnTo>
                  <a:pt x="486" y="159"/>
                </a:lnTo>
                <a:lnTo>
                  <a:pt x="480" y="162"/>
                </a:lnTo>
                <a:lnTo>
                  <a:pt x="475" y="163"/>
                </a:lnTo>
                <a:lnTo>
                  <a:pt x="470" y="166"/>
                </a:lnTo>
                <a:lnTo>
                  <a:pt x="466" y="169"/>
                </a:lnTo>
                <a:lnTo>
                  <a:pt x="457" y="176"/>
                </a:lnTo>
                <a:lnTo>
                  <a:pt x="450" y="184"/>
                </a:lnTo>
                <a:lnTo>
                  <a:pt x="444" y="194"/>
                </a:lnTo>
                <a:lnTo>
                  <a:pt x="438" y="205"/>
                </a:lnTo>
                <a:lnTo>
                  <a:pt x="434" y="217"/>
                </a:lnTo>
                <a:lnTo>
                  <a:pt x="430" y="230"/>
                </a:lnTo>
                <a:lnTo>
                  <a:pt x="427" y="243"/>
                </a:lnTo>
                <a:lnTo>
                  <a:pt x="424" y="256"/>
                </a:lnTo>
                <a:lnTo>
                  <a:pt x="423" y="270"/>
                </a:lnTo>
                <a:lnTo>
                  <a:pt x="421" y="284"/>
                </a:lnTo>
                <a:lnTo>
                  <a:pt x="420" y="309"/>
                </a:lnTo>
                <a:lnTo>
                  <a:pt x="420" y="332"/>
                </a:lnTo>
                <a:lnTo>
                  <a:pt x="412" y="332"/>
                </a:lnTo>
                <a:lnTo>
                  <a:pt x="407" y="330"/>
                </a:lnTo>
                <a:lnTo>
                  <a:pt x="401" y="327"/>
                </a:lnTo>
                <a:lnTo>
                  <a:pt x="397" y="322"/>
                </a:lnTo>
                <a:lnTo>
                  <a:pt x="392" y="319"/>
                </a:lnTo>
                <a:lnTo>
                  <a:pt x="388" y="316"/>
                </a:lnTo>
                <a:lnTo>
                  <a:pt x="385" y="314"/>
                </a:lnTo>
                <a:lnTo>
                  <a:pt x="379" y="313"/>
                </a:lnTo>
                <a:lnTo>
                  <a:pt x="375" y="314"/>
                </a:lnTo>
                <a:lnTo>
                  <a:pt x="370" y="315"/>
                </a:lnTo>
                <a:lnTo>
                  <a:pt x="366" y="317"/>
                </a:lnTo>
                <a:lnTo>
                  <a:pt x="362" y="319"/>
                </a:lnTo>
                <a:lnTo>
                  <a:pt x="354" y="325"/>
                </a:lnTo>
                <a:lnTo>
                  <a:pt x="346" y="332"/>
                </a:lnTo>
                <a:lnTo>
                  <a:pt x="338" y="339"/>
                </a:lnTo>
                <a:lnTo>
                  <a:pt x="331" y="345"/>
                </a:lnTo>
                <a:lnTo>
                  <a:pt x="326" y="347"/>
                </a:lnTo>
                <a:lnTo>
                  <a:pt x="322" y="349"/>
                </a:lnTo>
                <a:lnTo>
                  <a:pt x="318" y="350"/>
                </a:lnTo>
                <a:lnTo>
                  <a:pt x="313" y="351"/>
                </a:lnTo>
                <a:lnTo>
                  <a:pt x="308" y="351"/>
                </a:lnTo>
                <a:lnTo>
                  <a:pt x="303" y="353"/>
                </a:lnTo>
                <a:lnTo>
                  <a:pt x="300" y="356"/>
                </a:lnTo>
                <a:lnTo>
                  <a:pt x="297" y="360"/>
                </a:lnTo>
                <a:lnTo>
                  <a:pt x="290" y="370"/>
                </a:lnTo>
                <a:lnTo>
                  <a:pt x="287" y="383"/>
                </a:lnTo>
                <a:lnTo>
                  <a:pt x="284" y="396"/>
                </a:lnTo>
                <a:lnTo>
                  <a:pt x="281" y="408"/>
                </a:lnTo>
                <a:lnTo>
                  <a:pt x="280" y="418"/>
                </a:lnTo>
                <a:lnTo>
                  <a:pt x="280" y="424"/>
                </a:lnTo>
                <a:lnTo>
                  <a:pt x="277" y="427"/>
                </a:lnTo>
                <a:lnTo>
                  <a:pt x="273" y="429"/>
                </a:lnTo>
                <a:lnTo>
                  <a:pt x="265" y="432"/>
                </a:lnTo>
                <a:lnTo>
                  <a:pt x="257" y="435"/>
                </a:lnTo>
                <a:lnTo>
                  <a:pt x="235" y="442"/>
                </a:lnTo>
                <a:lnTo>
                  <a:pt x="211" y="448"/>
                </a:lnTo>
                <a:lnTo>
                  <a:pt x="185" y="453"/>
                </a:lnTo>
                <a:lnTo>
                  <a:pt x="161" y="458"/>
                </a:lnTo>
                <a:lnTo>
                  <a:pt x="141" y="461"/>
                </a:lnTo>
                <a:lnTo>
                  <a:pt x="127" y="462"/>
                </a:lnTo>
                <a:lnTo>
                  <a:pt x="109" y="461"/>
                </a:lnTo>
                <a:lnTo>
                  <a:pt x="91" y="460"/>
                </a:lnTo>
                <a:lnTo>
                  <a:pt x="74" y="457"/>
                </a:lnTo>
                <a:lnTo>
                  <a:pt x="56" y="455"/>
                </a:lnTo>
                <a:lnTo>
                  <a:pt x="26" y="449"/>
                </a:lnTo>
                <a:lnTo>
                  <a:pt x="0" y="443"/>
                </a:lnTo>
                <a:lnTo>
                  <a:pt x="8" y="455"/>
                </a:lnTo>
                <a:lnTo>
                  <a:pt x="19" y="470"/>
                </a:lnTo>
                <a:lnTo>
                  <a:pt x="34" y="487"/>
                </a:lnTo>
                <a:lnTo>
                  <a:pt x="51" y="505"/>
                </a:lnTo>
                <a:lnTo>
                  <a:pt x="60" y="513"/>
                </a:lnTo>
                <a:lnTo>
                  <a:pt x="68" y="521"/>
                </a:lnTo>
                <a:lnTo>
                  <a:pt x="77" y="528"/>
                </a:lnTo>
                <a:lnTo>
                  <a:pt x="87" y="535"/>
                </a:lnTo>
                <a:lnTo>
                  <a:pt x="96" y="540"/>
                </a:lnTo>
                <a:lnTo>
                  <a:pt x="105" y="544"/>
                </a:lnTo>
                <a:lnTo>
                  <a:pt x="112" y="546"/>
                </a:lnTo>
                <a:lnTo>
                  <a:pt x="120" y="547"/>
                </a:lnTo>
                <a:lnTo>
                  <a:pt x="121" y="561"/>
                </a:lnTo>
                <a:lnTo>
                  <a:pt x="123" y="577"/>
                </a:lnTo>
                <a:lnTo>
                  <a:pt x="127" y="585"/>
                </a:lnTo>
                <a:lnTo>
                  <a:pt x="131" y="591"/>
                </a:lnTo>
                <a:lnTo>
                  <a:pt x="134" y="593"/>
                </a:lnTo>
                <a:lnTo>
                  <a:pt x="138" y="595"/>
                </a:lnTo>
                <a:lnTo>
                  <a:pt x="142" y="596"/>
                </a:lnTo>
                <a:lnTo>
                  <a:pt x="147" y="597"/>
                </a:lnTo>
                <a:lnTo>
                  <a:pt x="147" y="616"/>
                </a:lnTo>
                <a:lnTo>
                  <a:pt x="127" y="629"/>
                </a:lnTo>
                <a:lnTo>
                  <a:pt x="107" y="641"/>
                </a:lnTo>
                <a:lnTo>
                  <a:pt x="99" y="647"/>
                </a:lnTo>
                <a:lnTo>
                  <a:pt x="93" y="654"/>
                </a:lnTo>
                <a:lnTo>
                  <a:pt x="90" y="658"/>
                </a:lnTo>
                <a:lnTo>
                  <a:pt x="88" y="663"/>
                </a:lnTo>
                <a:lnTo>
                  <a:pt x="87" y="667"/>
                </a:lnTo>
                <a:lnTo>
                  <a:pt x="87" y="671"/>
                </a:lnTo>
                <a:lnTo>
                  <a:pt x="87" y="680"/>
                </a:lnTo>
                <a:lnTo>
                  <a:pt x="87" y="689"/>
                </a:lnTo>
                <a:lnTo>
                  <a:pt x="87" y="701"/>
                </a:lnTo>
                <a:lnTo>
                  <a:pt x="87" y="721"/>
                </a:lnTo>
                <a:lnTo>
                  <a:pt x="109" y="720"/>
                </a:lnTo>
                <a:lnTo>
                  <a:pt x="132" y="719"/>
                </a:lnTo>
                <a:lnTo>
                  <a:pt x="154" y="717"/>
                </a:lnTo>
                <a:lnTo>
                  <a:pt x="177" y="714"/>
                </a:lnTo>
                <a:lnTo>
                  <a:pt x="199" y="711"/>
                </a:lnTo>
                <a:lnTo>
                  <a:pt x="222" y="710"/>
                </a:lnTo>
                <a:lnTo>
                  <a:pt x="244" y="708"/>
                </a:lnTo>
                <a:lnTo>
                  <a:pt x="266" y="708"/>
                </a:lnTo>
                <a:lnTo>
                  <a:pt x="284" y="707"/>
                </a:lnTo>
                <a:lnTo>
                  <a:pt x="297" y="705"/>
                </a:lnTo>
                <a:lnTo>
                  <a:pt x="302" y="705"/>
                </a:lnTo>
                <a:lnTo>
                  <a:pt x="310" y="705"/>
                </a:lnTo>
                <a:lnTo>
                  <a:pt x="318" y="706"/>
                </a:lnTo>
                <a:lnTo>
                  <a:pt x="326" y="708"/>
                </a:lnTo>
                <a:lnTo>
                  <a:pt x="328" y="714"/>
                </a:lnTo>
                <a:lnTo>
                  <a:pt x="330" y="721"/>
                </a:lnTo>
                <a:lnTo>
                  <a:pt x="333" y="728"/>
                </a:lnTo>
                <a:lnTo>
                  <a:pt x="338" y="735"/>
                </a:lnTo>
                <a:lnTo>
                  <a:pt x="345" y="742"/>
                </a:lnTo>
                <a:lnTo>
                  <a:pt x="352" y="749"/>
                </a:lnTo>
                <a:lnTo>
                  <a:pt x="359" y="756"/>
                </a:lnTo>
                <a:lnTo>
                  <a:pt x="368" y="762"/>
                </a:lnTo>
                <a:lnTo>
                  <a:pt x="378" y="769"/>
                </a:lnTo>
                <a:lnTo>
                  <a:pt x="388" y="776"/>
                </a:lnTo>
                <a:lnTo>
                  <a:pt x="398" y="781"/>
                </a:lnTo>
                <a:lnTo>
                  <a:pt x="408" y="785"/>
                </a:lnTo>
                <a:lnTo>
                  <a:pt x="418" y="789"/>
                </a:lnTo>
                <a:lnTo>
                  <a:pt x="427" y="792"/>
                </a:lnTo>
                <a:lnTo>
                  <a:pt x="437" y="794"/>
                </a:lnTo>
                <a:lnTo>
                  <a:pt x="446" y="794"/>
                </a:lnTo>
                <a:lnTo>
                  <a:pt x="449" y="803"/>
                </a:lnTo>
                <a:lnTo>
                  <a:pt x="453" y="812"/>
                </a:lnTo>
                <a:lnTo>
                  <a:pt x="454" y="806"/>
                </a:lnTo>
                <a:lnTo>
                  <a:pt x="455" y="800"/>
                </a:lnTo>
                <a:lnTo>
                  <a:pt x="457" y="795"/>
                </a:lnTo>
                <a:lnTo>
                  <a:pt x="460" y="791"/>
                </a:lnTo>
                <a:lnTo>
                  <a:pt x="464" y="787"/>
                </a:lnTo>
                <a:lnTo>
                  <a:pt x="467" y="783"/>
                </a:lnTo>
                <a:lnTo>
                  <a:pt x="471" y="780"/>
                </a:lnTo>
                <a:lnTo>
                  <a:pt x="477" y="778"/>
                </a:lnTo>
                <a:lnTo>
                  <a:pt x="487" y="774"/>
                </a:lnTo>
                <a:lnTo>
                  <a:pt x="499" y="770"/>
                </a:lnTo>
                <a:lnTo>
                  <a:pt x="512" y="768"/>
                </a:lnTo>
                <a:lnTo>
                  <a:pt x="525" y="767"/>
                </a:lnTo>
                <a:lnTo>
                  <a:pt x="539" y="765"/>
                </a:lnTo>
                <a:lnTo>
                  <a:pt x="554" y="764"/>
                </a:lnTo>
                <a:lnTo>
                  <a:pt x="567" y="761"/>
                </a:lnTo>
                <a:lnTo>
                  <a:pt x="580" y="758"/>
                </a:lnTo>
                <a:lnTo>
                  <a:pt x="586" y="756"/>
                </a:lnTo>
                <a:lnTo>
                  <a:pt x="591" y="753"/>
                </a:lnTo>
                <a:lnTo>
                  <a:pt x="597" y="750"/>
                </a:lnTo>
                <a:lnTo>
                  <a:pt x="602" y="747"/>
                </a:lnTo>
                <a:lnTo>
                  <a:pt x="606" y="743"/>
                </a:lnTo>
                <a:lnTo>
                  <a:pt x="611" y="738"/>
                </a:lnTo>
                <a:lnTo>
                  <a:pt x="615" y="733"/>
                </a:lnTo>
                <a:lnTo>
                  <a:pt x="618" y="727"/>
                </a:lnTo>
                <a:lnTo>
                  <a:pt x="614" y="725"/>
                </a:lnTo>
                <a:lnTo>
                  <a:pt x="610" y="722"/>
                </a:lnTo>
                <a:lnTo>
                  <a:pt x="604" y="718"/>
                </a:lnTo>
                <a:lnTo>
                  <a:pt x="598" y="712"/>
                </a:lnTo>
                <a:lnTo>
                  <a:pt x="584" y="700"/>
                </a:lnTo>
                <a:lnTo>
                  <a:pt x="571" y="686"/>
                </a:lnTo>
                <a:lnTo>
                  <a:pt x="559" y="671"/>
                </a:lnTo>
                <a:lnTo>
                  <a:pt x="548" y="655"/>
                </a:lnTo>
                <a:lnTo>
                  <a:pt x="545" y="648"/>
                </a:lnTo>
                <a:lnTo>
                  <a:pt x="542" y="641"/>
                </a:lnTo>
                <a:lnTo>
                  <a:pt x="539" y="634"/>
                </a:lnTo>
                <a:lnTo>
                  <a:pt x="538" y="628"/>
                </a:lnTo>
                <a:lnTo>
                  <a:pt x="534" y="627"/>
                </a:lnTo>
                <a:lnTo>
                  <a:pt x="530" y="626"/>
                </a:lnTo>
                <a:lnTo>
                  <a:pt x="526" y="624"/>
                </a:lnTo>
                <a:lnTo>
                  <a:pt x="523" y="620"/>
                </a:lnTo>
                <a:lnTo>
                  <a:pt x="517" y="613"/>
                </a:lnTo>
                <a:lnTo>
                  <a:pt x="512" y="603"/>
                </a:lnTo>
                <a:lnTo>
                  <a:pt x="512" y="579"/>
                </a:lnTo>
                <a:lnTo>
                  <a:pt x="526" y="578"/>
                </a:lnTo>
                <a:lnTo>
                  <a:pt x="539" y="577"/>
                </a:lnTo>
                <a:lnTo>
                  <a:pt x="551" y="575"/>
                </a:lnTo>
                <a:lnTo>
                  <a:pt x="562" y="571"/>
                </a:lnTo>
                <a:lnTo>
                  <a:pt x="572" y="568"/>
                </a:lnTo>
                <a:lnTo>
                  <a:pt x="582" y="563"/>
                </a:lnTo>
                <a:lnTo>
                  <a:pt x="591" y="558"/>
                </a:lnTo>
                <a:lnTo>
                  <a:pt x="600" y="552"/>
                </a:lnTo>
                <a:lnTo>
                  <a:pt x="607" y="545"/>
                </a:lnTo>
                <a:lnTo>
                  <a:pt x="615" y="538"/>
                </a:lnTo>
                <a:lnTo>
                  <a:pt x="622" y="531"/>
                </a:lnTo>
                <a:lnTo>
                  <a:pt x="628" y="523"/>
                </a:lnTo>
                <a:lnTo>
                  <a:pt x="639" y="507"/>
                </a:lnTo>
                <a:lnTo>
                  <a:pt x="650" y="489"/>
                </a:lnTo>
                <a:lnTo>
                  <a:pt x="669" y="453"/>
                </a:lnTo>
                <a:lnTo>
                  <a:pt x="688" y="417"/>
                </a:lnTo>
                <a:lnTo>
                  <a:pt x="699" y="401"/>
                </a:lnTo>
                <a:lnTo>
                  <a:pt x="710" y="387"/>
                </a:lnTo>
                <a:lnTo>
                  <a:pt x="716" y="379"/>
                </a:lnTo>
                <a:lnTo>
                  <a:pt x="723" y="373"/>
                </a:lnTo>
                <a:lnTo>
                  <a:pt x="730" y="368"/>
                </a:lnTo>
                <a:lnTo>
                  <a:pt x="738" y="363"/>
                </a:lnTo>
                <a:lnTo>
                  <a:pt x="732" y="351"/>
                </a:lnTo>
                <a:lnTo>
                  <a:pt x="727" y="340"/>
                </a:lnTo>
                <a:lnTo>
                  <a:pt x="726" y="335"/>
                </a:lnTo>
                <a:lnTo>
                  <a:pt x="725" y="330"/>
                </a:lnTo>
                <a:lnTo>
                  <a:pt x="725" y="324"/>
                </a:lnTo>
                <a:lnTo>
                  <a:pt x="725" y="319"/>
                </a:lnTo>
                <a:lnTo>
                  <a:pt x="726" y="314"/>
                </a:lnTo>
                <a:lnTo>
                  <a:pt x="727" y="309"/>
                </a:lnTo>
                <a:lnTo>
                  <a:pt x="729" y="305"/>
                </a:lnTo>
                <a:lnTo>
                  <a:pt x="733" y="301"/>
                </a:lnTo>
                <a:lnTo>
                  <a:pt x="736" y="298"/>
                </a:lnTo>
                <a:lnTo>
                  <a:pt x="740" y="295"/>
                </a:lnTo>
                <a:lnTo>
                  <a:pt x="746" y="292"/>
                </a:lnTo>
                <a:lnTo>
                  <a:pt x="751" y="289"/>
                </a:lnTo>
                <a:lnTo>
                  <a:pt x="722" y="262"/>
                </a:lnTo>
                <a:lnTo>
                  <a:pt x="700" y="242"/>
                </a:lnTo>
                <a:lnTo>
                  <a:pt x="690" y="232"/>
                </a:lnTo>
                <a:lnTo>
                  <a:pt x="680" y="221"/>
                </a:lnTo>
                <a:lnTo>
                  <a:pt x="670" y="207"/>
                </a:lnTo>
                <a:lnTo>
                  <a:pt x="658" y="190"/>
                </a:lnTo>
                <a:lnTo>
                  <a:pt x="658" y="147"/>
                </a:lnTo>
                <a:lnTo>
                  <a:pt x="701" y="145"/>
                </a:lnTo>
                <a:lnTo>
                  <a:pt x="733" y="143"/>
                </a:lnTo>
                <a:lnTo>
                  <a:pt x="758" y="140"/>
                </a:lnTo>
                <a:lnTo>
                  <a:pt x="778" y="136"/>
                </a:lnTo>
                <a:lnTo>
                  <a:pt x="785" y="134"/>
                </a:lnTo>
                <a:lnTo>
                  <a:pt x="792" y="131"/>
                </a:lnTo>
                <a:lnTo>
                  <a:pt x="799" y="127"/>
                </a:lnTo>
                <a:lnTo>
                  <a:pt x="805" y="123"/>
                </a:lnTo>
                <a:lnTo>
                  <a:pt x="817" y="113"/>
                </a:lnTo>
                <a:lnTo>
                  <a:pt x="831" y="9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310" name="Freeform 262"/>
          <p:cNvSpPr>
            <a:spLocks/>
          </p:cNvSpPr>
          <p:nvPr>
            <p:custDataLst>
              <p:tags r:id="rId189"/>
            </p:custDataLst>
          </p:nvPr>
        </p:nvSpPr>
        <p:spPr bwMode="auto">
          <a:xfrm>
            <a:off x="6270625" y="2068122"/>
            <a:ext cx="220663" cy="439340"/>
          </a:xfrm>
          <a:custGeom>
            <a:avLst/>
            <a:gdLst/>
            <a:ahLst/>
            <a:cxnLst>
              <a:cxn ang="0">
                <a:pos x="438" y="1067"/>
              </a:cxn>
              <a:cxn ang="0">
                <a:pos x="443" y="1028"/>
              </a:cxn>
              <a:cxn ang="0">
                <a:pos x="399" y="1022"/>
              </a:cxn>
              <a:cxn ang="0">
                <a:pos x="405" y="957"/>
              </a:cxn>
              <a:cxn ang="0">
                <a:pos x="419" y="931"/>
              </a:cxn>
              <a:cxn ang="0">
                <a:pos x="413" y="899"/>
              </a:cxn>
              <a:cxn ang="0">
                <a:pos x="398" y="893"/>
              </a:cxn>
              <a:cxn ang="0">
                <a:pos x="382" y="838"/>
              </a:cxn>
              <a:cxn ang="0">
                <a:pos x="324" y="719"/>
              </a:cxn>
              <a:cxn ang="0">
                <a:pos x="296" y="703"/>
              </a:cxn>
              <a:cxn ang="0">
                <a:pos x="282" y="718"/>
              </a:cxn>
              <a:cxn ang="0">
                <a:pos x="226" y="742"/>
              </a:cxn>
              <a:cxn ang="0">
                <a:pos x="169" y="736"/>
              </a:cxn>
              <a:cxn ang="0">
                <a:pos x="133" y="567"/>
              </a:cxn>
              <a:cxn ang="0">
                <a:pos x="101" y="520"/>
              </a:cxn>
              <a:cxn ang="0">
                <a:pos x="51" y="502"/>
              </a:cxn>
              <a:cxn ang="0">
                <a:pos x="8" y="471"/>
              </a:cxn>
              <a:cxn ang="0">
                <a:pos x="23" y="445"/>
              </a:cxn>
              <a:cxn ang="0">
                <a:pos x="58" y="361"/>
              </a:cxn>
              <a:cxn ang="0">
                <a:pos x="67" y="277"/>
              </a:cxn>
              <a:cxn ang="0">
                <a:pos x="80" y="265"/>
              </a:cxn>
              <a:cxn ang="0">
                <a:pos x="113" y="258"/>
              </a:cxn>
              <a:cxn ang="0">
                <a:pos x="134" y="222"/>
              </a:cxn>
              <a:cxn ang="0">
                <a:pos x="140" y="117"/>
              </a:cxn>
              <a:cxn ang="0">
                <a:pos x="159" y="98"/>
              </a:cxn>
              <a:cxn ang="0">
                <a:pos x="213" y="74"/>
              </a:cxn>
              <a:cxn ang="0">
                <a:pos x="234" y="21"/>
              </a:cxn>
              <a:cxn ang="0">
                <a:pos x="277" y="31"/>
              </a:cxn>
              <a:cxn ang="0">
                <a:pos x="312" y="49"/>
              </a:cxn>
              <a:cxn ang="0">
                <a:pos x="337" y="122"/>
              </a:cxn>
              <a:cxn ang="0">
                <a:pos x="335" y="167"/>
              </a:cxn>
              <a:cxn ang="0">
                <a:pos x="300" y="216"/>
              </a:cxn>
              <a:cxn ang="0">
                <a:pos x="293" y="245"/>
              </a:cxn>
              <a:cxn ang="0">
                <a:pos x="309" y="261"/>
              </a:cxn>
              <a:cxn ang="0">
                <a:pos x="346" y="270"/>
              </a:cxn>
              <a:cxn ang="0">
                <a:pos x="371" y="291"/>
              </a:cxn>
              <a:cxn ang="0">
                <a:pos x="398" y="345"/>
              </a:cxn>
              <a:cxn ang="0">
                <a:pos x="430" y="400"/>
              </a:cxn>
              <a:cxn ang="0">
                <a:pos x="464" y="418"/>
              </a:cxn>
              <a:cxn ang="0">
                <a:pos x="505" y="418"/>
              </a:cxn>
              <a:cxn ang="0">
                <a:pos x="476" y="494"/>
              </a:cxn>
              <a:cxn ang="0">
                <a:pos x="427" y="510"/>
              </a:cxn>
              <a:cxn ang="0">
                <a:pos x="383" y="528"/>
              </a:cxn>
              <a:cxn ang="0">
                <a:pos x="360" y="572"/>
              </a:cxn>
              <a:cxn ang="0">
                <a:pos x="370" y="637"/>
              </a:cxn>
              <a:cxn ang="0">
                <a:pos x="402" y="683"/>
              </a:cxn>
              <a:cxn ang="0">
                <a:pos x="430" y="735"/>
              </a:cxn>
              <a:cxn ang="0">
                <a:pos x="428" y="776"/>
              </a:cxn>
              <a:cxn ang="0">
                <a:pos x="419" y="801"/>
              </a:cxn>
              <a:cxn ang="0">
                <a:pos x="435" y="851"/>
              </a:cxn>
              <a:cxn ang="0">
                <a:pos x="483" y="965"/>
              </a:cxn>
              <a:cxn ang="0">
                <a:pos x="458" y="1082"/>
              </a:cxn>
            </a:cxnLst>
            <a:rect l="0" t="0" r="r" b="b"/>
            <a:pathLst>
              <a:path w="505" h="1121">
                <a:moveTo>
                  <a:pt x="446" y="1121"/>
                </a:moveTo>
                <a:lnTo>
                  <a:pt x="445" y="1106"/>
                </a:lnTo>
                <a:lnTo>
                  <a:pt x="443" y="1091"/>
                </a:lnTo>
                <a:lnTo>
                  <a:pt x="440" y="1079"/>
                </a:lnTo>
                <a:lnTo>
                  <a:pt x="438" y="1067"/>
                </a:lnTo>
                <a:lnTo>
                  <a:pt x="437" y="1056"/>
                </a:lnTo>
                <a:lnTo>
                  <a:pt x="437" y="1045"/>
                </a:lnTo>
                <a:lnTo>
                  <a:pt x="438" y="1040"/>
                </a:lnTo>
                <a:lnTo>
                  <a:pt x="439" y="1034"/>
                </a:lnTo>
                <a:lnTo>
                  <a:pt x="443" y="1028"/>
                </a:lnTo>
                <a:lnTo>
                  <a:pt x="446" y="1022"/>
                </a:lnTo>
                <a:lnTo>
                  <a:pt x="430" y="1022"/>
                </a:lnTo>
                <a:lnTo>
                  <a:pt x="420" y="1022"/>
                </a:lnTo>
                <a:lnTo>
                  <a:pt x="411" y="1022"/>
                </a:lnTo>
                <a:lnTo>
                  <a:pt x="399" y="1022"/>
                </a:lnTo>
                <a:lnTo>
                  <a:pt x="399" y="1001"/>
                </a:lnTo>
                <a:lnTo>
                  <a:pt x="399" y="988"/>
                </a:lnTo>
                <a:lnTo>
                  <a:pt x="399" y="975"/>
                </a:lnTo>
                <a:lnTo>
                  <a:pt x="399" y="961"/>
                </a:lnTo>
                <a:lnTo>
                  <a:pt x="405" y="957"/>
                </a:lnTo>
                <a:lnTo>
                  <a:pt x="411" y="953"/>
                </a:lnTo>
                <a:lnTo>
                  <a:pt x="414" y="949"/>
                </a:lnTo>
                <a:lnTo>
                  <a:pt x="416" y="946"/>
                </a:lnTo>
                <a:lnTo>
                  <a:pt x="419" y="939"/>
                </a:lnTo>
                <a:lnTo>
                  <a:pt x="419" y="931"/>
                </a:lnTo>
                <a:lnTo>
                  <a:pt x="419" y="922"/>
                </a:lnTo>
                <a:lnTo>
                  <a:pt x="419" y="915"/>
                </a:lnTo>
                <a:lnTo>
                  <a:pt x="419" y="908"/>
                </a:lnTo>
                <a:lnTo>
                  <a:pt x="419" y="899"/>
                </a:lnTo>
                <a:lnTo>
                  <a:pt x="413" y="899"/>
                </a:lnTo>
                <a:lnTo>
                  <a:pt x="409" y="899"/>
                </a:lnTo>
                <a:lnTo>
                  <a:pt x="404" y="898"/>
                </a:lnTo>
                <a:lnTo>
                  <a:pt x="402" y="896"/>
                </a:lnTo>
                <a:lnTo>
                  <a:pt x="400" y="895"/>
                </a:lnTo>
                <a:lnTo>
                  <a:pt x="398" y="893"/>
                </a:lnTo>
                <a:lnTo>
                  <a:pt x="397" y="891"/>
                </a:lnTo>
                <a:lnTo>
                  <a:pt x="395" y="889"/>
                </a:lnTo>
                <a:lnTo>
                  <a:pt x="394" y="879"/>
                </a:lnTo>
                <a:lnTo>
                  <a:pt x="392" y="868"/>
                </a:lnTo>
                <a:lnTo>
                  <a:pt x="382" y="838"/>
                </a:lnTo>
                <a:lnTo>
                  <a:pt x="371" y="811"/>
                </a:lnTo>
                <a:lnTo>
                  <a:pt x="360" y="786"/>
                </a:lnTo>
                <a:lnTo>
                  <a:pt x="348" y="764"/>
                </a:lnTo>
                <a:lnTo>
                  <a:pt x="336" y="741"/>
                </a:lnTo>
                <a:lnTo>
                  <a:pt x="324" y="719"/>
                </a:lnTo>
                <a:lnTo>
                  <a:pt x="312" y="695"/>
                </a:lnTo>
                <a:lnTo>
                  <a:pt x="300" y="672"/>
                </a:lnTo>
                <a:lnTo>
                  <a:pt x="299" y="684"/>
                </a:lnTo>
                <a:lnTo>
                  <a:pt x="298" y="694"/>
                </a:lnTo>
                <a:lnTo>
                  <a:pt x="296" y="703"/>
                </a:lnTo>
                <a:lnTo>
                  <a:pt x="292" y="710"/>
                </a:lnTo>
                <a:lnTo>
                  <a:pt x="291" y="713"/>
                </a:lnTo>
                <a:lnTo>
                  <a:pt x="288" y="715"/>
                </a:lnTo>
                <a:lnTo>
                  <a:pt x="286" y="717"/>
                </a:lnTo>
                <a:lnTo>
                  <a:pt x="282" y="718"/>
                </a:lnTo>
                <a:lnTo>
                  <a:pt x="276" y="720"/>
                </a:lnTo>
                <a:lnTo>
                  <a:pt x="266" y="721"/>
                </a:lnTo>
                <a:lnTo>
                  <a:pt x="246" y="751"/>
                </a:lnTo>
                <a:lnTo>
                  <a:pt x="238" y="748"/>
                </a:lnTo>
                <a:lnTo>
                  <a:pt x="226" y="742"/>
                </a:lnTo>
                <a:lnTo>
                  <a:pt x="214" y="736"/>
                </a:lnTo>
                <a:lnTo>
                  <a:pt x="207" y="733"/>
                </a:lnTo>
                <a:lnTo>
                  <a:pt x="190" y="734"/>
                </a:lnTo>
                <a:lnTo>
                  <a:pt x="176" y="735"/>
                </a:lnTo>
                <a:lnTo>
                  <a:pt x="169" y="736"/>
                </a:lnTo>
                <a:lnTo>
                  <a:pt x="165" y="736"/>
                </a:lnTo>
                <a:lnTo>
                  <a:pt x="162" y="735"/>
                </a:lnTo>
                <a:lnTo>
                  <a:pt x="159" y="733"/>
                </a:lnTo>
                <a:lnTo>
                  <a:pt x="167" y="646"/>
                </a:lnTo>
                <a:lnTo>
                  <a:pt x="133" y="567"/>
                </a:lnTo>
                <a:lnTo>
                  <a:pt x="122" y="551"/>
                </a:lnTo>
                <a:lnTo>
                  <a:pt x="112" y="539"/>
                </a:lnTo>
                <a:lnTo>
                  <a:pt x="107" y="533"/>
                </a:lnTo>
                <a:lnTo>
                  <a:pt x="103" y="527"/>
                </a:lnTo>
                <a:lnTo>
                  <a:pt x="101" y="520"/>
                </a:lnTo>
                <a:lnTo>
                  <a:pt x="100" y="511"/>
                </a:lnTo>
                <a:lnTo>
                  <a:pt x="85" y="508"/>
                </a:lnTo>
                <a:lnTo>
                  <a:pt x="74" y="505"/>
                </a:lnTo>
                <a:lnTo>
                  <a:pt x="62" y="504"/>
                </a:lnTo>
                <a:lnTo>
                  <a:pt x="51" y="502"/>
                </a:lnTo>
                <a:lnTo>
                  <a:pt x="41" y="498"/>
                </a:lnTo>
                <a:lnTo>
                  <a:pt x="32" y="493"/>
                </a:lnTo>
                <a:lnTo>
                  <a:pt x="23" y="487"/>
                </a:lnTo>
                <a:lnTo>
                  <a:pt x="16" y="479"/>
                </a:lnTo>
                <a:lnTo>
                  <a:pt x="8" y="471"/>
                </a:lnTo>
                <a:lnTo>
                  <a:pt x="0" y="462"/>
                </a:lnTo>
                <a:lnTo>
                  <a:pt x="8" y="458"/>
                </a:lnTo>
                <a:lnTo>
                  <a:pt x="13" y="454"/>
                </a:lnTo>
                <a:lnTo>
                  <a:pt x="19" y="450"/>
                </a:lnTo>
                <a:lnTo>
                  <a:pt x="23" y="445"/>
                </a:lnTo>
                <a:lnTo>
                  <a:pt x="31" y="435"/>
                </a:lnTo>
                <a:lnTo>
                  <a:pt x="38" y="422"/>
                </a:lnTo>
                <a:lnTo>
                  <a:pt x="45" y="397"/>
                </a:lnTo>
                <a:lnTo>
                  <a:pt x="54" y="369"/>
                </a:lnTo>
                <a:lnTo>
                  <a:pt x="58" y="361"/>
                </a:lnTo>
                <a:lnTo>
                  <a:pt x="62" y="351"/>
                </a:lnTo>
                <a:lnTo>
                  <a:pt x="64" y="340"/>
                </a:lnTo>
                <a:lnTo>
                  <a:pt x="65" y="328"/>
                </a:lnTo>
                <a:lnTo>
                  <a:pt x="67" y="302"/>
                </a:lnTo>
                <a:lnTo>
                  <a:pt x="67" y="277"/>
                </a:lnTo>
                <a:lnTo>
                  <a:pt x="67" y="274"/>
                </a:lnTo>
                <a:lnTo>
                  <a:pt x="68" y="272"/>
                </a:lnTo>
                <a:lnTo>
                  <a:pt x="70" y="269"/>
                </a:lnTo>
                <a:lnTo>
                  <a:pt x="73" y="268"/>
                </a:lnTo>
                <a:lnTo>
                  <a:pt x="80" y="265"/>
                </a:lnTo>
                <a:lnTo>
                  <a:pt x="88" y="264"/>
                </a:lnTo>
                <a:lnTo>
                  <a:pt x="96" y="263"/>
                </a:lnTo>
                <a:lnTo>
                  <a:pt x="103" y="262"/>
                </a:lnTo>
                <a:lnTo>
                  <a:pt x="110" y="261"/>
                </a:lnTo>
                <a:lnTo>
                  <a:pt x="113" y="258"/>
                </a:lnTo>
                <a:lnTo>
                  <a:pt x="119" y="253"/>
                </a:lnTo>
                <a:lnTo>
                  <a:pt x="124" y="247"/>
                </a:lnTo>
                <a:lnTo>
                  <a:pt x="129" y="239"/>
                </a:lnTo>
                <a:lnTo>
                  <a:pt x="132" y="231"/>
                </a:lnTo>
                <a:lnTo>
                  <a:pt x="134" y="222"/>
                </a:lnTo>
                <a:lnTo>
                  <a:pt x="136" y="213"/>
                </a:lnTo>
                <a:lnTo>
                  <a:pt x="137" y="202"/>
                </a:lnTo>
                <a:lnTo>
                  <a:pt x="140" y="192"/>
                </a:lnTo>
                <a:lnTo>
                  <a:pt x="141" y="152"/>
                </a:lnTo>
                <a:lnTo>
                  <a:pt x="140" y="117"/>
                </a:lnTo>
                <a:lnTo>
                  <a:pt x="141" y="114"/>
                </a:lnTo>
                <a:lnTo>
                  <a:pt x="143" y="110"/>
                </a:lnTo>
                <a:lnTo>
                  <a:pt x="145" y="107"/>
                </a:lnTo>
                <a:lnTo>
                  <a:pt x="150" y="104"/>
                </a:lnTo>
                <a:lnTo>
                  <a:pt x="159" y="98"/>
                </a:lnTo>
                <a:lnTo>
                  <a:pt x="170" y="91"/>
                </a:lnTo>
                <a:lnTo>
                  <a:pt x="193" y="83"/>
                </a:lnTo>
                <a:lnTo>
                  <a:pt x="207" y="80"/>
                </a:lnTo>
                <a:lnTo>
                  <a:pt x="210" y="77"/>
                </a:lnTo>
                <a:lnTo>
                  <a:pt x="213" y="74"/>
                </a:lnTo>
                <a:lnTo>
                  <a:pt x="217" y="70"/>
                </a:lnTo>
                <a:lnTo>
                  <a:pt x="219" y="66"/>
                </a:lnTo>
                <a:lnTo>
                  <a:pt x="224" y="56"/>
                </a:lnTo>
                <a:lnTo>
                  <a:pt x="227" y="45"/>
                </a:lnTo>
                <a:lnTo>
                  <a:pt x="234" y="21"/>
                </a:lnTo>
                <a:lnTo>
                  <a:pt x="240" y="0"/>
                </a:lnTo>
                <a:lnTo>
                  <a:pt x="251" y="7"/>
                </a:lnTo>
                <a:lnTo>
                  <a:pt x="260" y="15"/>
                </a:lnTo>
                <a:lnTo>
                  <a:pt x="269" y="23"/>
                </a:lnTo>
                <a:lnTo>
                  <a:pt x="277" y="31"/>
                </a:lnTo>
                <a:lnTo>
                  <a:pt x="286" y="39"/>
                </a:lnTo>
                <a:lnTo>
                  <a:pt x="294" y="44"/>
                </a:lnTo>
                <a:lnTo>
                  <a:pt x="300" y="47"/>
                </a:lnTo>
                <a:lnTo>
                  <a:pt x="305" y="48"/>
                </a:lnTo>
                <a:lnTo>
                  <a:pt x="312" y="49"/>
                </a:lnTo>
                <a:lnTo>
                  <a:pt x="320" y="49"/>
                </a:lnTo>
                <a:lnTo>
                  <a:pt x="325" y="75"/>
                </a:lnTo>
                <a:lnTo>
                  <a:pt x="332" y="99"/>
                </a:lnTo>
                <a:lnTo>
                  <a:pt x="335" y="110"/>
                </a:lnTo>
                <a:lnTo>
                  <a:pt x="337" y="122"/>
                </a:lnTo>
                <a:lnTo>
                  <a:pt x="338" y="134"/>
                </a:lnTo>
                <a:lnTo>
                  <a:pt x="339" y="147"/>
                </a:lnTo>
                <a:lnTo>
                  <a:pt x="338" y="155"/>
                </a:lnTo>
                <a:lnTo>
                  <a:pt x="337" y="161"/>
                </a:lnTo>
                <a:lnTo>
                  <a:pt x="335" y="167"/>
                </a:lnTo>
                <a:lnTo>
                  <a:pt x="332" y="173"/>
                </a:lnTo>
                <a:lnTo>
                  <a:pt x="324" y="183"/>
                </a:lnTo>
                <a:lnTo>
                  <a:pt x="316" y="194"/>
                </a:lnTo>
                <a:lnTo>
                  <a:pt x="308" y="204"/>
                </a:lnTo>
                <a:lnTo>
                  <a:pt x="300" y="216"/>
                </a:lnTo>
                <a:lnTo>
                  <a:pt x="297" y="221"/>
                </a:lnTo>
                <a:lnTo>
                  <a:pt x="294" y="227"/>
                </a:lnTo>
                <a:lnTo>
                  <a:pt x="293" y="233"/>
                </a:lnTo>
                <a:lnTo>
                  <a:pt x="292" y="240"/>
                </a:lnTo>
                <a:lnTo>
                  <a:pt x="293" y="245"/>
                </a:lnTo>
                <a:lnTo>
                  <a:pt x="294" y="250"/>
                </a:lnTo>
                <a:lnTo>
                  <a:pt x="297" y="253"/>
                </a:lnTo>
                <a:lnTo>
                  <a:pt x="300" y="256"/>
                </a:lnTo>
                <a:lnTo>
                  <a:pt x="304" y="258"/>
                </a:lnTo>
                <a:lnTo>
                  <a:pt x="309" y="261"/>
                </a:lnTo>
                <a:lnTo>
                  <a:pt x="313" y="262"/>
                </a:lnTo>
                <a:lnTo>
                  <a:pt x="319" y="264"/>
                </a:lnTo>
                <a:lnTo>
                  <a:pt x="330" y="266"/>
                </a:lnTo>
                <a:lnTo>
                  <a:pt x="341" y="268"/>
                </a:lnTo>
                <a:lnTo>
                  <a:pt x="346" y="270"/>
                </a:lnTo>
                <a:lnTo>
                  <a:pt x="350" y="272"/>
                </a:lnTo>
                <a:lnTo>
                  <a:pt x="355" y="274"/>
                </a:lnTo>
                <a:lnTo>
                  <a:pt x="359" y="277"/>
                </a:lnTo>
                <a:lnTo>
                  <a:pt x="366" y="284"/>
                </a:lnTo>
                <a:lnTo>
                  <a:pt x="371" y="291"/>
                </a:lnTo>
                <a:lnTo>
                  <a:pt x="375" y="298"/>
                </a:lnTo>
                <a:lnTo>
                  <a:pt x="378" y="304"/>
                </a:lnTo>
                <a:lnTo>
                  <a:pt x="384" y="319"/>
                </a:lnTo>
                <a:lnTo>
                  <a:pt x="392" y="333"/>
                </a:lnTo>
                <a:lnTo>
                  <a:pt x="398" y="345"/>
                </a:lnTo>
                <a:lnTo>
                  <a:pt x="404" y="359"/>
                </a:lnTo>
                <a:lnTo>
                  <a:pt x="411" y="374"/>
                </a:lnTo>
                <a:lnTo>
                  <a:pt x="420" y="387"/>
                </a:lnTo>
                <a:lnTo>
                  <a:pt x="425" y="394"/>
                </a:lnTo>
                <a:lnTo>
                  <a:pt x="430" y="400"/>
                </a:lnTo>
                <a:lnTo>
                  <a:pt x="436" y="405"/>
                </a:lnTo>
                <a:lnTo>
                  <a:pt x="442" y="409"/>
                </a:lnTo>
                <a:lnTo>
                  <a:pt x="448" y="413"/>
                </a:lnTo>
                <a:lnTo>
                  <a:pt x="456" y="416"/>
                </a:lnTo>
                <a:lnTo>
                  <a:pt x="464" y="418"/>
                </a:lnTo>
                <a:lnTo>
                  <a:pt x="472" y="418"/>
                </a:lnTo>
                <a:lnTo>
                  <a:pt x="477" y="418"/>
                </a:lnTo>
                <a:lnTo>
                  <a:pt x="487" y="418"/>
                </a:lnTo>
                <a:lnTo>
                  <a:pt x="498" y="418"/>
                </a:lnTo>
                <a:lnTo>
                  <a:pt x="505" y="418"/>
                </a:lnTo>
                <a:lnTo>
                  <a:pt x="499" y="439"/>
                </a:lnTo>
                <a:lnTo>
                  <a:pt x="489" y="460"/>
                </a:lnTo>
                <a:lnTo>
                  <a:pt x="483" y="470"/>
                </a:lnTo>
                <a:lnTo>
                  <a:pt x="479" y="482"/>
                </a:lnTo>
                <a:lnTo>
                  <a:pt x="476" y="494"/>
                </a:lnTo>
                <a:lnTo>
                  <a:pt x="472" y="505"/>
                </a:lnTo>
                <a:lnTo>
                  <a:pt x="479" y="499"/>
                </a:lnTo>
                <a:lnTo>
                  <a:pt x="458" y="503"/>
                </a:lnTo>
                <a:lnTo>
                  <a:pt x="437" y="507"/>
                </a:lnTo>
                <a:lnTo>
                  <a:pt x="427" y="510"/>
                </a:lnTo>
                <a:lnTo>
                  <a:pt x="417" y="512"/>
                </a:lnTo>
                <a:lnTo>
                  <a:pt x="408" y="515"/>
                </a:lnTo>
                <a:lnTo>
                  <a:pt x="399" y="519"/>
                </a:lnTo>
                <a:lnTo>
                  <a:pt x="391" y="523"/>
                </a:lnTo>
                <a:lnTo>
                  <a:pt x="383" y="528"/>
                </a:lnTo>
                <a:lnTo>
                  <a:pt x="376" y="534"/>
                </a:lnTo>
                <a:lnTo>
                  <a:pt x="370" y="543"/>
                </a:lnTo>
                <a:lnTo>
                  <a:pt x="366" y="551"/>
                </a:lnTo>
                <a:lnTo>
                  <a:pt x="363" y="561"/>
                </a:lnTo>
                <a:lnTo>
                  <a:pt x="360" y="572"/>
                </a:lnTo>
                <a:lnTo>
                  <a:pt x="359" y="585"/>
                </a:lnTo>
                <a:lnTo>
                  <a:pt x="360" y="601"/>
                </a:lnTo>
                <a:lnTo>
                  <a:pt x="363" y="614"/>
                </a:lnTo>
                <a:lnTo>
                  <a:pt x="366" y="626"/>
                </a:lnTo>
                <a:lnTo>
                  <a:pt x="370" y="637"/>
                </a:lnTo>
                <a:lnTo>
                  <a:pt x="376" y="647"/>
                </a:lnTo>
                <a:lnTo>
                  <a:pt x="382" y="657"/>
                </a:lnTo>
                <a:lnTo>
                  <a:pt x="389" y="666"/>
                </a:lnTo>
                <a:lnTo>
                  <a:pt x="395" y="675"/>
                </a:lnTo>
                <a:lnTo>
                  <a:pt x="402" y="683"/>
                </a:lnTo>
                <a:lnTo>
                  <a:pt x="409" y="692"/>
                </a:lnTo>
                <a:lnTo>
                  <a:pt x="415" y="701"/>
                </a:lnTo>
                <a:lnTo>
                  <a:pt x="421" y="712"/>
                </a:lnTo>
                <a:lnTo>
                  <a:pt x="425" y="723"/>
                </a:lnTo>
                <a:lnTo>
                  <a:pt x="430" y="735"/>
                </a:lnTo>
                <a:lnTo>
                  <a:pt x="432" y="748"/>
                </a:lnTo>
                <a:lnTo>
                  <a:pt x="433" y="764"/>
                </a:lnTo>
                <a:lnTo>
                  <a:pt x="432" y="769"/>
                </a:lnTo>
                <a:lnTo>
                  <a:pt x="431" y="773"/>
                </a:lnTo>
                <a:lnTo>
                  <a:pt x="428" y="776"/>
                </a:lnTo>
                <a:lnTo>
                  <a:pt x="425" y="780"/>
                </a:lnTo>
                <a:lnTo>
                  <a:pt x="423" y="784"/>
                </a:lnTo>
                <a:lnTo>
                  <a:pt x="421" y="789"/>
                </a:lnTo>
                <a:lnTo>
                  <a:pt x="420" y="794"/>
                </a:lnTo>
                <a:lnTo>
                  <a:pt x="419" y="801"/>
                </a:lnTo>
                <a:lnTo>
                  <a:pt x="420" y="809"/>
                </a:lnTo>
                <a:lnTo>
                  <a:pt x="421" y="818"/>
                </a:lnTo>
                <a:lnTo>
                  <a:pt x="423" y="826"/>
                </a:lnTo>
                <a:lnTo>
                  <a:pt x="426" y="834"/>
                </a:lnTo>
                <a:lnTo>
                  <a:pt x="435" y="851"/>
                </a:lnTo>
                <a:lnTo>
                  <a:pt x="445" y="868"/>
                </a:lnTo>
                <a:lnTo>
                  <a:pt x="467" y="903"/>
                </a:lnTo>
                <a:lnTo>
                  <a:pt x="486" y="937"/>
                </a:lnTo>
                <a:lnTo>
                  <a:pt x="486" y="951"/>
                </a:lnTo>
                <a:lnTo>
                  <a:pt x="483" y="965"/>
                </a:lnTo>
                <a:lnTo>
                  <a:pt x="482" y="980"/>
                </a:lnTo>
                <a:lnTo>
                  <a:pt x="479" y="997"/>
                </a:lnTo>
                <a:lnTo>
                  <a:pt x="472" y="1027"/>
                </a:lnTo>
                <a:lnTo>
                  <a:pt x="466" y="1057"/>
                </a:lnTo>
                <a:lnTo>
                  <a:pt x="458" y="1082"/>
                </a:lnTo>
                <a:lnTo>
                  <a:pt x="451" y="1103"/>
                </a:lnTo>
                <a:lnTo>
                  <a:pt x="447" y="1116"/>
                </a:lnTo>
                <a:lnTo>
                  <a:pt x="446" y="112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311" name="Freeform 263"/>
          <p:cNvSpPr>
            <a:spLocks/>
          </p:cNvSpPr>
          <p:nvPr>
            <p:custDataLst>
              <p:tags r:id="rId190"/>
            </p:custDataLst>
          </p:nvPr>
        </p:nvSpPr>
        <p:spPr bwMode="auto">
          <a:xfrm>
            <a:off x="3594103" y="2450310"/>
            <a:ext cx="80963" cy="44054"/>
          </a:xfrm>
          <a:custGeom>
            <a:avLst/>
            <a:gdLst/>
            <a:ahLst/>
            <a:cxnLst>
              <a:cxn ang="0">
                <a:pos x="180" y="7"/>
              </a:cxn>
              <a:cxn ang="0">
                <a:pos x="171" y="24"/>
              </a:cxn>
              <a:cxn ang="0">
                <a:pos x="163" y="39"/>
              </a:cxn>
              <a:cxn ang="0">
                <a:pos x="152" y="53"/>
              </a:cxn>
              <a:cxn ang="0">
                <a:pos x="141" y="66"/>
              </a:cxn>
              <a:cxn ang="0">
                <a:pos x="129" y="80"/>
              </a:cxn>
              <a:cxn ang="0">
                <a:pos x="115" y="92"/>
              </a:cxn>
              <a:cxn ang="0">
                <a:pos x="101" y="102"/>
              </a:cxn>
              <a:cxn ang="0">
                <a:pos x="87" y="112"/>
              </a:cxn>
              <a:cxn ang="0">
                <a:pos x="82" y="107"/>
              </a:cxn>
              <a:cxn ang="0">
                <a:pos x="79" y="101"/>
              </a:cxn>
              <a:cxn ang="0">
                <a:pos x="76" y="95"/>
              </a:cxn>
              <a:cxn ang="0">
                <a:pos x="74" y="88"/>
              </a:cxn>
              <a:cxn ang="0">
                <a:pos x="70" y="81"/>
              </a:cxn>
              <a:cxn ang="0">
                <a:pos x="68" y="74"/>
              </a:cxn>
              <a:cxn ang="0">
                <a:pos x="65" y="69"/>
              </a:cxn>
              <a:cxn ang="0">
                <a:pos x="60" y="63"/>
              </a:cxn>
              <a:cxn ang="0">
                <a:pos x="45" y="48"/>
              </a:cxn>
              <a:cxn ang="0">
                <a:pos x="36" y="38"/>
              </a:cxn>
              <a:cxn ang="0">
                <a:pos x="30" y="33"/>
              </a:cxn>
              <a:cxn ang="0">
                <a:pos x="25" y="31"/>
              </a:cxn>
              <a:cxn ang="0">
                <a:pos x="18" y="30"/>
              </a:cxn>
              <a:cxn ang="0">
                <a:pos x="0" y="26"/>
              </a:cxn>
              <a:cxn ang="0">
                <a:pos x="26" y="14"/>
              </a:cxn>
              <a:cxn ang="0">
                <a:pos x="41" y="9"/>
              </a:cxn>
              <a:cxn ang="0">
                <a:pos x="56" y="5"/>
              </a:cxn>
              <a:cxn ang="0">
                <a:pos x="74" y="3"/>
              </a:cxn>
              <a:cxn ang="0">
                <a:pos x="93" y="1"/>
              </a:cxn>
              <a:cxn ang="0">
                <a:pos x="114" y="0"/>
              </a:cxn>
              <a:cxn ang="0">
                <a:pos x="135" y="1"/>
              </a:cxn>
              <a:cxn ang="0">
                <a:pos x="157" y="3"/>
              </a:cxn>
              <a:cxn ang="0">
                <a:pos x="180" y="7"/>
              </a:cxn>
            </a:cxnLst>
            <a:rect l="0" t="0" r="r" b="b"/>
            <a:pathLst>
              <a:path w="180" h="112">
                <a:moveTo>
                  <a:pt x="180" y="7"/>
                </a:moveTo>
                <a:lnTo>
                  <a:pt x="171" y="24"/>
                </a:lnTo>
                <a:lnTo>
                  <a:pt x="163" y="39"/>
                </a:lnTo>
                <a:lnTo>
                  <a:pt x="152" y="53"/>
                </a:lnTo>
                <a:lnTo>
                  <a:pt x="141" y="66"/>
                </a:lnTo>
                <a:lnTo>
                  <a:pt x="129" y="80"/>
                </a:lnTo>
                <a:lnTo>
                  <a:pt x="115" y="92"/>
                </a:lnTo>
                <a:lnTo>
                  <a:pt x="101" y="102"/>
                </a:lnTo>
                <a:lnTo>
                  <a:pt x="87" y="112"/>
                </a:lnTo>
                <a:lnTo>
                  <a:pt x="82" y="107"/>
                </a:lnTo>
                <a:lnTo>
                  <a:pt x="79" y="101"/>
                </a:lnTo>
                <a:lnTo>
                  <a:pt x="76" y="95"/>
                </a:lnTo>
                <a:lnTo>
                  <a:pt x="74" y="88"/>
                </a:lnTo>
                <a:lnTo>
                  <a:pt x="70" y="81"/>
                </a:lnTo>
                <a:lnTo>
                  <a:pt x="68" y="74"/>
                </a:lnTo>
                <a:lnTo>
                  <a:pt x="65" y="69"/>
                </a:lnTo>
                <a:lnTo>
                  <a:pt x="60" y="63"/>
                </a:lnTo>
                <a:lnTo>
                  <a:pt x="45" y="48"/>
                </a:lnTo>
                <a:lnTo>
                  <a:pt x="36" y="38"/>
                </a:lnTo>
                <a:lnTo>
                  <a:pt x="30" y="33"/>
                </a:lnTo>
                <a:lnTo>
                  <a:pt x="25" y="31"/>
                </a:lnTo>
                <a:lnTo>
                  <a:pt x="18" y="30"/>
                </a:lnTo>
                <a:lnTo>
                  <a:pt x="0" y="26"/>
                </a:lnTo>
                <a:lnTo>
                  <a:pt x="26" y="14"/>
                </a:lnTo>
                <a:lnTo>
                  <a:pt x="41" y="9"/>
                </a:lnTo>
                <a:lnTo>
                  <a:pt x="56" y="5"/>
                </a:lnTo>
                <a:lnTo>
                  <a:pt x="74" y="3"/>
                </a:lnTo>
                <a:lnTo>
                  <a:pt x="93" y="1"/>
                </a:lnTo>
                <a:lnTo>
                  <a:pt x="114" y="0"/>
                </a:lnTo>
                <a:lnTo>
                  <a:pt x="135" y="1"/>
                </a:lnTo>
                <a:lnTo>
                  <a:pt x="157" y="3"/>
                </a:lnTo>
                <a:lnTo>
                  <a:pt x="180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312" name="Freeform 264"/>
          <p:cNvSpPr>
            <a:spLocks/>
          </p:cNvSpPr>
          <p:nvPr>
            <p:custDataLst>
              <p:tags r:id="rId191"/>
            </p:custDataLst>
          </p:nvPr>
        </p:nvSpPr>
        <p:spPr bwMode="auto">
          <a:xfrm>
            <a:off x="3678238" y="2512226"/>
            <a:ext cx="74612" cy="75010"/>
          </a:xfrm>
          <a:custGeom>
            <a:avLst/>
            <a:gdLst/>
            <a:ahLst/>
            <a:cxnLst>
              <a:cxn ang="0">
                <a:pos x="0" y="68"/>
              </a:cxn>
              <a:cxn ang="0">
                <a:pos x="27" y="42"/>
              </a:cxn>
              <a:cxn ang="0">
                <a:pos x="51" y="21"/>
              </a:cxn>
              <a:cxn ang="0">
                <a:pos x="56" y="16"/>
              </a:cxn>
              <a:cxn ang="0">
                <a:pos x="63" y="12"/>
              </a:cxn>
              <a:cxn ang="0">
                <a:pos x="70" y="8"/>
              </a:cxn>
              <a:cxn ang="0">
                <a:pos x="76" y="6"/>
              </a:cxn>
              <a:cxn ang="0">
                <a:pos x="83" y="3"/>
              </a:cxn>
              <a:cxn ang="0">
                <a:pos x="90" y="2"/>
              </a:cxn>
              <a:cxn ang="0">
                <a:pos x="98" y="1"/>
              </a:cxn>
              <a:cxn ang="0">
                <a:pos x="107" y="0"/>
              </a:cxn>
              <a:cxn ang="0">
                <a:pos x="116" y="1"/>
              </a:cxn>
              <a:cxn ang="0">
                <a:pos x="124" y="2"/>
              </a:cxn>
              <a:cxn ang="0">
                <a:pos x="132" y="5"/>
              </a:cxn>
              <a:cxn ang="0">
                <a:pos x="139" y="8"/>
              </a:cxn>
              <a:cxn ang="0">
                <a:pos x="145" y="13"/>
              </a:cxn>
              <a:cxn ang="0">
                <a:pos x="151" y="19"/>
              </a:cxn>
              <a:cxn ang="0">
                <a:pos x="155" y="24"/>
              </a:cxn>
              <a:cxn ang="0">
                <a:pos x="160" y="30"/>
              </a:cxn>
              <a:cxn ang="0">
                <a:pos x="163" y="37"/>
              </a:cxn>
              <a:cxn ang="0">
                <a:pos x="166" y="43"/>
              </a:cxn>
              <a:cxn ang="0">
                <a:pos x="168" y="50"/>
              </a:cxn>
              <a:cxn ang="0">
                <a:pos x="169" y="57"/>
              </a:cxn>
              <a:cxn ang="0">
                <a:pos x="172" y="72"/>
              </a:cxn>
              <a:cxn ang="0">
                <a:pos x="173" y="87"/>
              </a:cxn>
              <a:cxn ang="0">
                <a:pos x="157" y="114"/>
              </a:cxn>
              <a:cxn ang="0">
                <a:pos x="146" y="137"/>
              </a:cxn>
              <a:cxn ang="0">
                <a:pos x="139" y="148"/>
              </a:cxn>
              <a:cxn ang="0">
                <a:pos x="130" y="160"/>
              </a:cxn>
              <a:cxn ang="0">
                <a:pos x="117" y="174"/>
              </a:cxn>
              <a:cxn ang="0">
                <a:pos x="99" y="192"/>
              </a:cxn>
              <a:cxn ang="0">
                <a:pos x="86" y="183"/>
              </a:cxn>
              <a:cxn ang="0">
                <a:pos x="74" y="176"/>
              </a:cxn>
              <a:cxn ang="0">
                <a:pos x="63" y="169"/>
              </a:cxn>
              <a:cxn ang="0">
                <a:pos x="54" y="163"/>
              </a:cxn>
              <a:cxn ang="0">
                <a:pos x="46" y="156"/>
              </a:cxn>
              <a:cxn ang="0">
                <a:pos x="40" y="150"/>
              </a:cxn>
              <a:cxn ang="0">
                <a:pos x="34" y="144"/>
              </a:cxn>
              <a:cxn ang="0">
                <a:pos x="30" y="137"/>
              </a:cxn>
              <a:cxn ang="0">
                <a:pos x="22" y="123"/>
              </a:cxn>
              <a:cxn ang="0">
                <a:pos x="16" y="107"/>
              </a:cxn>
              <a:cxn ang="0">
                <a:pos x="9" y="90"/>
              </a:cxn>
              <a:cxn ang="0">
                <a:pos x="0" y="68"/>
              </a:cxn>
            </a:cxnLst>
            <a:rect l="0" t="0" r="r" b="b"/>
            <a:pathLst>
              <a:path w="173" h="192">
                <a:moveTo>
                  <a:pt x="0" y="68"/>
                </a:moveTo>
                <a:lnTo>
                  <a:pt x="27" y="42"/>
                </a:lnTo>
                <a:lnTo>
                  <a:pt x="51" y="21"/>
                </a:lnTo>
                <a:lnTo>
                  <a:pt x="56" y="16"/>
                </a:lnTo>
                <a:lnTo>
                  <a:pt x="63" y="12"/>
                </a:lnTo>
                <a:lnTo>
                  <a:pt x="70" y="8"/>
                </a:lnTo>
                <a:lnTo>
                  <a:pt x="76" y="6"/>
                </a:lnTo>
                <a:lnTo>
                  <a:pt x="83" y="3"/>
                </a:lnTo>
                <a:lnTo>
                  <a:pt x="90" y="2"/>
                </a:lnTo>
                <a:lnTo>
                  <a:pt x="98" y="1"/>
                </a:lnTo>
                <a:lnTo>
                  <a:pt x="107" y="0"/>
                </a:lnTo>
                <a:lnTo>
                  <a:pt x="116" y="1"/>
                </a:lnTo>
                <a:lnTo>
                  <a:pt x="124" y="2"/>
                </a:lnTo>
                <a:lnTo>
                  <a:pt x="132" y="5"/>
                </a:lnTo>
                <a:lnTo>
                  <a:pt x="139" y="8"/>
                </a:lnTo>
                <a:lnTo>
                  <a:pt x="145" y="13"/>
                </a:lnTo>
                <a:lnTo>
                  <a:pt x="151" y="19"/>
                </a:lnTo>
                <a:lnTo>
                  <a:pt x="155" y="24"/>
                </a:lnTo>
                <a:lnTo>
                  <a:pt x="160" y="30"/>
                </a:lnTo>
                <a:lnTo>
                  <a:pt x="163" y="37"/>
                </a:lnTo>
                <a:lnTo>
                  <a:pt x="166" y="43"/>
                </a:lnTo>
                <a:lnTo>
                  <a:pt x="168" y="50"/>
                </a:lnTo>
                <a:lnTo>
                  <a:pt x="169" y="57"/>
                </a:lnTo>
                <a:lnTo>
                  <a:pt x="172" y="72"/>
                </a:lnTo>
                <a:lnTo>
                  <a:pt x="173" y="87"/>
                </a:lnTo>
                <a:lnTo>
                  <a:pt x="157" y="114"/>
                </a:lnTo>
                <a:lnTo>
                  <a:pt x="146" y="137"/>
                </a:lnTo>
                <a:lnTo>
                  <a:pt x="139" y="148"/>
                </a:lnTo>
                <a:lnTo>
                  <a:pt x="130" y="160"/>
                </a:lnTo>
                <a:lnTo>
                  <a:pt x="117" y="174"/>
                </a:lnTo>
                <a:lnTo>
                  <a:pt x="99" y="192"/>
                </a:lnTo>
                <a:lnTo>
                  <a:pt x="86" y="183"/>
                </a:lnTo>
                <a:lnTo>
                  <a:pt x="74" y="176"/>
                </a:lnTo>
                <a:lnTo>
                  <a:pt x="63" y="169"/>
                </a:lnTo>
                <a:lnTo>
                  <a:pt x="54" y="163"/>
                </a:lnTo>
                <a:lnTo>
                  <a:pt x="46" y="156"/>
                </a:lnTo>
                <a:lnTo>
                  <a:pt x="40" y="150"/>
                </a:lnTo>
                <a:lnTo>
                  <a:pt x="34" y="144"/>
                </a:lnTo>
                <a:lnTo>
                  <a:pt x="30" y="137"/>
                </a:lnTo>
                <a:lnTo>
                  <a:pt x="22" y="123"/>
                </a:lnTo>
                <a:lnTo>
                  <a:pt x="16" y="107"/>
                </a:lnTo>
                <a:lnTo>
                  <a:pt x="9" y="90"/>
                </a:lnTo>
                <a:lnTo>
                  <a:pt x="0" y="6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313" name="Freeform 265"/>
          <p:cNvSpPr>
            <a:spLocks/>
          </p:cNvSpPr>
          <p:nvPr>
            <p:custDataLst>
              <p:tags r:id="rId192"/>
            </p:custDataLst>
          </p:nvPr>
        </p:nvSpPr>
        <p:spPr bwMode="auto">
          <a:xfrm>
            <a:off x="3721100" y="2550325"/>
            <a:ext cx="104775" cy="98822"/>
          </a:xfrm>
          <a:custGeom>
            <a:avLst/>
            <a:gdLst/>
            <a:ahLst/>
            <a:cxnLst>
              <a:cxn ang="0">
                <a:pos x="74" y="0"/>
              </a:cxn>
              <a:cxn ang="0">
                <a:pos x="83" y="2"/>
              </a:cxn>
              <a:cxn ang="0">
                <a:pos x="89" y="3"/>
              </a:cxn>
              <a:cxn ang="0">
                <a:pos x="95" y="3"/>
              </a:cxn>
              <a:cxn ang="0">
                <a:pos x="99" y="2"/>
              </a:cxn>
              <a:cxn ang="0">
                <a:pos x="106" y="1"/>
              </a:cxn>
              <a:cxn ang="0">
                <a:pos x="113" y="0"/>
              </a:cxn>
              <a:cxn ang="0">
                <a:pos x="125" y="17"/>
              </a:cxn>
              <a:cxn ang="0">
                <a:pos x="140" y="37"/>
              </a:cxn>
              <a:cxn ang="0">
                <a:pos x="144" y="42"/>
              </a:cxn>
              <a:cxn ang="0">
                <a:pos x="148" y="46"/>
              </a:cxn>
              <a:cxn ang="0">
                <a:pos x="153" y="49"/>
              </a:cxn>
              <a:cxn ang="0">
                <a:pos x="157" y="52"/>
              </a:cxn>
              <a:cxn ang="0">
                <a:pos x="163" y="54"/>
              </a:cxn>
              <a:cxn ang="0">
                <a:pos x="168" y="56"/>
              </a:cxn>
              <a:cxn ang="0">
                <a:pos x="174" y="56"/>
              </a:cxn>
              <a:cxn ang="0">
                <a:pos x="180" y="56"/>
              </a:cxn>
              <a:cxn ang="0">
                <a:pos x="180" y="80"/>
              </a:cxn>
              <a:cxn ang="0">
                <a:pos x="193" y="103"/>
              </a:cxn>
              <a:cxn ang="0">
                <a:pos x="212" y="128"/>
              </a:cxn>
              <a:cxn ang="0">
                <a:pos x="215" y="135"/>
              </a:cxn>
              <a:cxn ang="0">
                <a:pos x="220" y="142"/>
              </a:cxn>
              <a:cxn ang="0">
                <a:pos x="223" y="151"/>
              </a:cxn>
              <a:cxn ang="0">
                <a:pos x="226" y="160"/>
              </a:cxn>
              <a:cxn ang="0">
                <a:pos x="230" y="170"/>
              </a:cxn>
              <a:cxn ang="0">
                <a:pos x="232" y="180"/>
              </a:cxn>
              <a:cxn ang="0">
                <a:pos x="233" y="191"/>
              </a:cxn>
              <a:cxn ang="0">
                <a:pos x="233" y="204"/>
              </a:cxn>
              <a:cxn ang="0">
                <a:pos x="232" y="216"/>
              </a:cxn>
              <a:cxn ang="0">
                <a:pos x="230" y="228"/>
              </a:cxn>
              <a:cxn ang="0">
                <a:pos x="227" y="240"/>
              </a:cxn>
              <a:cxn ang="0">
                <a:pos x="226" y="252"/>
              </a:cxn>
              <a:cxn ang="0">
                <a:pos x="222" y="252"/>
              </a:cxn>
              <a:cxn ang="0">
                <a:pos x="215" y="250"/>
              </a:cxn>
              <a:cxn ang="0">
                <a:pos x="208" y="246"/>
              </a:cxn>
              <a:cxn ang="0">
                <a:pos x="198" y="241"/>
              </a:cxn>
              <a:cxn ang="0">
                <a:pos x="176" y="226"/>
              </a:cxn>
              <a:cxn ang="0">
                <a:pos x="151" y="208"/>
              </a:cxn>
              <a:cxn ang="0">
                <a:pos x="125" y="186"/>
              </a:cxn>
              <a:cxn ang="0">
                <a:pos x="100" y="165"/>
              </a:cxn>
              <a:cxn ang="0">
                <a:pos x="78" y="145"/>
              </a:cxn>
              <a:cxn ang="0">
                <a:pos x="61" y="129"/>
              </a:cxn>
              <a:cxn ang="0">
                <a:pos x="55" y="125"/>
              </a:cxn>
              <a:cxn ang="0">
                <a:pos x="48" y="120"/>
              </a:cxn>
              <a:cxn ang="0">
                <a:pos x="41" y="116"/>
              </a:cxn>
              <a:cxn ang="0">
                <a:pos x="33" y="112"/>
              </a:cxn>
              <a:cxn ang="0">
                <a:pos x="17" y="104"/>
              </a:cxn>
              <a:cxn ang="0">
                <a:pos x="0" y="99"/>
              </a:cxn>
              <a:cxn ang="0">
                <a:pos x="40" y="63"/>
              </a:cxn>
              <a:cxn ang="0">
                <a:pos x="59" y="43"/>
              </a:cxn>
              <a:cxn ang="0">
                <a:pos x="65" y="33"/>
              </a:cxn>
              <a:cxn ang="0">
                <a:pos x="69" y="25"/>
              </a:cxn>
              <a:cxn ang="0">
                <a:pos x="72" y="14"/>
              </a:cxn>
              <a:cxn ang="0">
                <a:pos x="74" y="0"/>
              </a:cxn>
            </a:cxnLst>
            <a:rect l="0" t="0" r="r" b="b"/>
            <a:pathLst>
              <a:path w="233" h="252">
                <a:moveTo>
                  <a:pt x="74" y="0"/>
                </a:moveTo>
                <a:lnTo>
                  <a:pt x="83" y="2"/>
                </a:lnTo>
                <a:lnTo>
                  <a:pt x="89" y="3"/>
                </a:lnTo>
                <a:lnTo>
                  <a:pt x="95" y="3"/>
                </a:lnTo>
                <a:lnTo>
                  <a:pt x="99" y="2"/>
                </a:lnTo>
                <a:lnTo>
                  <a:pt x="106" y="1"/>
                </a:lnTo>
                <a:lnTo>
                  <a:pt x="113" y="0"/>
                </a:lnTo>
                <a:lnTo>
                  <a:pt x="125" y="17"/>
                </a:lnTo>
                <a:lnTo>
                  <a:pt x="140" y="37"/>
                </a:lnTo>
                <a:lnTo>
                  <a:pt x="144" y="42"/>
                </a:lnTo>
                <a:lnTo>
                  <a:pt x="148" y="46"/>
                </a:lnTo>
                <a:lnTo>
                  <a:pt x="153" y="49"/>
                </a:lnTo>
                <a:lnTo>
                  <a:pt x="157" y="52"/>
                </a:lnTo>
                <a:lnTo>
                  <a:pt x="163" y="54"/>
                </a:lnTo>
                <a:lnTo>
                  <a:pt x="168" y="56"/>
                </a:lnTo>
                <a:lnTo>
                  <a:pt x="174" y="56"/>
                </a:lnTo>
                <a:lnTo>
                  <a:pt x="180" y="56"/>
                </a:lnTo>
                <a:lnTo>
                  <a:pt x="180" y="80"/>
                </a:lnTo>
                <a:lnTo>
                  <a:pt x="193" y="103"/>
                </a:lnTo>
                <a:lnTo>
                  <a:pt x="212" y="128"/>
                </a:lnTo>
                <a:lnTo>
                  <a:pt x="215" y="135"/>
                </a:lnTo>
                <a:lnTo>
                  <a:pt x="220" y="142"/>
                </a:lnTo>
                <a:lnTo>
                  <a:pt x="223" y="151"/>
                </a:lnTo>
                <a:lnTo>
                  <a:pt x="226" y="160"/>
                </a:lnTo>
                <a:lnTo>
                  <a:pt x="230" y="170"/>
                </a:lnTo>
                <a:lnTo>
                  <a:pt x="232" y="180"/>
                </a:lnTo>
                <a:lnTo>
                  <a:pt x="233" y="191"/>
                </a:lnTo>
                <a:lnTo>
                  <a:pt x="233" y="204"/>
                </a:lnTo>
                <a:lnTo>
                  <a:pt x="232" y="216"/>
                </a:lnTo>
                <a:lnTo>
                  <a:pt x="230" y="228"/>
                </a:lnTo>
                <a:lnTo>
                  <a:pt x="227" y="240"/>
                </a:lnTo>
                <a:lnTo>
                  <a:pt x="226" y="252"/>
                </a:lnTo>
                <a:lnTo>
                  <a:pt x="222" y="252"/>
                </a:lnTo>
                <a:lnTo>
                  <a:pt x="215" y="250"/>
                </a:lnTo>
                <a:lnTo>
                  <a:pt x="208" y="246"/>
                </a:lnTo>
                <a:lnTo>
                  <a:pt x="198" y="241"/>
                </a:lnTo>
                <a:lnTo>
                  <a:pt x="176" y="226"/>
                </a:lnTo>
                <a:lnTo>
                  <a:pt x="151" y="208"/>
                </a:lnTo>
                <a:lnTo>
                  <a:pt x="125" y="186"/>
                </a:lnTo>
                <a:lnTo>
                  <a:pt x="100" y="165"/>
                </a:lnTo>
                <a:lnTo>
                  <a:pt x="78" y="145"/>
                </a:lnTo>
                <a:lnTo>
                  <a:pt x="61" y="129"/>
                </a:lnTo>
                <a:lnTo>
                  <a:pt x="55" y="125"/>
                </a:lnTo>
                <a:lnTo>
                  <a:pt x="48" y="120"/>
                </a:lnTo>
                <a:lnTo>
                  <a:pt x="41" y="116"/>
                </a:lnTo>
                <a:lnTo>
                  <a:pt x="33" y="112"/>
                </a:lnTo>
                <a:lnTo>
                  <a:pt x="17" y="104"/>
                </a:lnTo>
                <a:lnTo>
                  <a:pt x="0" y="99"/>
                </a:lnTo>
                <a:lnTo>
                  <a:pt x="40" y="63"/>
                </a:lnTo>
                <a:lnTo>
                  <a:pt x="59" y="43"/>
                </a:lnTo>
                <a:lnTo>
                  <a:pt x="65" y="33"/>
                </a:lnTo>
                <a:lnTo>
                  <a:pt x="69" y="25"/>
                </a:lnTo>
                <a:lnTo>
                  <a:pt x="72" y="14"/>
                </a:lnTo>
                <a:lnTo>
                  <a:pt x="7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314" name="Freeform 266"/>
          <p:cNvSpPr>
            <a:spLocks/>
          </p:cNvSpPr>
          <p:nvPr>
            <p:custDataLst>
              <p:tags r:id="rId193"/>
            </p:custDataLst>
          </p:nvPr>
        </p:nvSpPr>
        <p:spPr bwMode="auto">
          <a:xfrm>
            <a:off x="3935417" y="2489597"/>
            <a:ext cx="104775" cy="151209"/>
          </a:xfrm>
          <a:custGeom>
            <a:avLst/>
            <a:gdLst/>
            <a:ahLst/>
            <a:cxnLst>
              <a:cxn ang="0">
                <a:pos x="13" y="376"/>
              </a:cxn>
              <a:cxn ang="0">
                <a:pos x="14" y="367"/>
              </a:cxn>
              <a:cxn ang="0">
                <a:pos x="15" y="359"/>
              </a:cxn>
              <a:cxn ang="0">
                <a:pos x="18" y="351"/>
              </a:cxn>
              <a:cxn ang="0">
                <a:pos x="20" y="344"/>
              </a:cxn>
              <a:cxn ang="0">
                <a:pos x="25" y="333"/>
              </a:cxn>
              <a:cxn ang="0">
                <a:pos x="26" y="327"/>
              </a:cxn>
              <a:cxn ang="0">
                <a:pos x="25" y="321"/>
              </a:cxn>
              <a:cxn ang="0">
                <a:pos x="23" y="314"/>
              </a:cxn>
              <a:cxn ang="0">
                <a:pos x="19" y="305"/>
              </a:cxn>
              <a:cxn ang="0">
                <a:pos x="13" y="295"/>
              </a:cxn>
              <a:cxn ang="0">
                <a:pos x="9" y="285"/>
              </a:cxn>
              <a:cxn ang="0">
                <a:pos x="4" y="275"/>
              </a:cxn>
              <a:cxn ang="0">
                <a:pos x="1" y="267"/>
              </a:cxn>
              <a:cxn ang="0">
                <a:pos x="0" y="259"/>
              </a:cxn>
              <a:cxn ang="0">
                <a:pos x="1" y="251"/>
              </a:cxn>
              <a:cxn ang="0">
                <a:pos x="2" y="243"/>
              </a:cxn>
              <a:cxn ang="0">
                <a:pos x="3" y="236"/>
              </a:cxn>
              <a:cxn ang="0">
                <a:pos x="6" y="230"/>
              </a:cxn>
              <a:cxn ang="0">
                <a:pos x="11" y="218"/>
              </a:cxn>
              <a:cxn ang="0">
                <a:pos x="19" y="207"/>
              </a:cxn>
              <a:cxn ang="0">
                <a:pos x="26" y="197"/>
              </a:cxn>
              <a:cxn ang="0">
                <a:pos x="34" y="185"/>
              </a:cxn>
              <a:cxn ang="0">
                <a:pos x="41" y="173"/>
              </a:cxn>
              <a:cxn ang="0">
                <a:pos x="47" y="160"/>
              </a:cxn>
              <a:cxn ang="0">
                <a:pos x="26" y="73"/>
              </a:cxn>
              <a:cxn ang="0">
                <a:pos x="26" y="50"/>
              </a:cxn>
              <a:cxn ang="0">
                <a:pos x="24" y="33"/>
              </a:cxn>
              <a:cxn ang="0">
                <a:pos x="24" y="25"/>
              </a:cxn>
              <a:cxn ang="0">
                <a:pos x="24" y="16"/>
              </a:cxn>
              <a:cxn ang="0">
                <a:pos x="25" y="8"/>
              </a:cxn>
              <a:cxn ang="0">
                <a:pos x="26" y="0"/>
              </a:cxn>
              <a:cxn ang="0">
                <a:pos x="180" y="0"/>
              </a:cxn>
              <a:cxn ang="0">
                <a:pos x="220" y="129"/>
              </a:cxn>
              <a:cxn ang="0">
                <a:pos x="220" y="210"/>
              </a:cxn>
              <a:cxn ang="0">
                <a:pos x="220" y="220"/>
              </a:cxn>
              <a:cxn ang="0">
                <a:pos x="221" y="230"/>
              </a:cxn>
              <a:cxn ang="0">
                <a:pos x="223" y="240"/>
              </a:cxn>
              <a:cxn ang="0">
                <a:pos x="225" y="250"/>
              </a:cxn>
              <a:cxn ang="0">
                <a:pos x="228" y="259"/>
              </a:cxn>
              <a:cxn ang="0">
                <a:pos x="234" y="268"/>
              </a:cxn>
              <a:cxn ang="0">
                <a:pos x="239" y="278"/>
              </a:cxn>
              <a:cxn ang="0">
                <a:pos x="246" y="289"/>
              </a:cxn>
              <a:cxn ang="0">
                <a:pos x="224" y="295"/>
              </a:cxn>
              <a:cxn ang="0">
                <a:pos x="202" y="302"/>
              </a:cxn>
              <a:cxn ang="0">
                <a:pos x="181" y="310"/>
              </a:cxn>
              <a:cxn ang="0">
                <a:pos x="160" y="319"/>
              </a:cxn>
              <a:cxn ang="0">
                <a:pos x="141" y="328"/>
              </a:cxn>
              <a:cxn ang="0">
                <a:pos x="120" y="338"/>
              </a:cxn>
              <a:cxn ang="0">
                <a:pos x="100" y="347"/>
              </a:cxn>
              <a:cxn ang="0">
                <a:pos x="80" y="358"/>
              </a:cxn>
              <a:cxn ang="0">
                <a:pos x="75" y="363"/>
              </a:cxn>
              <a:cxn ang="0">
                <a:pos x="69" y="367"/>
              </a:cxn>
              <a:cxn ang="0">
                <a:pos x="62" y="372"/>
              </a:cxn>
              <a:cxn ang="0">
                <a:pos x="54" y="376"/>
              </a:cxn>
              <a:cxn ang="0">
                <a:pos x="46" y="379"/>
              </a:cxn>
              <a:cxn ang="0">
                <a:pos x="36" y="380"/>
              </a:cxn>
              <a:cxn ang="0">
                <a:pos x="31" y="380"/>
              </a:cxn>
              <a:cxn ang="0">
                <a:pos x="25" y="379"/>
              </a:cxn>
              <a:cxn ang="0">
                <a:pos x="20" y="378"/>
              </a:cxn>
              <a:cxn ang="0">
                <a:pos x="13" y="376"/>
              </a:cxn>
            </a:cxnLst>
            <a:rect l="0" t="0" r="r" b="b"/>
            <a:pathLst>
              <a:path w="246" h="380">
                <a:moveTo>
                  <a:pt x="13" y="376"/>
                </a:moveTo>
                <a:lnTo>
                  <a:pt x="14" y="367"/>
                </a:lnTo>
                <a:lnTo>
                  <a:pt x="15" y="359"/>
                </a:lnTo>
                <a:lnTo>
                  <a:pt x="18" y="351"/>
                </a:lnTo>
                <a:lnTo>
                  <a:pt x="20" y="344"/>
                </a:lnTo>
                <a:lnTo>
                  <a:pt x="25" y="333"/>
                </a:lnTo>
                <a:lnTo>
                  <a:pt x="26" y="327"/>
                </a:lnTo>
                <a:lnTo>
                  <a:pt x="25" y="321"/>
                </a:lnTo>
                <a:lnTo>
                  <a:pt x="23" y="314"/>
                </a:lnTo>
                <a:lnTo>
                  <a:pt x="19" y="305"/>
                </a:lnTo>
                <a:lnTo>
                  <a:pt x="13" y="295"/>
                </a:lnTo>
                <a:lnTo>
                  <a:pt x="9" y="285"/>
                </a:lnTo>
                <a:lnTo>
                  <a:pt x="4" y="275"/>
                </a:lnTo>
                <a:lnTo>
                  <a:pt x="1" y="267"/>
                </a:lnTo>
                <a:lnTo>
                  <a:pt x="0" y="259"/>
                </a:lnTo>
                <a:lnTo>
                  <a:pt x="1" y="251"/>
                </a:lnTo>
                <a:lnTo>
                  <a:pt x="2" y="243"/>
                </a:lnTo>
                <a:lnTo>
                  <a:pt x="3" y="236"/>
                </a:lnTo>
                <a:lnTo>
                  <a:pt x="6" y="230"/>
                </a:lnTo>
                <a:lnTo>
                  <a:pt x="11" y="218"/>
                </a:lnTo>
                <a:lnTo>
                  <a:pt x="19" y="207"/>
                </a:lnTo>
                <a:lnTo>
                  <a:pt x="26" y="197"/>
                </a:lnTo>
                <a:lnTo>
                  <a:pt x="34" y="185"/>
                </a:lnTo>
                <a:lnTo>
                  <a:pt x="41" y="173"/>
                </a:lnTo>
                <a:lnTo>
                  <a:pt x="47" y="160"/>
                </a:lnTo>
                <a:lnTo>
                  <a:pt x="26" y="73"/>
                </a:lnTo>
                <a:lnTo>
                  <a:pt x="26" y="50"/>
                </a:lnTo>
                <a:lnTo>
                  <a:pt x="24" y="33"/>
                </a:lnTo>
                <a:lnTo>
                  <a:pt x="24" y="25"/>
                </a:lnTo>
                <a:lnTo>
                  <a:pt x="24" y="16"/>
                </a:lnTo>
                <a:lnTo>
                  <a:pt x="25" y="8"/>
                </a:lnTo>
                <a:lnTo>
                  <a:pt x="26" y="0"/>
                </a:lnTo>
                <a:lnTo>
                  <a:pt x="180" y="0"/>
                </a:lnTo>
                <a:lnTo>
                  <a:pt x="220" y="129"/>
                </a:lnTo>
                <a:lnTo>
                  <a:pt x="220" y="210"/>
                </a:lnTo>
                <a:lnTo>
                  <a:pt x="220" y="220"/>
                </a:lnTo>
                <a:lnTo>
                  <a:pt x="221" y="230"/>
                </a:lnTo>
                <a:lnTo>
                  <a:pt x="223" y="240"/>
                </a:lnTo>
                <a:lnTo>
                  <a:pt x="225" y="250"/>
                </a:lnTo>
                <a:lnTo>
                  <a:pt x="228" y="259"/>
                </a:lnTo>
                <a:lnTo>
                  <a:pt x="234" y="268"/>
                </a:lnTo>
                <a:lnTo>
                  <a:pt x="239" y="278"/>
                </a:lnTo>
                <a:lnTo>
                  <a:pt x="246" y="289"/>
                </a:lnTo>
                <a:lnTo>
                  <a:pt x="224" y="295"/>
                </a:lnTo>
                <a:lnTo>
                  <a:pt x="202" y="302"/>
                </a:lnTo>
                <a:lnTo>
                  <a:pt x="181" y="310"/>
                </a:lnTo>
                <a:lnTo>
                  <a:pt x="160" y="319"/>
                </a:lnTo>
                <a:lnTo>
                  <a:pt x="141" y="328"/>
                </a:lnTo>
                <a:lnTo>
                  <a:pt x="120" y="338"/>
                </a:lnTo>
                <a:lnTo>
                  <a:pt x="100" y="347"/>
                </a:lnTo>
                <a:lnTo>
                  <a:pt x="80" y="358"/>
                </a:lnTo>
                <a:lnTo>
                  <a:pt x="75" y="363"/>
                </a:lnTo>
                <a:lnTo>
                  <a:pt x="69" y="367"/>
                </a:lnTo>
                <a:lnTo>
                  <a:pt x="62" y="372"/>
                </a:lnTo>
                <a:lnTo>
                  <a:pt x="54" y="376"/>
                </a:lnTo>
                <a:lnTo>
                  <a:pt x="46" y="379"/>
                </a:lnTo>
                <a:lnTo>
                  <a:pt x="36" y="380"/>
                </a:lnTo>
                <a:lnTo>
                  <a:pt x="31" y="380"/>
                </a:lnTo>
                <a:lnTo>
                  <a:pt x="25" y="379"/>
                </a:lnTo>
                <a:lnTo>
                  <a:pt x="20" y="378"/>
                </a:lnTo>
                <a:lnTo>
                  <a:pt x="13" y="37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315" name="Freeform 267"/>
          <p:cNvSpPr>
            <a:spLocks/>
          </p:cNvSpPr>
          <p:nvPr>
            <p:custDataLst>
              <p:tags r:id="rId194"/>
            </p:custDataLst>
          </p:nvPr>
        </p:nvSpPr>
        <p:spPr bwMode="auto">
          <a:xfrm>
            <a:off x="3587757" y="2426496"/>
            <a:ext cx="87313" cy="44054"/>
          </a:xfrm>
          <a:custGeom>
            <a:avLst/>
            <a:gdLst/>
            <a:ahLst/>
            <a:cxnLst>
              <a:cxn ang="0">
                <a:pos x="7" y="20"/>
              </a:cxn>
              <a:cxn ang="0">
                <a:pos x="38" y="11"/>
              </a:cxn>
              <a:cxn ang="0">
                <a:pos x="67" y="5"/>
              </a:cxn>
              <a:cxn ang="0">
                <a:pos x="80" y="3"/>
              </a:cxn>
              <a:cxn ang="0">
                <a:pos x="94" y="2"/>
              </a:cxn>
              <a:cxn ang="0">
                <a:pos x="110" y="1"/>
              </a:cxn>
              <a:cxn ang="0">
                <a:pos x="126" y="0"/>
              </a:cxn>
              <a:cxn ang="0">
                <a:pos x="138" y="1"/>
              </a:cxn>
              <a:cxn ang="0">
                <a:pos x="149" y="1"/>
              </a:cxn>
              <a:cxn ang="0">
                <a:pos x="160" y="2"/>
              </a:cxn>
              <a:cxn ang="0">
                <a:pos x="169" y="4"/>
              </a:cxn>
              <a:cxn ang="0">
                <a:pos x="178" y="6"/>
              </a:cxn>
              <a:cxn ang="0">
                <a:pos x="184" y="11"/>
              </a:cxn>
              <a:cxn ang="0">
                <a:pos x="187" y="13"/>
              </a:cxn>
              <a:cxn ang="0">
                <a:pos x="189" y="18"/>
              </a:cxn>
              <a:cxn ang="0">
                <a:pos x="191" y="21"/>
              </a:cxn>
              <a:cxn ang="0">
                <a:pos x="193" y="26"/>
              </a:cxn>
              <a:cxn ang="0">
                <a:pos x="183" y="27"/>
              </a:cxn>
              <a:cxn ang="0">
                <a:pos x="173" y="28"/>
              </a:cxn>
              <a:cxn ang="0">
                <a:pos x="165" y="28"/>
              </a:cxn>
              <a:cxn ang="0">
                <a:pos x="156" y="28"/>
              </a:cxn>
              <a:cxn ang="0">
                <a:pos x="138" y="27"/>
              </a:cxn>
              <a:cxn ang="0">
                <a:pos x="120" y="26"/>
              </a:cxn>
              <a:cxn ang="0">
                <a:pos x="103" y="26"/>
              </a:cxn>
              <a:cxn ang="0">
                <a:pos x="89" y="28"/>
              </a:cxn>
              <a:cxn ang="0">
                <a:pos x="76" y="30"/>
              </a:cxn>
              <a:cxn ang="0">
                <a:pos x="63" y="32"/>
              </a:cxn>
              <a:cxn ang="0">
                <a:pos x="49" y="34"/>
              </a:cxn>
              <a:cxn ang="0">
                <a:pos x="35" y="36"/>
              </a:cxn>
              <a:cxn ang="0">
                <a:pos x="19" y="37"/>
              </a:cxn>
              <a:cxn ang="0">
                <a:pos x="0" y="38"/>
              </a:cxn>
              <a:cxn ang="0">
                <a:pos x="0" y="33"/>
              </a:cxn>
              <a:cxn ang="0">
                <a:pos x="1" y="29"/>
              </a:cxn>
              <a:cxn ang="0">
                <a:pos x="3" y="24"/>
              </a:cxn>
              <a:cxn ang="0">
                <a:pos x="7" y="20"/>
              </a:cxn>
            </a:cxnLst>
            <a:rect l="0" t="0" r="r" b="b"/>
            <a:pathLst>
              <a:path w="193" h="38">
                <a:moveTo>
                  <a:pt x="7" y="20"/>
                </a:moveTo>
                <a:lnTo>
                  <a:pt x="38" y="11"/>
                </a:lnTo>
                <a:lnTo>
                  <a:pt x="67" y="5"/>
                </a:lnTo>
                <a:lnTo>
                  <a:pt x="80" y="3"/>
                </a:lnTo>
                <a:lnTo>
                  <a:pt x="94" y="2"/>
                </a:lnTo>
                <a:lnTo>
                  <a:pt x="110" y="1"/>
                </a:lnTo>
                <a:lnTo>
                  <a:pt x="126" y="0"/>
                </a:lnTo>
                <a:lnTo>
                  <a:pt x="138" y="1"/>
                </a:lnTo>
                <a:lnTo>
                  <a:pt x="149" y="1"/>
                </a:lnTo>
                <a:lnTo>
                  <a:pt x="160" y="2"/>
                </a:lnTo>
                <a:lnTo>
                  <a:pt x="169" y="4"/>
                </a:lnTo>
                <a:lnTo>
                  <a:pt x="178" y="6"/>
                </a:lnTo>
                <a:lnTo>
                  <a:pt x="184" y="11"/>
                </a:lnTo>
                <a:lnTo>
                  <a:pt x="187" y="13"/>
                </a:lnTo>
                <a:lnTo>
                  <a:pt x="189" y="18"/>
                </a:lnTo>
                <a:lnTo>
                  <a:pt x="191" y="21"/>
                </a:lnTo>
                <a:lnTo>
                  <a:pt x="193" y="26"/>
                </a:lnTo>
                <a:lnTo>
                  <a:pt x="183" y="27"/>
                </a:lnTo>
                <a:lnTo>
                  <a:pt x="173" y="28"/>
                </a:lnTo>
                <a:lnTo>
                  <a:pt x="165" y="28"/>
                </a:lnTo>
                <a:lnTo>
                  <a:pt x="156" y="28"/>
                </a:lnTo>
                <a:lnTo>
                  <a:pt x="138" y="27"/>
                </a:lnTo>
                <a:lnTo>
                  <a:pt x="120" y="26"/>
                </a:lnTo>
                <a:lnTo>
                  <a:pt x="103" y="26"/>
                </a:lnTo>
                <a:lnTo>
                  <a:pt x="89" y="28"/>
                </a:lnTo>
                <a:lnTo>
                  <a:pt x="76" y="30"/>
                </a:lnTo>
                <a:lnTo>
                  <a:pt x="63" y="32"/>
                </a:lnTo>
                <a:lnTo>
                  <a:pt x="49" y="34"/>
                </a:lnTo>
                <a:lnTo>
                  <a:pt x="35" y="36"/>
                </a:lnTo>
                <a:lnTo>
                  <a:pt x="19" y="37"/>
                </a:lnTo>
                <a:lnTo>
                  <a:pt x="0" y="38"/>
                </a:lnTo>
                <a:lnTo>
                  <a:pt x="0" y="33"/>
                </a:lnTo>
                <a:lnTo>
                  <a:pt x="1" y="29"/>
                </a:lnTo>
                <a:lnTo>
                  <a:pt x="3" y="24"/>
                </a:lnTo>
                <a:lnTo>
                  <a:pt x="7" y="2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316" name="Freeform 268"/>
          <p:cNvSpPr>
            <a:spLocks/>
          </p:cNvSpPr>
          <p:nvPr>
            <p:custDataLst>
              <p:tags r:id="rId195"/>
            </p:custDataLst>
          </p:nvPr>
        </p:nvSpPr>
        <p:spPr bwMode="auto">
          <a:xfrm>
            <a:off x="4013207" y="2484844"/>
            <a:ext cx="42863" cy="116681"/>
          </a:xfrm>
          <a:custGeom>
            <a:avLst/>
            <a:gdLst/>
            <a:ahLst/>
            <a:cxnLst>
              <a:cxn ang="0">
                <a:pos x="53" y="12"/>
              </a:cxn>
              <a:cxn ang="0">
                <a:pos x="59" y="12"/>
              </a:cxn>
              <a:cxn ang="0">
                <a:pos x="59" y="19"/>
              </a:cxn>
              <a:cxn ang="0">
                <a:pos x="62" y="26"/>
              </a:cxn>
              <a:cxn ang="0">
                <a:pos x="63" y="33"/>
              </a:cxn>
              <a:cxn ang="0">
                <a:pos x="66" y="42"/>
              </a:cxn>
              <a:cxn ang="0">
                <a:pos x="72" y="58"/>
              </a:cxn>
              <a:cxn ang="0">
                <a:pos x="79" y="75"/>
              </a:cxn>
              <a:cxn ang="0">
                <a:pos x="87" y="93"/>
              </a:cxn>
              <a:cxn ang="0">
                <a:pos x="93" y="111"/>
              </a:cxn>
              <a:cxn ang="0">
                <a:pos x="96" y="120"/>
              </a:cxn>
              <a:cxn ang="0">
                <a:pos x="98" y="129"/>
              </a:cxn>
              <a:cxn ang="0">
                <a:pos x="99" y="138"/>
              </a:cxn>
              <a:cxn ang="0">
                <a:pos x="99" y="148"/>
              </a:cxn>
              <a:cxn ang="0">
                <a:pos x="99" y="289"/>
              </a:cxn>
              <a:cxn ang="0">
                <a:pos x="89" y="290"/>
              </a:cxn>
              <a:cxn ang="0">
                <a:pos x="80" y="293"/>
              </a:cxn>
              <a:cxn ang="0">
                <a:pos x="73" y="297"/>
              </a:cxn>
              <a:cxn ang="0">
                <a:pos x="66" y="301"/>
              </a:cxn>
              <a:cxn ang="0">
                <a:pos x="59" y="290"/>
              </a:cxn>
              <a:cxn ang="0">
                <a:pos x="54" y="280"/>
              </a:cxn>
              <a:cxn ang="0">
                <a:pos x="48" y="271"/>
              </a:cxn>
              <a:cxn ang="0">
                <a:pos x="45" y="262"/>
              </a:cxn>
              <a:cxn ang="0">
                <a:pos x="43" y="252"/>
              </a:cxn>
              <a:cxn ang="0">
                <a:pos x="41" y="242"/>
              </a:cxn>
              <a:cxn ang="0">
                <a:pos x="40" y="232"/>
              </a:cxn>
              <a:cxn ang="0">
                <a:pos x="40" y="222"/>
              </a:cxn>
              <a:cxn ang="0">
                <a:pos x="40" y="141"/>
              </a:cxn>
              <a:cxn ang="0">
                <a:pos x="0" y="6"/>
              </a:cxn>
              <a:cxn ang="0">
                <a:pos x="5" y="2"/>
              </a:cxn>
              <a:cxn ang="0">
                <a:pos x="10" y="0"/>
              </a:cxn>
              <a:cxn ang="0">
                <a:pos x="14" y="0"/>
              </a:cxn>
              <a:cxn ang="0">
                <a:pos x="20" y="0"/>
              </a:cxn>
              <a:cxn ang="0">
                <a:pos x="26" y="0"/>
              </a:cxn>
              <a:cxn ang="0">
                <a:pos x="32" y="2"/>
              </a:cxn>
              <a:cxn ang="0">
                <a:pos x="37" y="4"/>
              </a:cxn>
              <a:cxn ang="0">
                <a:pos x="41" y="6"/>
              </a:cxn>
              <a:cxn ang="0">
                <a:pos x="47" y="10"/>
              </a:cxn>
              <a:cxn ang="0">
                <a:pos x="53" y="12"/>
              </a:cxn>
            </a:cxnLst>
            <a:rect l="0" t="0" r="r" b="b"/>
            <a:pathLst>
              <a:path w="99" h="301">
                <a:moveTo>
                  <a:pt x="53" y="12"/>
                </a:moveTo>
                <a:lnTo>
                  <a:pt x="59" y="12"/>
                </a:lnTo>
                <a:lnTo>
                  <a:pt x="59" y="19"/>
                </a:lnTo>
                <a:lnTo>
                  <a:pt x="62" y="26"/>
                </a:lnTo>
                <a:lnTo>
                  <a:pt x="63" y="33"/>
                </a:lnTo>
                <a:lnTo>
                  <a:pt x="66" y="42"/>
                </a:lnTo>
                <a:lnTo>
                  <a:pt x="72" y="58"/>
                </a:lnTo>
                <a:lnTo>
                  <a:pt x="79" y="75"/>
                </a:lnTo>
                <a:lnTo>
                  <a:pt x="87" y="93"/>
                </a:lnTo>
                <a:lnTo>
                  <a:pt x="93" y="111"/>
                </a:lnTo>
                <a:lnTo>
                  <a:pt x="96" y="120"/>
                </a:lnTo>
                <a:lnTo>
                  <a:pt x="98" y="129"/>
                </a:lnTo>
                <a:lnTo>
                  <a:pt x="99" y="138"/>
                </a:lnTo>
                <a:lnTo>
                  <a:pt x="99" y="148"/>
                </a:lnTo>
                <a:lnTo>
                  <a:pt x="99" y="289"/>
                </a:lnTo>
                <a:lnTo>
                  <a:pt x="89" y="290"/>
                </a:lnTo>
                <a:lnTo>
                  <a:pt x="80" y="293"/>
                </a:lnTo>
                <a:lnTo>
                  <a:pt x="73" y="297"/>
                </a:lnTo>
                <a:lnTo>
                  <a:pt x="66" y="301"/>
                </a:lnTo>
                <a:lnTo>
                  <a:pt x="59" y="290"/>
                </a:lnTo>
                <a:lnTo>
                  <a:pt x="54" y="280"/>
                </a:lnTo>
                <a:lnTo>
                  <a:pt x="48" y="271"/>
                </a:lnTo>
                <a:lnTo>
                  <a:pt x="45" y="262"/>
                </a:lnTo>
                <a:lnTo>
                  <a:pt x="43" y="252"/>
                </a:lnTo>
                <a:lnTo>
                  <a:pt x="41" y="242"/>
                </a:lnTo>
                <a:lnTo>
                  <a:pt x="40" y="232"/>
                </a:lnTo>
                <a:lnTo>
                  <a:pt x="40" y="222"/>
                </a:lnTo>
                <a:lnTo>
                  <a:pt x="40" y="141"/>
                </a:lnTo>
                <a:lnTo>
                  <a:pt x="0" y="6"/>
                </a:lnTo>
                <a:lnTo>
                  <a:pt x="5" y="2"/>
                </a:lnTo>
                <a:lnTo>
                  <a:pt x="10" y="0"/>
                </a:lnTo>
                <a:lnTo>
                  <a:pt x="14" y="0"/>
                </a:lnTo>
                <a:lnTo>
                  <a:pt x="20" y="0"/>
                </a:lnTo>
                <a:lnTo>
                  <a:pt x="26" y="0"/>
                </a:lnTo>
                <a:lnTo>
                  <a:pt x="32" y="2"/>
                </a:lnTo>
                <a:lnTo>
                  <a:pt x="37" y="4"/>
                </a:lnTo>
                <a:lnTo>
                  <a:pt x="41" y="6"/>
                </a:lnTo>
                <a:lnTo>
                  <a:pt x="47" y="10"/>
                </a:lnTo>
                <a:lnTo>
                  <a:pt x="53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317" name="Freeform 269"/>
          <p:cNvSpPr>
            <a:spLocks/>
          </p:cNvSpPr>
          <p:nvPr>
            <p:custDataLst>
              <p:tags r:id="rId196"/>
            </p:custDataLst>
          </p:nvPr>
        </p:nvSpPr>
        <p:spPr bwMode="auto">
          <a:xfrm>
            <a:off x="4038600" y="2456260"/>
            <a:ext cx="76200" cy="141684"/>
          </a:xfrm>
          <a:custGeom>
            <a:avLst/>
            <a:gdLst/>
            <a:ahLst/>
            <a:cxnLst>
              <a:cxn ang="0">
                <a:pos x="0" y="80"/>
              </a:cxn>
              <a:cxn ang="0">
                <a:pos x="9" y="72"/>
              </a:cxn>
              <a:cxn ang="0">
                <a:pos x="17" y="65"/>
              </a:cxn>
              <a:cxn ang="0">
                <a:pos x="25" y="60"/>
              </a:cxn>
              <a:cxn ang="0">
                <a:pos x="33" y="56"/>
              </a:cxn>
              <a:cxn ang="0">
                <a:pos x="40" y="50"/>
              </a:cxn>
              <a:cxn ang="0">
                <a:pos x="67" y="50"/>
              </a:cxn>
              <a:cxn ang="0">
                <a:pos x="94" y="0"/>
              </a:cxn>
              <a:cxn ang="0">
                <a:pos x="101" y="3"/>
              </a:cxn>
              <a:cxn ang="0">
                <a:pos x="108" y="7"/>
              </a:cxn>
              <a:cxn ang="0">
                <a:pos x="116" y="12"/>
              </a:cxn>
              <a:cxn ang="0">
                <a:pos x="123" y="18"/>
              </a:cxn>
              <a:cxn ang="0">
                <a:pos x="131" y="22"/>
              </a:cxn>
              <a:cxn ang="0">
                <a:pos x="139" y="27"/>
              </a:cxn>
              <a:cxn ang="0">
                <a:pos x="145" y="29"/>
              </a:cxn>
              <a:cxn ang="0">
                <a:pos x="153" y="30"/>
              </a:cxn>
              <a:cxn ang="0">
                <a:pos x="163" y="39"/>
              </a:cxn>
              <a:cxn ang="0">
                <a:pos x="173" y="50"/>
              </a:cxn>
              <a:cxn ang="0">
                <a:pos x="173" y="61"/>
              </a:cxn>
              <a:cxn ang="0">
                <a:pos x="173" y="69"/>
              </a:cxn>
              <a:cxn ang="0">
                <a:pos x="173" y="80"/>
              </a:cxn>
              <a:cxn ang="0">
                <a:pos x="173" y="98"/>
              </a:cxn>
              <a:cxn ang="0">
                <a:pos x="173" y="109"/>
              </a:cxn>
              <a:cxn ang="0">
                <a:pos x="171" y="118"/>
              </a:cxn>
              <a:cxn ang="0">
                <a:pos x="167" y="127"/>
              </a:cxn>
              <a:cxn ang="0">
                <a:pos x="163" y="135"/>
              </a:cxn>
              <a:cxn ang="0">
                <a:pos x="152" y="151"/>
              </a:cxn>
              <a:cxn ang="0">
                <a:pos x="140" y="167"/>
              </a:cxn>
              <a:cxn ang="0">
                <a:pos x="128" y="183"/>
              </a:cxn>
              <a:cxn ang="0">
                <a:pos x="117" y="200"/>
              </a:cxn>
              <a:cxn ang="0">
                <a:pos x="112" y="209"/>
              </a:cxn>
              <a:cxn ang="0">
                <a:pos x="109" y="219"/>
              </a:cxn>
              <a:cxn ang="0">
                <a:pos x="108" y="229"/>
              </a:cxn>
              <a:cxn ang="0">
                <a:pos x="107" y="240"/>
              </a:cxn>
              <a:cxn ang="0">
                <a:pos x="108" y="273"/>
              </a:cxn>
              <a:cxn ang="0">
                <a:pos x="109" y="293"/>
              </a:cxn>
              <a:cxn ang="0">
                <a:pos x="110" y="302"/>
              </a:cxn>
              <a:cxn ang="0">
                <a:pos x="109" y="313"/>
              </a:cxn>
              <a:cxn ang="0">
                <a:pos x="109" y="327"/>
              </a:cxn>
              <a:cxn ang="0">
                <a:pos x="107" y="345"/>
              </a:cxn>
              <a:cxn ang="0">
                <a:pos x="97" y="346"/>
              </a:cxn>
              <a:cxn ang="0">
                <a:pos x="88" y="347"/>
              </a:cxn>
              <a:cxn ang="0">
                <a:pos x="79" y="349"/>
              </a:cxn>
              <a:cxn ang="0">
                <a:pos x="71" y="351"/>
              </a:cxn>
              <a:cxn ang="0">
                <a:pos x="63" y="353"/>
              </a:cxn>
              <a:cxn ang="0">
                <a:pos x="55" y="355"/>
              </a:cxn>
              <a:cxn ang="0">
                <a:pos x="48" y="357"/>
              </a:cxn>
              <a:cxn ang="0">
                <a:pos x="40" y="357"/>
              </a:cxn>
              <a:cxn ang="0">
                <a:pos x="40" y="216"/>
              </a:cxn>
              <a:cxn ang="0">
                <a:pos x="40" y="206"/>
              </a:cxn>
              <a:cxn ang="0">
                <a:pos x="39" y="197"/>
              </a:cxn>
              <a:cxn ang="0">
                <a:pos x="37" y="188"/>
              </a:cxn>
              <a:cxn ang="0">
                <a:pos x="34" y="179"/>
              </a:cxn>
              <a:cxn ang="0">
                <a:pos x="28" y="161"/>
              </a:cxn>
              <a:cxn ang="0">
                <a:pos x="20" y="143"/>
              </a:cxn>
              <a:cxn ang="0">
                <a:pos x="13" y="126"/>
              </a:cxn>
              <a:cxn ang="0">
                <a:pos x="7" y="110"/>
              </a:cxn>
              <a:cxn ang="0">
                <a:pos x="4" y="101"/>
              </a:cxn>
              <a:cxn ang="0">
                <a:pos x="3" y="94"/>
              </a:cxn>
              <a:cxn ang="0">
                <a:pos x="0" y="87"/>
              </a:cxn>
              <a:cxn ang="0">
                <a:pos x="0" y="80"/>
              </a:cxn>
            </a:cxnLst>
            <a:rect l="0" t="0" r="r" b="b"/>
            <a:pathLst>
              <a:path w="173" h="357">
                <a:moveTo>
                  <a:pt x="0" y="80"/>
                </a:moveTo>
                <a:lnTo>
                  <a:pt x="9" y="72"/>
                </a:lnTo>
                <a:lnTo>
                  <a:pt x="17" y="65"/>
                </a:lnTo>
                <a:lnTo>
                  <a:pt x="25" y="60"/>
                </a:lnTo>
                <a:lnTo>
                  <a:pt x="33" y="56"/>
                </a:lnTo>
                <a:lnTo>
                  <a:pt x="40" y="50"/>
                </a:lnTo>
                <a:lnTo>
                  <a:pt x="67" y="50"/>
                </a:lnTo>
                <a:lnTo>
                  <a:pt x="94" y="0"/>
                </a:lnTo>
                <a:lnTo>
                  <a:pt x="101" y="3"/>
                </a:lnTo>
                <a:lnTo>
                  <a:pt x="108" y="7"/>
                </a:lnTo>
                <a:lnTo>
                  <a:pt x="116" y="12"/>
                </a:lnTo>
                <a:lnTo>
                  <a:pt x="123" y="18"/>
                </a:lnTo>
                <a:lnTo>
                  <a:pt x="131" y="22"/>
                </a:lnTo>
                <a:lnTo>
                  <a:pt x="139" y="27"/>
                </a:lnTo>
                <a:lnTo>
                  <a:pt x="145" y="29"/>
                </a:lnTo>
                <a:lnTo>
                  <a:pt x="153" y="30"/>
                </a:lnTo>
                <a:lnTo>
                  <a:pt x="163" y="39"/>
                </a:lnTo>
                <a:lnTo>
                  <a:pt x="173" y="50"/>
                </a:lnTo>
                <a:lnTo>
                  <a:pt x="173" y="61"/>
                </a:lnTo>
                <a:lnTo>
                  <a:pt x="173" y="69"/>
                </a:lnTo>
                <a:lnTo>
                  <a:pt x="173" y="80"/>
                </a:lnTo>
                <a:lnTo>
                  <a:pt x="173" y="98"/>
                </a:lnTo>
                <a:lnTo>
                  <a:pt x="173" y="109"/>
                </a:lnTo>
                <a:lnTo>
                  <a:pt x="171" y="118"/>
                </a:lnTo>
                <a:lnTo>
                  <a:pt x="167" y="127"/>
                </a:lnTo>
                <a:lnTo>
                  <a:pt x="163" y="135"/>
                </a:lnTo>
                <a:lnTo>
                  <a:pt x="152" y="151"/>
                </a:lnTo>
                <a:lnTo>
                  <a:pt x="140" y="167"/>
                </a:lnTo>
                <a:lnTo>
                  <a:pt x="128" y="183"/>
                </a:lnTo>
                <a:lnTo>
                  <a:pt x="117" y="200"/>
                </a:lnTo>
                <a:lnTo>
                  <a:pt x="112" y="209"/>
                </a:lnTo>
                <a:lnTo>
                  <a:pt x="109" y="219"/>
                </a:lnTo>
                <a:lnTo>
                  <a:pt x="108" y="229"/>
                </a:lnTo>
                <a:lnTo>
                  <a:pt x="107" y="240"/>
                </a:lnTo>
                <a:lnTo>
                  <a:pt x="108" y="273"/>
                </a:lnTo>
                <a:lnTo>
                  <a:pt x="109" y="293"/>
                </a:lnTo>
                <a:lnTo>
                  <a:pt x="110" y="302"/>
                </a:lnTo>
                <a:lnTo>
                  <a:pt x="109" y="313"/>
                </a:lnTo>
                <a:lnTo>
                  <a:pt x="109" y="327"/>
                </a:lnTo>
                <a:lnTo>
                  <a:pt x="107" y="345"/>
                </a:lnTo>
                <a:lnTo>
                  <a:pt x="97" y="346"/>
                </a:lnTo>
                <a:lnTo>
                  <a:pt x="88" y="347"/>
                </a:lnTo>
                <a:lnTo>
                  <a:pt x="79" y="349"/>
                </a:lnTo>
                <a:lnTo>
                  <a:pt x="71" y="351"/>
                </a:lnTo>
                <a:lnTo>
                  <a:pt x="63" y="353"/>
                </a:lnTo>
                <a:lnTo>
                  <a:pt x="55" y="355"/>
                </a:lnTo>
                <a:lnTo>
                  <a:pt x="48" y="357"/>
                </a:lnTo>
                <a:lnTo>
                  <a:pt x="40" y="357"/>
                </a:lnTo>
                <a:lnTo>
                  <a:pt x="40" y="216"/>
                </a:lnTo>
                <a:lnTo>
                  <a:pt x="40" y="206"/>
                </a:lnTo>
                <a:lnTo>
                  <a:pt x="39" y="197"/>
                </a:lnTo>
                <a:lnTo>
                  <a:pt x="37" y="188"/>
                </a:lnTo>
                <a:lnTo>
                  <a:pt x="34" y="179"/>
                </a:lnTo>
                <a:lnTo>
                  <a:pt x="28" y="161"/>
                </a:lnTo>
                <a:lnTo>
                  <a:pt x="20" y="143"/>
                </a:lnTo>
                <a:lnTo>
                  <a:pt x="13" y="126"/>
                </a:lnTo>
                <a:lnTo>
                  <a:pt x="7" y="110"/>
                </a:lnTo>
                <a:lnTo>
                  <a:pt x="4" y="101"/>
                </a:lnTo>
                <a:lnTo>
                  <a:pt x="3" y="94"/>
                </a:lnTo>
                <a:lnTo>
                  <a:pt x="0" y="87"/>
                </a:lnTo>
                <a:lnTo>
                  <a:pt x="0" y="8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318" name="Freeform 270"/>
          <p:cNvSpPr>
            <a:spLocks/>
          </p:cNvSpPr>
          <p:nvPr>
            <p:custDataLst>
              <p:tags r:id="rId197"/>
            </p:custDataLst>
          </p:nvPr>
        </p:nvSpPr>
        <p:spPr bwMode="auto">
          <a:xfrm>
            <a:off x="4767266" y="3359951"/>
            <a:ext cx="25400" cy="45244"/>
          </a:xfrm>
          <a:custGeom>
            <a:avLst/>
            <a:gdLst/>
            <a:ahLst/>
            <a:cxnLst>
              <a:cxn ang="0">
                <a:pos x="10" y="0"/>
              </a:cxn>
              <a:cxn ang="0">
                <a:pos x="6" y="14"/>
              </a:cxn>
              <a:cxn ang="0">
                <a:pos x="2" y="26"/>
              </a:cxn>
              <a:cxn ang="0">
                <a:pos x="0" y="36"/>
              </a:cxn>
              <a:cxn ang="0">
                <a:pos x="0" y="43"/>
              </a:cxn>
              <a:cxn ang="0">
                <a:pos x="0" y="50"/>
              </a:cxn>
              <a:cxn ang="0">
                <a:pos x="2" y="56"/>
              </a:cxn>
              <a:cxn ang="0">
                <a:pos x="6" y="61"/>
              </a:cxn>
              <a:cxn ang="0">
                <a:pos x="10" y="68"/>
              </a:cxn>
              <a:cxn ang="0">
                <a:pos x="50" y="74"/>
              </a:cxn>
              <a:cxn ang="0">
                <a:pos x="50" y="51"/>
              </a:cxn>
              <a:cxn ang="0">
                <a:pos x="50" y="34"/>
              </a:cxn>
              <a:cxn ang="0">
                <a:pos x="50" y="19"/>
              </a:cxn>
              <a:cxn ang="0">
                <a:pos x="50" y="0"/>
              </a:cxn>
              <a:cxn ang="0">
                <a:pos x="38" y="0"/>
              </a:cxn>
              <a:cxn ang="0">
                <a:pos x="25" y="0"/>
              </a:cxn>
              <a:cxn ang="0">
                <a:pos x="14" y="0"/>
              </a:cxn>
              <a:cxn ang="0">
                <a:pos x="10" y="0"/>
              </a:cxn>
            </a:cxnLst>
            <a:rect l="0" t="0" r="r" b="b"/>
            <a:pathLst>
              <a:path w="50" h="74">
                <a:moveTo>
                  <a:pt x="10" y="0"/>
                </a:moveTo>
                <a:lnTo>
                  <a:pt x="6" y="14"/>
                </a:lnTo>
                <a:lnTo>
                  <a:pt x="2" y="26"/>
                </a:lnTo>
                <a:lnTo>
                  <a:pt x="0" y="36"/>
                </a:lnTo>
                <a:lnTo>
                  <a:pt x="0" y="43"/>
                </a:lnTo>
                <a:lnTo>
                  <a:pt x="0" y="50"/>
                </a:lnTo>
                <a:lnTo>
                  <a:pt x="2" y="56"/>
                </a:lnTo>
                <a:lnTo>
                  <a:pt x="6" y="61"/>
                </a:lnTo>
                <a:lnTo>
                  <a:pt x="10" y="68"/>
                </a:lnTo>
                <a:lnTo>
                  <a:pt x="50" y="74"/>
                </a:lnTo>
                <a:lnTo>
                  <a:pt x="50" y="51"/>
                </a:lnTo>
                <a:lnTo>
                  <a:pt x="50" y="34"/>
                </a:lnTo>
                <a:lnTo>
                  <a:pt x="50" y="19"/>
                </a:lnTo>
                <a:lnTo>
                  <a:pt x="50" y="0"/>
                </a:lnTo>
                <a:lnTo>
                  <a:pt x="38" y="0"/>
                </a:lnTo>
                <a:lnTo>
                  <a:pt x="25" y="0"/>
                </a:lnTo>
                <a:lnTo>
                  <a:pt x="14" y="0"/>
                </a:lnTo>
                <a:lnTo>
                  <a:pt x="1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319" name="Freeform 271"/>
          <p:cNvSpPr>
            <a:spLocks/>
          </p:cNvSpPr>
          <p:nvPr>
            <p:custDataLst>
              <p:tags r:id="rId198"/>
            </p:custDataLst>
          </p:nvPr>
        </p:nvSpPr>
        <p:spPr bwMode="auto">
          <a:xfrm>
            <a:off x="4662490" y="3432577"/>
            <a:ext cx="61912" cy="42863"/>
          </a:xfrm>
          <a:custGeom>
            <a:avLst/>
            <a:gdLst/>
            <a:ahLst/>
            <a:cxnLst>
              <a:cxn ang="0">
                <a:pos x="3" y="55"/>
              </a:cxn>
              <a:cxn ang="0">
                <a:pos x="11" y="54"/>
              </a:cxn>
              <a:cxn ang="0">
                <a:pos x="18" y="53"/>
              </a:cxn>
              <a:cxn ang="0">
                <a:pos x="24" y="50"/>
              </a:cxn>
              <a:cxn ang="0">
                <a:pos x="31" y="47"/>
              </a:cxn>
              <a:cxn ang="0">
                <a:pos x="42" y="38"/>
              </a:cxn>
              <a:cxn ang="0">
                <a:pos x="52" y="28"/>
              </a:cxn>
              <a:cxn ang="0">
                <a:pos x="61" y="18"/>
              </a:cxn>
              <a:cxn ang="0">
                <a:pos x="71" y="8"/>
              </a:cxn>
              <a:cxn ang="0">
                <a:pos x="76" y="5"/>
              </a:cxn>
              <a:cxn ang="0">
                <a:pos x="82" y="2"/>
              </a:cxn>
              <a:cxn ang="0">
                <a:pos x="88" y="0"/>
              </a:cxn>
              <a:cxn ang="0">
                <a:pos x="96" y="0"/>
              </a:cxn>
              <a:cxn ang="0">
                <a:pos x="102" y="0"/>
              </a:cxn>
              <a:cxn ang="0">
                <a:pos x="110" y="3"/>
              </a:cxn>
              <a:cxn ang="0">
                <a:pos x="117" y="6"/>
              </a:cxn>
              <a:cxn ang="0">
                <a:pos x="123" y="11"/>
              </a:cxn>
              <a:cxn ang="0">
                <a:pos x="128" y="16"/>
              </a:cxn>
              <a:cxn ang="0">
                <a:pos x="132" y="24"/>
              </a:cxn>
              <a:cxn ang="0">
                <a:pos x="134" y="30"/>
              </a:cxn>
              <a:cxn ang="0">
                <a:pos x="135" y="37"/>
              </a:cxn>
              <a:cxn ang="0">
                <a:pos x="134" y="40"/>
              </a:cxn>
              <a:cxn ang="0">
                <a:pos x="132" y="43"/>
              </a:cxn>
              <a:cxn ang="0">
                <a:pos x="129" y="47"/>
              </a:cxn>
              <a:cxn ang="0">
                <a:pos x="124" y="51"/>
              </a:cxn>
              <a:cxn ang="0">
                <a:pos x="113" y="61"/>
              </a:cxn>
              <a:cxn ang="0">
                <a:pos x="100" y="72"/>
              </a:cxn>
              <a:cxn ang="0">
                <a:pos x="87" y="82"/>
              </a:cxn>
              <a:cxn ang="0">
                <a:pos x="74" y="91"/>
              </a:cxn>
              <a:cxn ang="0">
                <a:pos x="63" y="96"/>
              </a:cxn>
              <a:cxn ang="0">
                <a:pos x="55" y="98"/>
              </a:cxn>
              <a:cxn ang="0">
                <a:pos x="51" y="97"/>
              </a:cxn>
              <a:cxn ang="0">
                <a:pos x="43" y="92"/>
              </a:cxn>
              <a:cxn ang="0">
                <a:pos x="32" y="85"/>
              </a:cxn>
              <a:cxn ang="0">
                <a:pos x="21" y="77"/>
              </a:cxn>
              <a:cxn ang="0">
                <a:pos x="11" y="68"/>
              </a:cxn>
              <a:cxn ang="0">
                <a:pos x="5" y="62"/>
              </a:cxn>
              <a:cxn ang="0">
                <a:pos x="1" y="59"/>
              </a:cxn>
              <a:cxn ang="0">
                <a:pos x="0" y="57"/>
              </a:cxn>
              <a:cxn ang="0">
                <a:pos x="0" y="56"/>
              </a:cxn>
              <a:cxn ang="0">
                <a:pos x="3" y="55"/>
              </a:cxn>
            </a:cxnLst>
            <a:rect l="0" t="0" r="r" b="b"/>
            <a:pathLst>
              <a:path w="135" h="98">
                <a:moveTo>
                  <a:pt x="3" y="55"/>
                </a:moveTo>
                <a:lnTo>
                  <a:pt x="11" y="54"/>
                </a:lnTo>
                <a:lnTo>
                  <a:pt x="18" y="53"/>
                </a:lnTo>
                <a:lnTo>
                  <a:pt x="24" y="50"/>
                </a:lnTo>
                <a:lnTo>
                  <a:pt x="31" y="47"/>
                </a:lnTo>
                <a:lnTo>
                  <a:pt x="42" y="38"/>
                </a:lnTo>
                <a:lnTo>
                  <a:pt x="52" y="28"/>
                </a:lnTo>
                <a:lnTo>
                  <a:pt x="61" y="18"/>
                </a:lnTo>
                <a:lnTo>
                  <a:pt x="71" y="8"/>
                </a:lnTo>
                <a:lnTo>
                  <a:pt x="76" y="5"/>
                </a:lnTo>
                <a:lnTo>
                  <a:pt x="82" y="2"/>
                </a:lnTo>
                <a:lnTo>
                  <a:pt x="88" y="0"/>
                </a:lnTo>
                <a:lnTo>
                  <a:pt x="96" y="0"/>
                </a:lnTo>
                <a:lnTo>
                  <a:pt x="102" y="0"/>
                </a:lnTo>
                <a:lnTo>
                  <a:pt x="110" y="3"/>
                </a:lnTo>
                <a:lnTo>
                  <a:pt x="117" y="6"/>
                </a:lnTo>
                <a:lnTo>
                  <a:pt x="123" y="11"/>
                </a:lnTo>
                <a:lnTo>
                  <a:pt x="128" y="16"/>
                </a:lnTo>
                <a:lnTo>
                  <a:pt x="132" y="24"/>
                </a:lnTo>
                <a:lnTo>
                  <a:pt x="134" y="30"/>
                </a:lnTo>
                <a:lnTo>
                  <a:pt x="135" y="37"/>
                </a:lnTo>
                <a:lnTo>
                  <a:pt x="134" y="40"/>
                </a:lnTo>
                <a:lnTo>
                  <a:pt x="132" y="43"/>
                </a:lnTo>
                <a:lnTo>
                  <a:pt x="129" y="47"/>
                </a:lnTo>
                <a:lnTo>
                  <a:pt x="124" y="51"/>
                </a:lnTo>
                <a:lnTo>
                  <a:pt x="113" y="61"/>
                </a:lnTo>
                <a:lnTo>
                  <a:pt x="100" y="72"/>
                </a:lnTo>
                <a:lnTo>
                  <a:pt x="87" y="82"/>
                </a:lnTo>
                <a:lnTo>
                  <a:pt x="74" y="91"/>
                </a:lnTo>
                <a:lnTo>
                  <a:pt x="63" y="96"/>
                </a:lnTo>
                <a:lnTo>
                  <a:pt x="55" y="98"/>
                </a:lnTo>
                <a:lnTo>
                  <a:pt x="51" y="97"/>
                </a:lnTo>
                <a:lnTo>
                  <a:pt x="43" y="92"/>
                </a:lnTo>
                <a:lnTo>
                  <a:pt x="32" y="85"/>
                </a:lnTo>
                <a:lnTo>
                  <a:pt x="21" y="77"/>
                </a:lnTo>
                <a:lnTo>
                  <a:pt x="11" y="68"/>
                </a:lnTo>
                <a:lnTo>
                  <a:pt x="5" y="62"/>
                </a:lnTo>
                <a:lnTo>
                  <a:pt x="1" y="59"/>
                </a:lnTo>
                <a:lnTo>
                  <a:pt x="0" y="57"/>
                </a:lnTo>
                <a:lnTo>
                  <a:pt x="0" y="56"/>
                </a:lnTo>
                <a:lnTo>
                  <a:pt x="3" y="5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320" name="Freeform 272"/>
          <p:cNvSpPr>
            <a:spLocks/>
          </p:cNvSpPr>
          <p:nvPr>
            <p:custDataLst>
              <p:tags r:id="rId199"/>
            </p:custDataLst>
          </p:nvPr>
        </p:nvSpPr>
        <p:spPr bwMode="auto">
          <a:xfrm>
            <a:off x="6880225" y="1718076"/>
            <a:ext cx="120650" cy="128588"/>
          </a:xfrm>
          <a:custGeom>
            <a:avLst/>
            <a:gdLst/>
            <a:ahLst/>
            <a:cxnLst>
              <a:cxn ang="0">
                <a:pos x="240" y="9"/>
              </a:cxn>
              <a:cxn ang="0">
                <a:pos x="240" y="28"/>
              </a:cxn>
              <a:cxn ang="0">
                <a:pos x="249" y="42"/>
              </a:cxn>
              <a:cxn ang="0">
                <a:pos x="245" y="55"/>
              </a:cxn>
              <a:cxn ang="0">
                <a:pos x="225" y="50"/>
              </a:cxn>
              <a:cxn ang="0">
                <a:pos x="210" y="51"/>
              </a:cxn>
              <a:cxn ang="0">
                <a:pos x="195" y="65"/>
              </a:cxn>
              <a:cxn ang="0">
                <a:pos x="193" y="78"/>
              </a:cxn>
              <a:cxn ang="0">
                <a:pos x="198" y="89"/>
              </a:cxn>
              <a:cxn ang="0">
                <a:pos x="215" y="110"/>
              </a:cxn>
              <a:cxn ang="0">
                <a:pos x="224" y="122"/>
              </a:cxn>
              <a:cxn ang="0">
                <a:pos x="225" y="133"/>
              </a:cxn>
              <a:cxn ang="0">
                <a:pos x="222" y="143"/>
              </a:cxn>
              <a:cxn ang="0">
                <a:pos x="207" y="154"/>
              </a:cxn>
              <a:cxn ang="0">
                <a:pos x="200" y="160"/>
              </a:cxn>
              <a:cxn ang="0">
                <a:pos x="181" y="166"/>
              </a:cxn>
              <a:cxn ang="0">
                <a:pos x="164" y="178"/>
              </a:cxn>
              <a:cxn ang="0">
                <a:pos x="160" y="191"/>
              </a:cxn>
              <a:cxn ang="0">
                <a:pos x="173" y="207"/>
              </a:cxn>
              <a:cxn ang="0">
                <a:pos x="189" y="215"/>
              </a:cxn>
              <a:cxn ang="0">
                <a:pos x="214" y="227"/>
              </a:cxn>
              <a:cxn ang="0">
                <a:pos x="245" y="259"/>
              </a:cxn>
              <a:cxn ang="0">
                <a:pos x="251" y="285"/>
              </a:cxn>
              <a:cxn ang="0">
                <a:pos x="220" y="291"/>
              </a:cxn>
              <a:cxn ang="0">
                <a:pos x="207" y="298"/>
              </a:cxn>
              <a:cxn ang="0">
                <a:pos x="198" y="312"/>
              </a:cxn>
              <a:cxn ang="0">
                <a:pos x="189" y="326"/>
              </a:cxn>
              <a:cxn ang="0">
                <a:pos x="170" y="321"/>
              </a:cxn>
              <a:cxn ang="0">
                <a:pos x="167" y="316"/>
              </a:cxn>
              <a:cxn ang="0">
                <a:pos x="154" y="310"/>
              </a:cxn>
              <a:cxn ang="0">
                <a:pos x="139" y="301"/>
              </a:cxn>
              <a:cxn ang="0">
                <a:pos x="126" y="295"/>
              </a:cxn>
              <a:cxn ang="0">
                <a:pos x="98" y="290"/>
              </a:cxn>
              <a:cxn ang="0">
                <a:pos x="63" y="277"/>
              </a:cxn>
              <a:cxn ang="0">
                <a:pos x="54" y="268"/>
              </a:cxn>
              <a:cxn ang="0">
                <a:pos x="55" y="256"/>
              </a:cxn>
              <a:cxn ang="0">
                <a:pos x="70" y="244"/>
              </a:cxn>
              <a:cxn ang="0">
                <a:pos x="59" y="221"/>
              </a:cxn>
              <a:cxn ang="0">
                <a:pos x="34" y="194"/>
              </a:cxn>
              <a:cxn ang="0">
                <a:pos x="13" y="182"/>
              </a:cxn>
              <a:cxn ang="0">
                <a:pos x="4" y="171"/>
              </a:cxn>
              <a:cxn ang="0">
                <a:pos x="19" y="152"/>
              </a:cxn>
              <a:cxn ang="0">
                <a:pos x="54" y="124"/>
              </a:cxn>
              <a:cxn ang="0">
                <a:pos x="73" y="105"/>
              </a:cxn>
              <a:cxn ang="0">
                <a:pos x="88" y="92"/>
              </a:cxn>
              <a:cxn ang="0">
                <a:pos x="110" y="88"/>
              </a:cxn>
              <a:cxn ang="0">
                <a:pos x="144" y="70"/>
              </a:cxn>
              <a:cxn ang="0">
                <a:pos x="168" y="46"/>
              </a:cxn>
              <a:cxn ang="0">
                <a:pos x="191" y="21"/>
              </a:cxn>
              <a:cxn ang="0">
                <a:pos x="220" y="4"/>
              </a:cxn>
              <a:cxn ang="0">
                <a:pos x="238" y="0"/>
              </a:cxn>
            </a:cxnLst>
            <a:rect l="0" t="0" r="r" b="b"/>
            <a:pathLst>
              <a:path w="266" h="326">
                <a:moveTo>
                  <a:pt x="246" y="0"/>
                </a:moveTo>
                <a:lnTo>
                  <a:pt x="241" y="4"/>
                </a:lnTo>
                <a:lnTo>
                  <a:pt x="240" y="9"/>
                </a:lnTo>
                <a:lnTo>
                  <a:pt x="239" y="16"/>
                </a:lnTo>
                <a:lnTo>
                  <a:pt x="239" y="24"/>
                </a:lnTo>
                <a:lnTo>
                  <a:pt x="240" y="28"/>
                </a:lnTo>
                <a:lnTo>
                  <a:pt x="243" y="33"/>
                </a:lnTo>
                <a:lnTo>
                  <a:pt x="246" y="38"/>
                </a:lnTo>
                <a:lnTo>
                  <a:pt x="249" y="42"/>
                </a:lnTo>
                <a:lnTo>
                  <a:pt x="256" y="50"/>
                </a:lnTo>
                <a:lnTo>
                  <a:pt x="259" y="55"/>
                </a:lnTo>
                <a:lnTo>
                  <a:pt x="245" y="55"/>
                </a:lnTo>
                <a:lnTo>
                  <a:pt x="234" y="54"/>
                </a:lnTo>
                <a:lnTo>
                  <a:pt x="229" y="52"/>
                </a:lnTo>
                <a:lnTo>
                  <a:pt x="225" y="50"/>
                </a:lnTo>
                <a:lnTo>
                  <a:pt x="222" y="47"/>
                </a:lnTo>
                <a:lnTo>
                  <a:pt x="220" y="43"/>
                </a:lnTo>
                <a:lnTo>
                  <a:pt x="210" y="51"/>
                </a:lnTo>
                <a:lnTo>
                  <a:pt x="201" y="58"/>
                </a:lnTo>
                <a:lnTo>
                  <a:pt x="198" y="62"/>
                </a:lnTo>
                <a:lnTo>
                  <a:pt x="195" y="65"/>
                </a:lnTo>
                <a:lnTo>
                  <a:pt x="193" y="69"/>
                </a:lnTo>
                <a:lnTo>
                  <a:pt x="192" y="73"/>
                </a:lnTo>
                <a:lnTo>
                  <a:pt x="193" y="78"/>
                </a:lnTo>
                <a:lnTo>
                  <a:pt x="194" y="82"/>
                </a:lnTo>
                <a:lnTo>
                  <a:pt x="195" y="86"/>
                </a:lnTo>
                <a:lnTo>
                  <a:pt x="198" y="89"/>
                </a:lnTo>
                <a:lnTo>
                  <a:pt x="203" y="97"/>
                </a:lnTo>
                <a:lnTo>
                  <a:pt x="210" y="104"/>
                </a:lnTo>
                <a:lnTo>
                  <a:pt x="215" y="110"/>
                </a:lnTo>
                <a:lnTo>
                  <a:pt x="221" y="116"/>
                </a:lnTo>
                <a:lnTo>
                  <a:pt x="223" y="119"/>
                </a:lnTo>
                <a:lnTo>
                  <a:pt x="224" y="122"/>
                </a:lnTo>
                <a:lnTo>
                  <a:pt x="225" y="125"/>
                </a:lnTo>
                <a:lnTo>
                  <a:pt x="226" y="129"/>
                </a:lnTo>
                <a:lnTo>
                  <a:pt x="225" y="133"/>
                </a:lnTo>
                <a:lnTo>
                  <a:pt x="225" y="137"/>
                </a:lnTo>
                <a:lnTo>
                  <a:pt x="223" y="140"/>
                </a:lnTo>
                <a:lnTo>
                  <a:pt x="222" y="143"/>
                </a:lnTo>
                <a:lnTo>
                  <a:pt x="217" y="148"/>
                </a:lnTo>
                <a:lnTo>
                  <a:pt x="213" y="152"/>
                </a:lnTo>
                <a:lnTo>
                  <a:pt x="207" y="154"/>
                </a:lnTo>
                <a:lnTo>
                  <a:pt x="203" y="156"/>
                </a:lnTo>
                <a:lnTo>
                  <a:pt x="201" y="158"/>
                </a:lnTo>
                <a:lnTo>
                  <a:pt x="200" y="160"/>
                </a:lnTo>
                <a:lnTo>
                  <a:pt x="193" y="161"/>
                </a:lnTo>
                <a:lnTo>
                  <a:pt x="188" y="163"/>
                </a:lnTo>
                <a:lnTo>
                  <a:pt x="181" y="166"/>
                </a:lnTo>
                <a:lnTo>
                  <a:pt x="175" y="170"/>
                </a:lnTo>
                <a:lnTo>
                  <a:pt x="168" y="174"/>
                </a:lnTo>
                <a:lnTo>
                  <a:pt x="164" y="178"/>
                </a:lnTo>
                <a:lnTo>
                  <a:pt x="160" y="181"/>
                </a:lnTo>
                <a:lnTo>
                  <a:pt x="159" y="184"/>
                </a:lnTo>
                <a:lnTo>
                  <a:pt x="160" y="191"/>
                </a:lnTo>
                <a:lnTo>
                  <a:pt x="164" y="197"/>
                </a:lnTo>
                <a:lnTo>
                  <a:pt x="168" y="203"/>
                </a:lnTo>
                <a:lnTo>
                  <a:pt x="173" y="207"/>
                </a:lnTo>
                <a:lnTo>
                  <a:pt x="179" y="211"/>
                </a:lnTo>
                <a:lnTo>
                  <a:pt x="184" y="213"/>
                </a:lnTo>
                <a:lnTo>
                  <a:pt x="189" y="215"/>
                </a:lnTo>
                <a:lnTo>
                  <a:pt x="192" y="215"/>
                </a:lnTo>
                <a:lnTo>
                  <a:pt x="204" y="221"/>
                </a:lnTo>
                <a:lnTo>
                  <a:pt x="214" y="227"/>
                </a:lnTo>
                <a:lnTo>
                  <a:pt x="223" y="234"/>
                </a:lnTo>
                <a:lnTo>
                  <a:pt x="231" y="241"/>
                </a:lnTo>
                <a:lnTo>
                  <a:pt x="245" y="259"/>
                </a:lnTo>
                <a:lnTo>
                  <a:pt x="259" y="277"/>
                </a:lnTo>
                <a:lnTo>
                  <a:pt x="266" y="283"/>
                </a:lnTo>
                <a:lnTo>
                  <a:pt x="251" y="285"/>
                </a:lnTo>
                <a:lnTo>
                  <a:pt x="239" y="286"/>
                </a:lnTo>
                <a:lnTo>
                  <a:pt x="228" y="288"/>
                </a:lnTo>
                <a:lnTo>
                  <a:pt x="220" y="291"/>
                </a:lnTo>
                <a:lnTo>
                  <a:pt x="215" y="293"/>
                </a:lnTo>
                <a:lnTo>
                  <a:pt x="211" y="295"/>
                </a:lnTo>
                <a:lnTo>
                  <a:pt x="207" y="298"/>
                </a:lnTo>
                <a:lnTo>
                  <a:pt x="204" y="302"/>
                </a:lnTo>
                <a:lnTo>
                  <a:pt x="201" y="306"/>
                </a:lnTo>
                <a:lnTo>
                  <a:pt x="198" y="312"/>
                </a:lnTo>
                <a:lnTo>
                  <a:pt x="195" y="319"/>
                </a:lnTo>
                <a:lnTo>
                  <a:pt x="192" y="326"/>
                </a:lnTo>
                <a:lnTo>
                  <a:pt x="189" y="326"/>
                </a:lnTo>
                <a:lnTo>
                  <a:pt x="179" y="325"/>
                </a:lnTo>
                <a:lnTo>
                  <a:pt x="175" y="323"/>
                </a:lnTo>
                <a:lnTo>
                  <a:pt x="170" y="321"/>
                </a:lnTo>
                <a:lnTo>
                  <a:pt x="168" y="320"/>
                </a:lnTo>
                <a:lnTo>
                  <a:pt x="167" y="318"/>
                </a:lnTo>
                <a:lnTo>
                  <a:pt x="167" y="316"/>
                </a:lnTo>
                <a:lnTo>
                  <a:pt x="166" y="314"/>
                </a:lnTo>
                <a:lnTo>
                  <a:pt x="159" y="314"/>
                </a:lnTo>
                <a:lnTo>
                  <a:pt x="154" y="310"/>
                </a:lnTo>
                <a:lnTo>
                  <a:pt x="148" y="308"/>
                </a:lnTo>
                <a:lnTo>
                  <a:pt x="144" y="304"/>
                </a:lnTo>
                <a:lnTo>
                  <a:pt x="139" y="301"/>
                </a:lnTo>
                <a:lnTo>
                  <a:pt x="135" y="298"/>
                </a:lnTo>
                <a:lnTo>
                  <a:pt x="131" y="296"/>
                </a:lnTo>
                <a:lnTo>
                  <a:pt x="126" y="295"/>
                </a:lnTo>
                <a:lnTo>
                  <a:pt x="120" y="295"/>
                </a:lnTo>
                <a:lnTo>
                  <a:pt x="109" y="293"/>
                </a:lnTo>
                <a:lnTo>
                  <a:pt x="98" y="290"/>
                </a:lnTo>
                <a:lnTo>
                  <a:pt x="84" y="287"/>
                </a:lnTo>
                <a:lnTo>
                  <a:pt x="72" y="282"/>
                </a:lnTo>
                <a:lnTo>
                  <a:pt x="63" y="277"/>
                </a:lnTo>
                <a:lnTo>
                  <a:pt x="58" y="274"/>
                </a:lnTo>
                <a:lnTo>
                  <a:pt x="56" y="271"/>
                </a:lnTo>
                <a:lnTo>
                  <a:pt x="54" y="268"/>
                </a:lnTo>
                <a:lnTo>
                  <a:pt x="53" y="265"/>
                </a:lnTo>
                <a:lnTo>
                  <a:pt x="54" y="261"/>
                </a:lnTo>
                <a:lnTo>
                  <a:pt x="55" y="256"/>
                </a:lnTo>
                <a:lnTo>
                  <a:pt x="58" y="252"/>
                </a:lnTo>
                <a:lnTo>
                  <a:pt x="61" y="249"/>
                </a:lnTo>
                <a:lnTo>
                  <a:pt x="70" y="244"/>
                </a:lnTo>
                <a:lnTo>
                  <a:pt x="80" y="240"/>
                </a:lnTo>
                <a:lnTo>
                  <a:pt x="68" y="230"/>
                </a:lnTo>
                <a:lnTo>
                  <a:pt x="59" y="221"/>
                </a:lnTo>
                <a:lnTo>
                  <a:pt x="50" y="211"/>
                </a:lnTo>
                <a:lnTo>
                  <a:pt x="43" y="203"/>
                </a:lnTo>
                <a:lnTo>
                  <a:pt x="34" y="194"/>
                </a:lnTo>
                <a:lnTo>
                  <a:pt x="24" y="187"/>
                </a:lnTo>
                <a:lnTo>
                  <a:pt x="20" y="184"/>
                </a:lnTo>
                <a:lnTo>
                  <a:pt x="13" y="182"/>
                </a:lnTo>
                <a:lnTo>
                  <a:pt x="7" y="180"/>
                </a:lnTo>
                <a:lnTo>
                  <a:pt x="0" y="178"/>
                </a:lnTo>
                <a:lnTo>
                  <a:pt x="4" y="171"/>
                </a:lnTo>
                <a:lnTo>
                  <a:pt x="9" y="164"/>
                </a:lnTo>
                <a:lnTo>
                  <a:pt x="13" y="158"/>
                </a:lnTo>
                <a:lnTo>
                  <a:pt x="19" y="152"/>
                </a:lnTo>
                <a:lnTo>
                  <a:pt x="31" y="141"/>
                </a:lnTo>
                <a:lnTo>
                  <a:pt x="43" y="133"/>
                </a:lnTo>
                <a:lnTo>
                  <a:pt x="54" y="124"/>
                </a:lnTo>
                <a:lnTo>
                  <a:pt x="65" y="115"/>
                </a:lnTo>
                <a:lnTo>
                  <a:pt x="69" y="110"/>
                </a:lnTo>
                <a:lnTo>
                  <a:pt x="73" y="105"/>
                </a:lnTo>
                <a:lnTo>
                  <a:pt x="77" y="99"/>
                </a:lnTo>
                <a:lnTo>
                  <a:pt x="80" y="92"/>
                </a:lnTo>
                <a:lnTo>
                  <a:pt x="88" y="92"/>
                </a:lnTo>
                <a:lnTo>
                  <a:pt x="95" y="90"/>
                </a:lnTo>
                <a:lnTo>
                  <a:pt x="103" y="89"/>
                </a:lnTo>
                <a:lnTo>
                  <a:pt x="110" y="88"/>
                </a:lnTo>
                <a:lnTo>
                  <a:pt x="123" y="83"/>
                </a:lnTo>
                <a:lnTo>
                  <a:pt x="134" y="77"/>
                </a:lnTo>
                <a:lnTo>
                  <a:pt x="144" y="70"/>
                </a:lnTo>
                <a:lnTo>
                  <a:pt x="153" y="63"/>
                </a:lnTo>
                <a:lnTo>
                  <a:pt x="160" y="55"/>
                </a:lnTo>
                <a:lnTo>
                  <a:pt x="168" y="46"/>
                </a:lnTo>
                <a:lnTo>
                  <a:pt x="176" y="38"/>
                </a:lnTo>
                <a:lnTo>
                  <a:pt x="182" y="28"/>
                </a:lnTo>
                <a:lnTo>
                  <a:pt x="191" y="21"/>
                </a:lnTo>
                <a:lnTo>
                  <a:pt x="199" y="14"/>
                </a:lnTo>
                <a:lnTo>
                  <a:pt x="209" y="8"/>
                </a:lnTo>
                <a:lnTo>
                  <a:pt x="220" y="4"/>
                </a:lnTo>
                <a:lnTo>
                  <a:pt x="225" y="2"/>
                </a:lnTo>
                <a:lnTo>
                  <a:pt x="232" y="1"/>
                </a:lnTo>
                <a:lnTo>
                  <a:pt x="238" y="0"/>
                </a:lnTo>
                <a:lnTo>
                  <a:pt x="24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321" name="Freeform 273"/>
          <p:cNvSpPr>
            <a:spLocks/>
          </p:cNvSpPr>
          <p:nvPr>
            <p:custDataLst>
              <p:tags r:id="rId200"/>
            </p:custDataLst>
          </p:nvPr>
        </p:nvSpPr>
        <p:spPr bwMode="auto">
          <a:xfrm>
            <a:off x="5951545" y="2028834"/>
            <a:ext cx="206375" cy="92869"/>
          </a:xfrm>
          <a:custGeom>
            <a:avLst/>
            <a:gdLst/>
            <a:ahLst/>
            <a:cxnLst>
              <a:cxn ang="0">
                <a:pos x="86" y="0"/>
              </a:cxn>
              <a:cxn ang="0">
                <a:pos x="92" y="7"/>
              </a:cxn>
              <a:cxn ang="0">
                <a:pos x="102" y="13"/>
              </a:cxn>
              <a:cxn ang="0">
                <a:pos x="125" y="23"/>
              </a:cxn>
              <a:cxn ang="0">
                <a:pos x="159" y="37"/>
              </a:cxn>
              <a:cxn ang="0">
                <a:pos x="223" y="77"/>
              </a:cxn>
              <a:cxn ang="0">
                <a:pos x="253" y="97"/>
              </a:cxn>
              <a:cxn ang="0">
                <a:pos x="283" y="113"/>
              </a:cxn>
              <a:cxn ang="0">
                <a:pos x="316" y="127"/>
              </a:cxn>
              <a:cxn ang="0">
                <a:pos x="355" y="139"/>
              </a:cxn>
              <a:cxn ang="0">
                <a:pos x="399" y="146"/>
              </a:cxn>
              <a:cxn ang="0">
                <a:pos x="451" y="148"/>
              </a:cxn>
              <a:cxn ang="0">
                <a:pos x="452" y="187"/>
              </a:cxn>
              <a:cxn ang="0">
                <a:pos x="459" y="211"/>
              </a:cxn>
              <a:cxn ang="0">
                <a:pos x="467" y="227"/>
              </a:cxn>
              <a:cxn ang="0">
                <a:pos x="467" y="236"/>
              </a:cxn>
              <a:cxn ang="0">
                <a:pos x="451" y="236"/>
              </a:cxn>
              <a:cxn ang="0">
                <a:pos x="416" y="231"/>
              </a:cxn>
              <a:cxn ang="0">
                <a:pos x="362" y="219"/>
              </a:cxn>
              <a:cxn ang="0">
                <a:pos x="315" y="207"/>
              </a:cxn>
              <a:cxn ang="0">
                <a:pos x="294" y="203"/>
              </a:cxn>
              <a:cxn ang="0">
                <a:pos x="287" y="199"/>
              </a:cxn>
              <a:cxn ang="0">
                <a:pos x="277" y="190"/>
              </a:cxn>
              <a:cxn ang="0">
                <a:pos x="267" y="178"/>
              </a:cxn>
              <a:cxn ang="0">
                <a:pos x="255" y="166"/>
              </a:cxn>
              <a:cxn ang="0">
                <a:pos x="240" y="159"/>
              </a:cxn>
              <a:cxn ang="0">
                <a:pos x="227" y="159"/>
              </a:cxn>
              <a:cxn ang="0">
                <a:pos x="205" y="163"/>
              </a:cxn>
              <a:cxn ang="0">
                <a:pos x="183" y="167"/>
              </a:cxn>
              <a:cxn ang="0">
                <a:pos x="169" y="168"/>
              </a:cxn>
              <a:cxn ang="0">
                <a:pos x="158" y="164"/>
              </a:cxn>
              <a:cxn ang="0">
                <a:pos x="148" y="155"/>
              </a:cxn>
              <a:cxn ang="0">
                <a:pos x="139" y="148"/>
              </a:cxn>
              <a:cxn ang="0">
                <a:pos x="122" y="145"/>
              </a:cxn>
              <a:cxn ang="0">
                <a:pos x="92" y="135"/>
              </a:cxn>
              <a:cxn ang="0">
                <a:pos x="48" y="117"/>
              </a:cxn>
              <a:cxn ang="0">
                <a:pos x="12" y="96"/>
              </a:cxn>
              <a:cxn ang="0">
                <a:pos x="7" y="0"/>
              </a:cxn>
            </a:cxnLst>
            <a:rect l="0" t="0" r="r" b="b"/>
            <a:pathLst>
              <a:path w="471" h="237">
                <a:moveTo>
                  <a:pt x="7" y="0"/>
                </a:moveTo>
                <a:lnTo>
                  <a:pt x="86" y="0"/>
                </a:lnTo>
                <a:lnTo>
                  <a:pt x="89" y="4"/>
                </a:lnTo>
                <a:lnTo>
                  <a:pt x="92" y="7"/>
                </a:lnTo>
                <a:lnTo>
                  <a:pt x="97" y="10"/>
                </a:lnTo>
                <a:lnTo>
                  <a:pt x="102" y="13"/>
                </a:lnTo>
                <a:lnTo>
                  <a:pt x="113" y="18"/>
                </a:lnTo>
                <a:lnTo>
                  <a:pt x="125" y="23"/>
                </a:lnTo>
                <a:lnTo>
                  <a:pt x="147" y="32"/>
                </a:lnTo>
                <a:lnTo>
                  <a:pt x="159" y="37"/>
                </a:lnTo>
                <a:lnTo>
                  <a:pt x="192" y="58"/>
                </a:lnTo>
                <a:lnTo>
                  <a:pt x="223" y="77"/>
                </a:lnTo>
                <a:lnTo>
                  <a:pt x="237" y="88"/>
                </a:lnTo>
                <a:lnTo>
                  <a:pt x="253" y="97"/>
                </a:lnTo>
                <a:lnTo>
                  <a:pt x="267" y="105"/>
                </a:lnTo>
                <a:lnTo>
                  <a:pt x="283" y="113"/>
                </a:lnTo>
                <a:lnTo>
                  <a:pt x="299" y="121"/>
                </a:lnTo>
                <a:lnTo>
                  <a:pt x="316" y="127"/>
                </a:lnTo>
                <a:lnTo>
                  <a:pt x="335" y="133"/>
                </a:lnTo>
                <a:lnTo>
                  <a:pt x="355" y="139"/>
                </a:lnTo>
                <a:lnTo>
                  <a:pt x="376" y="143"/>
                </a:lnTo>
                <a:lnTo>
                  <a:pt x="399" y="146"/>
                </a:lnTo>
                <a:lnTo>
                  <a:pt x="424" y="148"/>
                </a:lnTo>
                <a:lnTo>
                  <a:pt x="451" y="148"/>
                </a:lnTo>
                <a:lnTo>
                  <a:pt x="451" y="179"/>
                </a:lnTo>
                <a:lnTo>
                  <a:pt x="452" y="187"/>
                </a:lnTo>
                <a:lnTo>
                  <a:pt x="457" y="202"/>
                </a:lnTo>
                <a:lnTo>
                  <a:pt x="459" y="211"/>
                </a:lnTo>
                <a:lnTo>
                  <a:pt x="462" y="219"/>
                </a:lnTo>
                <a:lnTo>
                  <a:pt x="467" y="227"/>
                </a:lnTo>
                <a:lnTo>
                  <a:pt x="471" y="234"/>
                </a:lnTo>
                <a:lnTo>
                  <a:pt x="467" y="236"/>
                </a:lnTo>
                <a:lnTo>
                  <a:pt x="459" y="237"/>
                </a:lnTo>
                <a:lnTo>
                  <a:pt x="451" y="236"/>
                </a:lnTo>
                <a:lnTo>
                  <a:pt x="440" y="235"/>
                </a:lnTo>
                <a:lnTo>
                  <a:pt x="416" y="231"/>
                </a:lnTo>
                <a:lnTo>
                  <a:pt x="390" y="226"/>
                </a:lnTo>
                <a:lnTo>
                  <a:pt x="362" y="219"/>
                </a:lnTo>
                <a:lnTo>
                  <a:pt x="337" y="213"/>
                </a:lnTo>
                <a:lnTo>
                  <a:pt x="315" y="207"/>
                </a:lnTo>
                <a:lnTo>
                  <a:pt x="299" y="204"/>
                </a:lnTo>
                <a:lnTo>
                  <a:pt x="294" y="203"/>
                </a:lnTo>
                <a:lnTo>
                  <a:pt x="290" y="201"/>
                </a:lnTo>
                <a:lnTo>
                  <a:pt x="287" y="199"/>
                </a:lnTo>
                <a:lnTo>
                  <a:pt x="283" y="196"/>
                </a:lnTo>
                <a:lnTo>
                  <a:pt x="277" y="190"/>
                </a:lnTo>
                <a:lnTo>
                  <a:pt x="272" y="184"/>
                </a:lnTo>
                <a:lnTo>
                  <a:pt x="267" y="178"/>
                </a:lnTo>
                <a:lnTo>
                  <a:pt x="261" y="171"/>
                </a:lnTo>
                <a:lnTo>
                  <a:pt x="255" y="166"/>
                </a:lnTo>
                <a:lnTo>
                  <a:pt x="246" y="160"/>
                </a:lnTo>
                <a:lnTo>
                  <a:pt x="240" y="159"/>
                </a:lnTo>
                <a:lnTo>
                  <a:pt x="234" y="158"/>
                </a:lnTo>
                <a:lnTo>
                  <a:pt x="227" y="159"/>
                </a:lnTo>
                <a:lnTo>
                  <a:pt x="221" y="159"/>
                </a:lnTo>
                <a:lnTo>
                  <a:pt x="205" y="163"/>
                </a:lnTo>
                <a:lnTo>
                  <a:pt x="191" y="166"/>
                </a:lnTo>
                <a:lnTo>
                  <a:pt x="183" y="167"/>
                </a:lnTo>
                <a:lnTo>
                  <a:pt x="176" y="168"/>
                </a:lnTo>
                <a:lnTo>
                  <a:pt x="169" y="168"/>
                </a:lnTo>
                <a:lnTo>
                  <a:pt x="164" y="166"/>
                </a:lnTo>
                <a:lnTo>
                  <a:pt x="158" y="164"/>
                </a:lnTo>
                <a:lnTo>
                  <a:pt x="153" y="161"/>
                </a:lnTo>
                <a:lnTo>
                  <a:pt x="148" y="155"/>
                </a:lnTo>
                <a:lnTo>
                  <a:pt x="146" y="148"/>
                </a:lnTo>
                <a:lnTo>
                  <a:pt x="139" y="148"/>
                </a:lnTo>
                <a:lnTo>
                  <a:pt x="131" y="147"/>
                </a:lnTo>
                <a:lnTo>
                  <a:pt x="122" y="145"/>
                </a:lnTo>
                <a:lnTo>
                  <a:pt x="113" y="142"/>
                </a:lnTo>
                <a:lnTo>
                  <a:pt x="92" y="135"/>
                </a:lnTo>
                <a:lnTo>
                  <a:pt x="70" y="126"/>
                </a:lnTo>
                <a:lnTo>
                  <a:pt x="48" y="117"/>
                </a:lnTo>
                <a:lnTo>
                  <a:pt x="29" y="107"/>
                </a:lnTo>
                <a:lnTo>
                  <a:pt x="12" y="96"/>
                </a:lnTo>
                <a:lnTo>
                  <a:pt x="0" y="87"/>
                </a:lnTo>
                <a:lnTo>
                  <a:pt x="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322" name="Freeform 274"/>
          <p:cNvSpPr>
            <a:spLocks/>
          </p:cNvSpPr>
          <p:nvPr>
            <p:custDataLst>
              <p:tags r:id="rId201"/>
            </p:custDataLst>
          </p:nvPr>
        </p:nvSpPr>
        <p:spPr bwMode="auto">
          <a:xfrm>
            <a:off x="6167440" y="2070507"/>
            <a:ext cx="73025" cy="48815"/>
          </a:xfrm>
          <a:custGeom>
            <a:avLst/>
            <a:gdLst/>
            <a:ahLst/>
            <a:cxnLst>
              <a:cxn ang="0">
                <a:pos x="167" y="43"/>
              </a:cxn>
              <a:cxn ang="0">
                <a:pos x="164" y="54"/>
              </a:cxn>
              <a:cxn ang="0">
                <a:pos x="161" y="66"/>
              </a:cxn>
              <a:cxn ang="0">
                <a:pos x="155" y="79"/>
              </a:cxn>
              <a:cxn ang="0">
                <a:pos x="150" y="93"/>
              </a:cxn>
              <a:cxn ang="0">
                <a:pos x="146" y="99"/>
              </a:cxn>
              <a:cxn ang="0">
                <a:pos x="142" y="105"/>
              </a:cxn>
              <a:cxn ang="0">
                <a:pos x="138" y="110"/>
              </a:cxn>
              <a:cxn ang="0">
                <a:pos x="132" y="114"/>
              </a:cxn>
              <a:cxn ang="0">
                <a:pos x="127" y="118"/>
              </a:cxn>
              <a:cxn ang="0">
                <a:pos x="121" y="121"/>
              </a:cxn>
              <a:cxn ang="0">
                <a:pos x="115" y="122"/>
              </a:cxn>
              <a:cxn ang="0">
                <a:pos x="107" y="123"/>
              </a:cxn>
              <a:cxn ang="0">
                <a:pos x="100" y="122"/>
              </a:cxn>
              <a:cxn ang="0">
                <a:pos x="92" y="119"/>
              </a:cxn>
              <a:cxn ang="0">
                <a:pos x="87" y="116"/>
              </a:cxn>
              <a:cxn ang="0">
                <a:pos x="84" y="113"/>
              </a:cxn>
              <a:cxn ang="0">
                <a:pos x="82" y="109"/>
              </a:cxn>
              <a:cxn ang="0">
                <a:pos x="81" y="105"/>
              </a:cxn>
              <a:cxn ang="0">
                <a:pos x="71" y="104"/>
              </a:cxn>
              <a:cxn ang="0">
                <a:pos x="61" y="103"/>
              </a:cxn>
              <a:cxn ang="0">
                <a:pos x="51" y="101"/>
              </a:cxn>
              <a:cxn ang="0">
                <a:pos x="41" y="98"/>
              </a:cxn>
              <a:cxn ang="0">
                <a:pos x="21" y="92"/>
              </a:cxn>
              <a:cxn ang="0">
                <a:pos x="0" y="86"/>
              </a:cxn>
              <a:cxn ang="0">
                <a:pos x="2" y="77"/>
              </a:cxn>
              <a:cxn ang="0">
                <a:pos x="5" y="67"/>
              </a:cxn>
              <a:cxn ang="0">
                <a:pos x="9" y="56"/>
              </a:cxn>
              <a:cxn ang="0">
                <a:pos x="15" y="43"/>
              </a:cxn>
              <a:cxn ang="0">
                <a:pos x="20" y="43"/>
              </a:cxn>
              <a:cxn ang="0">
                <a:pos x="26" y="42"/>
              </a:cxn>
              <a:cxn ang="0">
                <a:pos x="30" y="41"/>
              </a:cxn>
              <a:cxn ang="0">
                <a:pos x="33" y="38"/>
              </a:cxn>
              <a:cxn ang="0">
                <a:pos x="40" y="33"/>
              </a:cxn>
              <a:cxn ang="0">
                <a:pos x="45" y="26"/>
              </a:cxn>
              <a:cxn ang="0">
                <a:pos x="52" y="12"/>
              </a:cxn>
              <a:cxn ang="0">
                <a:pos x="61" y="0"/>
              </a:cxn>
              <a:cxn ang="0">
                <a:pos x="64" y="4"/>
              </a:cxn>
              <a:cxn ang="0">
                <a:pos x="67" y="7"/>
              </a:cxn>
              <a:cxn ang="0">
                <a:pos x="73" y="11"/>
              </a:cxn>
              <a:cxn ang="0">
                <a:pos x="78" y="14"/>
              </a:cxn>
              <a:cxn ang="0">
                <a:pos x="92" y="21"/>
              </a:cxn>
              <a:cxn ang="0">
                <a:pos x="107" y="28"/>
              </a:cxn>
              <a:cxn ang="0">
                <a:pos x="122" y="35"/>
              </a:cxn>
              <a:cxn ang="0">
                <a:pos x="139" y="39"/>
              </a:cxn>
              <a:cxn ang="0">
                <a:pos x="153" y="42"/>
              </a:cxn>
              <a:cxn ang="0">
                <a:pos x="167" y="43"/>
              </a:cxn>
            </a:cxnLst>
            <a:rect l="0" t="0" r="r" b="b"/>
            <a:pathLst>
              <a:path w="167" h="123">
                <a:moveTo>
                  <a:pt x="167" y="43"/>
                </a:moveTo>
                <a:lnTo>
                  <a:pt x="164" y="54"/>
                </a:lnTo>
                <a:lnTo>
                  <a:pt x="161" y="66"/>
                </a:lnTo>
                <a:lnTo>
                  <a:pt x="155" y="79"/>
                </a:lnTo>
                <a:lnTo>
                  <a:pt x="150" y="93"/>
                </a:lnTo>
                <a:lnTo>
                  <a:pt x="146" y="99"/>
                </a:lnTo>
                <a:lnTo>
                  <a:pt x="142" y="105"/>
                </a:lnTo>
                <a:lnTo>
                  <a:pt x="138" y="110"/>
                </a:lnTo>
                <a:lnTo>
                  <a:pt x="132" y="114"/>
                </a:lnTo>
                <a:lnTo>
                  <a:pt x="127" y="118"/>
                </a:lnTo>
                <a:lnTo>
                  <a:pt x="121" y="121"/>
                </a:lnTo>
                <a:lnTo>
                  <a:pt x="115" y="122"/>
                </a:lnTo>
                <a:lnTo>
                  <a:pt x="107" y="123"/>
                </a:lnTo>
                <a:lnTo>
                  <a:pt x="100" y="122"/>
                </a:lnTo>
                <a:lnTo>
                  <a:pt x="92" y="119"/>
                </a:lnTo>
                <a:lnTo>
                  <a:pt x="87" y="116"/>
                </a:lnTo>
                <a:lnTo>
                  <a:pt x="84" y="113"/>
                </a:lnTo>
                <a:lnTo>
                  <a:pt x="82" y="109"/>
                </a:lnTo>
                <a:lnTo>
                  <a:pt x="81" y="105"/>
                </a:lnTo>
                <a:lnTo>
                  <a:pt x="71" y="104"/>
                </a:lnTo>
                <a:lnTo>
                  <a:pt x="61" y="103"/>
                </a:lnTo>
                <a:lnTo>
                  <a:pt x="51" y="101"/>
                </a:lnTo>
                <a:lnTo>
                  <a:pt x="41" y="98"/>
                </a:lnTo>
                <a:lnTo>
                  <a:pt x="21" y="92"/>
                </a:lnTo>
                <a:lnTo>
                  <a:pt x="0" y="86"/>
                </a:lnTo>
                <a:lnTo>
                  <a:pt x="2" y="77"/>
                </a:lnTo>
                <a:lnTo>
                  <a:pt x="5" y="67"/>
                </a:lnTo>
                <a:lnTo>
                  <a:pt x="9" y="56"/>
                </a:lnTo>
                <a:lnTo>
                  <a:pt x="15" y="43"/>
                </a:lnTo>
                <a:lnTo>
                  <a:pt x="20" y="43"/>
                </a:lnTo>
                <a:lnTo>
                  <a:pt x="26" y="42"/>
                </a:lnTo>
                <a:lnTo>
                  <a:pt x="30" y="41"/>
                </a:lnTo>
                <a:lnTo>
                  <a:pt x="33" y="38"/>
                </a:lnTo>
                <a:lnTo>
                  <a:pt x="40" y="33"/>
                </a:lnTo>
                <a:lnTo>
                  <a:pt x="45" y="26"/>
                </a:lnTo>
                <a:lnTo>
                  <a:pt x="52" y="12"/>
                </a:lnTo>
                <a:lnTo>
                  <a:pt x="61" y="0"/>
                </a:lnTo>
                <a:lnTo>
                  <a:pt x="64" y="4"/>
                </a:lnTo>
                <a:lnTo>
                  <a:pt x="67" y="7"/>
                </a:lnTo>
                <a:lnTo>
                  <a:pt x="73" y="11"/>
                </a:lnTo>
                <a:lnTo>
                  <a:pt x="78" y="14"/>
                </a:lnTo>
                <a:lnTo>
                  <a:pt x="92" y="21"/>
                </a:lnTo>
                <a:lnTo>
                  <a:pt x="107" y="28"/>
                </a:lnTo>
                <a:lnTo>
                  <a:pt x="122" y="35"/>
                </a:lnTo>
                <a:lnTo>
                  <a:pt x="139" y="39"/>
                </a:lnTo>
                <a:lnTo>
                  <a:pt x="153" y="42"/>
                </a:lnTo>
                <a:lnTo>
                  <a:pt x="167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323" name="Freeform 275"/>
          <p:cNvSpPr>
            <a:spLocks/>
          </p:cNvSpPr>
          <p:nvPr>
            <p:custDataLst>
              <p:tags r:id="rId202"/>
            </p:custDataLst>
          </p:nvPr>
        </p:nvSpPr>
        <p:spPr bwMode="auto">
          <a:xfrm>
            <a:off x="6157913" y="2124075"/>
            <a:ext cx="133350" cy="125016"/>
          </a:xfrm>
          <a:custGeom>
            <a:avLst/>
            <a:gdLst/>
            <a:ahLst/>
            <a:cxnLst>
              <a:cxn ang="0">
                <a:pos x="259" y="160"/>
              </a:cxn>
              <a:cxn ang="0">
                <a:pos x="252" y="173"/>
              </a:cxn>
              <a:cxn ang="0">
                <a:pos x="243" y="182"/>
              </a:cxn>
              <a:cxn ang="0">
                <a:pos x="233" y="186"/>
              </a:cxn>
              <a:cxn ang="0">
                <a:pos x="223" y="184"/>
              </a:cxn>
              <a:cxn ang="0">
                <a:pos x="214" y="178"/>
              </a:cxn>
              <a:cxn ang="0">
                <a:pos x="209" y="169"/>
              </a:cxn>
              <a:cxn ang="0">
                <a:pos x="206" y="160"/>
              </a:cxn>
              <a:cxn ang="0">
                <a:pos x="209" y="148"/>
              </a:cxn>
              <a:cxn ang="0">
                <a:pos x="213" y="136"/>
              </a:cxn>
              <a:cxn ang="0">
                <a:pos x="230" y="114"/>
              </a:cxn>
              <a:cxn ang="0">
                <a:pos x="246" y="93"/>
              </a:cxn>
              <a:cxn ang="0">
                <a:pos x="250" y="82"/>
              </a:cxn>
              <a:cxn ang="0">
                <a:pos x="253" y="69"/>
              </a:cxn>
              <a:cxn ang="0">
                <a:pos x="129" y="68"/>
              </a:cxn>
              <a:cxn ang="0">
                <a:pos x="119" y="59"/>
              </a:cxn>
              <a:cxn ang="0">
                <a:pos x="112" y="45"/>
              </a:cxn>
              <a:cxn ang="0">
                <a:pos x="108" y="28"/>
              </a:cxn>
              <a:cxn ang="0">
                <a:pos x="101" y="19"/>
              </a:cxn>
              <a:cxn ang="0">
                <a:pos x="90" y="17"/>
              </a:cxn>
              <a:cxn ang="0">
                <a:pos x="80" y="12"/>
              </a:cxn>
              <a:cxn ang="0">
                <a:pos x="75" y="4"/>
              </a:cxn>
              <a:cxn ang="0">
                <a:pos x="65" y="0"/>
              </a:cxn>
              <a:cxn ang="0">
                <a:pos x="49" y="0"/>
              </a:cxn>
              <a:cxn ang="0">
                <a:pos x="34" y="1"/>
              </a:cxn>
              <a:cxn ang="0">
                <a:pos x="22" y="5"/>
              </a:cxn>
              <a:cxn ang="0">
                <a:pos x="10" y="14"/>
              </a:cxn>
              <a:cxn ang="0">
                <a:pos x="1" y="25"/>
              </a:cxn>
              <a:cxn ang="0">
                <a:pos x="2" y="35"/>
              </a:cxn>
              <a:cxn ang="0">
                <a:pos x="15" y="46"/>
              </a:cxn>
              <a:cxn ang="0">
                <a:pos x="35" y="58"/>
              </a:cxn>
              <a:cxn ang="0">
                <a:pos x="54" y="67"/>
              </a:cxn>
              <a:cxn ang="0">
                <a:pos x="47" y="79"/>
              </a:cxn>
              <a:cxn ang="0">
                <a:pos x="25" y="97"/>
              </a:cxn>
              <a:cxn ang="0">
                <a:pos x="17" y="107"/>
              </a:cxn>
              <a:cxn ang="0">
                <a:pos x="14" y="114"/>
              </a:cxn>
              <a:cxn ang="0">
                <a:pos x="14" y="122"/>
              </a:cxn>
              <a:cxn ang="0">
                <a:pos x="18" y="129"/>
              </a:cxn>
              <a:cxn ang="0">
                <a:pos x="28" y="141"/>
              </a:cxn>
              <a:cxn ang="0">
                <a:pos x="47" y="156"/>
              </a:cxn>
              <a:cxn ang="0">
                <a:pos x="64" y="164"/>
              </a:cxn>
              <a:cxn ang="0">
                <a:pos x="75" y="166"/>
              </a:cxn>
              <a:cxn ang="0">
                <a:pos x="107" y="271"/>
              </a:cxn>
              <a:cxn ang="0">
                <a:pos x="108" y="263"/>
              </a:cxn>
              <a:cxn ang="0">
                <a:pos x="112" y="256"/>
              </a:cxn>
              <a:cxn ang="0">
                <a:pos x="127" y="246"/>
              </a:cxn>
              <a:cxn ang="0">
                <a:pos x="148" y="240"/>
              </a:cxn>
              <a:cxn ang="0">
                <a:pos x="174" y="235"/>
              </a:cxn>
              <a:cxn ang="0">
                <a:pos x="174" y="210"/>
              </a:cxn>
              <a:cxn ang="0">
                <a:pos x="183" y="212"/>
              </a:cxn>
              <a:cxn ang="0">
                <a:pos x="193" y="212"/>
              </a:cxn>
              <a:cxn ang="0">
                <a:pos x="213" y="210"/>
              </a:cxn>
              <a:cxn ang="0">
                <a:pos x="232" y="261"/>
              </a:cxn>
              <a:cxn ang="0">
                <a:pos x="259" y="321"/>
              </a:cxn>
              <a:cxn ang="0">
                <a:pos x="272" y="311"/>
              </a:cxn>
              <a:cxn ang="0">
                <a:pos x="282" y="302"/>
              </a:cxn>
              <a:cxn ang="0">
                <a:pos x="295" y="280"/>
              </a:cxn>
              <a:cxn ang="0">
                <a:pos x="306" y="235"/>
              </a:cxn>
            </a:cxnLst>
            <a:rect l="0" t="0" r="r" b="b"/>
            <a:pathLst>
              <a:path w="306" h="321">
                <a:moveTo>
                  <a:pt x="306" y="235"/>
                </a:moveTo>
                <a:lnTo>
                  <a:pt x="259" y="160"/>
                </a:lnTo>
                <a:lnTo>
                  <a:pt x="257" y="164"/>
                </a:lnTo>
                <a:lnTo>
                  <a:pt x="252" y="173"/>
                </a:lnTo>
                <a:lnTo>
                  <a:pt x="247" y="178"/>
                </a:lnTo>
                <a:lnTo>
                  <a:pt x="243" y="182"/>
                </a:lnTo>
                <a:lnTo>
                  <a:pt x="238" y="185"/>
                </a:lnTo>
                <a:lnTo>
                  <a:pt x="233" y="186"/>
                </a:lnTo>
                <a:lnTo>
                  <a:pt x="227" y="185"/>
                </a:lnTo>
                <a:lnTo>
                  <a:pt x="223" y="184"/>
                </a:lnTo>
                <a:lnTo>
                  <a:pt x="219" y="181"/>
                </a:lnTo>
                <a:lnTo>
                  <a:pt x="214" y="178"/>
                </a:lnTo>
                <a:lnTo>
                  <a:pt x="211" y="173"/>
                </a:lnTo>
                <a:lnTo>
                  <a:pt x="209" y="169"/>
                </a:lnTo>
                <a:lnTo>
                  <a:pt x="206" y="165"/>
                </a:lnTo>
                <a:lnTo>
                  <a:pt x="206" y="160"/>
                </a:lnTo>
                <a:lnTo>
                  <a:pt x="206" y="154"/>
                </a:lnTo>
                <a:lnTo>
                  <a:pt x="209" y="148"/>
                </a:lnTo>
                <a:lnTo>
                  <a:pt x="211" y="142"/>
                </a:lnTo>
                <a:lnTo>
                  <a:pt x="213" y="136"/>
                </a:lnTo>
                <a:lnTo>
                  <a:pt x="221" y="125"/>
                </a:lnTo>
                <a:lnTo>
                  <a:pt x="230" y="114"/>
                </a:lnTo>
                <a:lnTo>
                  <a:pt x="238" y="104"/>
                </a:lnTo>
                <a:lnTo>
                  <a:pt x="246" y="93"/>
                </a:lnTo>
                <a:lnTo>
                  <a:pt x="248" y="87"/>
                </a:lnTo>
                <a:lnTo>
                  <a:pt x="250" y="82"/>
                </a:lnTo>
                <a:lnTo>
                  <a:pt x="253" y="75"/>
                </a:lnTo>
                <a:lnTo>
                  <a:pt x="253" y="69"/>
                </a:lnTo>
                <a:lnTo>
                  <a:pt x="133" y="69"/>
                </a:lnTo>
                <a:lnTo>
                  <a:pt x="129" y="68"/>
                </a:lnTo>
                <a:lnTo>
                  <a:pt x="123" y="65"/>
                </a:lnTo>
                <a:lnTo>
                  <a:pt x="119" y="59"/>
                </a:lnTo>
                <a:lnTo>
                  <a:pt x="115" y="53"/>
                </a:lnTo>
                <a:lnTo>
                  <a:pt x="112" y="45"/>
                </a:lnTo>
                <a:lnTo>
                  <a:pt x="109" y="37"/>
                </a:lnTo>
                <a:lnTo>
                  <a:pt x="108" y="28"/>
                </a:lnTo>
                <a:lnTo>
                  <a:pt x="107" y="19"/>
                </a:lnTo>
                <a:lnTo>
                  <a:pt x="101" y="19"/>
                </a:lnTo>
                <a:lnTo>
                  <a:pt x="96" y="18"/>
                </a:lnTo>
                <a:lnTo>
                  <a:pt x="90" y="17"/>
                </a:lnTo>
                <a:lnTo>
                  <a:pt x="85" y="15"/>
                </a:lnTo>
                <a:lnTo>
                  <a:pt x="80" y="12"/>
                </a:lnTo>
                <a:lnTo>
                  <a:pt x="77" y="9"/>
                </a:lnTo>
                <a:lnTo>
                  <a:pt x="75" y="4"/>
                </a:lnTo>
                <a:lnTo>
                  <a:pt x="74" y="0"/>
                </a:lnTo>
                <a:lnTo>
                  <a:pt x="65" y="0"/>
                </a:lnTo>
                <a:lnTo>
                  <a:pt x="57" y="0"/>
                </a:lnTo>
                <a:lnTo>
                  <a:pt x="49" y="0"/>
                </a:lnTo>
                <a:lnTo>
                  <a:pt x="41" y="0"/>
                </a:lnTo>
                <a:lnTo>
                  <a:pt x="34" y="1"/>
                </a:lnTo>
                <a:lnTo>
                  <a:pt x="29" y="2"/>
                </a:lnTo>
                <a:lnTo>
                  <a:pt x="22" y="5"/>
                </a:lnTo>
                <a:lnTo>
                  <a:pt x="15" y="9"/>
                </a:lnTo>
                <a:lnTo>
                  <a:pt x="10" y="14"/>
                </a:lnTo>
                <a:lnTo>
                  <a:pt x="4" y="19"/>
                </a:lnTo>
                <a:lnTo>
                  <a:pt x="1" y="25"/>
                </a:lnTo>
                <a:lnTo>
                  <a:pt x="0" y="31"/>
                </a:lnTo>
                <a:lnTo>
                  <a:pt x="2" y="35"/>
                </a:lnTo>
                <a:lnTo>
                  <a:pt x="8" y="40"/>
                </a:lnTo>
                <a:lnTo>
                  <a:pt x="15" y="46"/>
                </a:lnTo>
                <a:lnTo>
                  <a:pt x="25" y="52"/>
                </a:lnTo>
                <a:lnTo>
                  <a:pt x="35" y="58"/>
                </a:lnTo>
                <a:lnTo>
                  <a:pt x="45" y="63"/>
                </a:lnTo>
                <a:lnTo>
                  <a:pt x="54" y="67"/>
                </a:lnTo>
                <a:lnTo>
                  <a:pt x="60" y="69"/>
                </a:lnTo>
                <a:lnTo>
                  <a:pt x="47" y="79"/>
                </a:lnTo>
                <a:lnTo>
                  <a:pt x="32" y="91"/>
                </a:lnTo>
                <a:lnTo>
                  <a:pt x="25" y="97"/>
                </a:lnTo>
                <a:lnTo>
                  <a:pt x="19" y="104"/>
                </a:lnTo>
                <a:lnTo>
                  <a:pt x="17" y="107"/>
                </a:lnTo>
                <a:lnTo>
                  <a:pt x="15" y="110"/>
                </a:lnTo>
                <a:lnTo>
                  <a:pt x="14" y="114"/>
                </a:lnTo>
                <a:lnTo>
                  <a:pt x="13" y="117"/>
                </a:lnTo>
                <a:lnTo>
                  <a:pt x="14" y="122"/>
                </a:lnTo>
                <a:lnTo>
                  <a:pt x="15" y="125"/>
                </a:lnTo>
                <a:lnTo>
                  <a:pt x="18" y="129"/>
                </a:lnTo>
                <a:lnTo>
                  <a:pt x="20" y="133"/>
                </a:lnTo>
                <a:lnTo>
                  <a:pt x="28" y="141"/>
                </a:lnTo>
                <a:lnTo>
                  <a:pt x="37" y="149"/>
                </a:lnTo>
                <a:lnTo>
                  <a:pt x="47" y="156"/>
                </a:lnTo>
                <a:lnTo>
                  <a:pt x="58" y="162"/>
                </a:lnTo>
                <a:lnTo>
                  <a:pt x="64" y="164"/>
                </a:lnTo>
                <a:lnTo>
                  <a:pt x="69" y="165"/>
                </a:lnTo>
                <a:lnTo>
                  <a:pt x="75" y="166"/>
                </a:lnTo>
                <a:lnTo>
                  <a:pt x="80" y="167"/>
                </a:lnTo>
                <a:lnTo>
                  <a:pt x="107" y="271"/>
                </a:lnTo>
                <a:lnTo>
                  <a:pt x="107" y="267"/>
                </a:lnTo>
                <a:lnTo>
                  <a:pt x="108" y="263"/>
                </a:lnTo>
                <a:lnTo>
                  <a:pt x="110" y="260"/>
                </a:lnTo>
                <a:lnTo>
                  <a:pt x="112" y="256"/>
                </a:lnTo>
                <a:lnTo>
                  <a:pt x="119" y="251"/>
                </a:lnTo>
                <a:lnTo>
                  <a:pt x="127" y="246"/>
                </a:lnTo>
                <a:lnTo>
                  <a:pt x="137" y="243"/>
                </a:lnTo>
                <a:lnTo>
                  <a:pt x="148" y="240"/>
                </a:lnTo>
                <a:lnTo>
                  <a:pt x="160" y="237"/>
                </a:lnTo>
                <a:lnTo>
                  <a:pt x="174" y="235"/>
                </a:lnTo>
                <a:lnTo>
                  <a:pt x="174" y="222"/>
                </a:lnTo>
                <a:lnTo>
                  <a:pt x="174" y="210"/>
                </a:lnTo>
                <a:lnTo>
                  <a:pt x="178" y="212"/>
                </a:lnTo>
                <a:lnTo>
                  <a:pt x="183" y="212"/>
                </a:lnTo>
                <a:lnTo>
                  <a:pt x="188" y="213"/>
                </a:lnTo>
                <a:lnTo>
                  <a:pt x="193" y="212"/>
                </a:lnTo>
                <a:lnTo>
                  <a:pt x="203" y="211"/>
                </a:lnTo>
                <a:lnTo>
                  <a:pt x="213" y="210"/>
                </a:lnTo>
                <a:lnTo>
                  <a:pt x="220" y="233"/>
                </a:lnTo>
                <a:lnTo>
                  <a:pt x="232" y="261"/>
                </a:lnTo>
                <a:lnTo>
                  <a:pt x="245" y="292"/>
                </a:lnTo>
                <a:lnTo>
                  <a:pt x="259" y="321"/>
                </a:lnTo>
                <a:lnTo>
                  <a:pt x="267" y="316"/>
                </a:lnTo>
                <a:lnTo>
                  <a:pt x="272" y="311"/>
                </a:lnTo>
                <a:lnTo>
                  <a:pt x="278" y="307"/>
                </a:lnTo>
                <a:lnTo>
                  <a:pt x="282" y="302"/>
                </a:lnTo>
                <a:lnTo>
                  <a:pt x="290" y="291"/>
                </a:lnTo>
                <a:lnTo>
                  <a:pt x="295" y="280"/>
                </a:lnTo>
                <a:lnTo>
                  <a:pt x="301" y="258"/>
                </a:lnTo>
                <a:lnTo>
                  <a:pt x="306" y="23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324" name="Freeform 276"/>
          <p:cNvSpPr>
            <a:spLocks/>
          </p:cNvSpPr>
          <p:nvPr>
            <p:custDataLst>
              <p:tags r:id="rId203"/>
            </p:custDataLst>
          </p:nvPr>
        </p:nvSpPr>
        <p:spPr bwMode="auto">
          <a:xfrm>
            <a:off x="6475416" y="2210997"/>
            <a:ext cx="201612" cy="202406"/>
          </a:xfrm>
          <a:custGeom>
            <a:avLst/>
            <a:gdLst/>
            <a:ahLst/>
            <a:cxnLst>
              <a:cxn ang="0">
                <a:pos x="94" y="12"/>
              </a:cxn>
              <a:cxn ang="0">
                <a:pos x="67" y="32"/>
              </a:cxn>
              <a:cxn ang="0">
                <a:pos x="40" y="49"/>
              </a:cxn>
              <a:cxn ang="0">
                <a:pos x="27" y="82"/>
              </a:cxn>
              <a:cxn ang="0">
                <a:pos x="8" y="118"/>
              </a:cxn>
              <a:cxn ang="0">
                <a:pos x="7" y="136"/>
              </a:cxn>
              <a:cxn ang="0">
                <a:pos x="30" y="153"/>
              </a:cxn>
              <a:cxn ang="0">
                <a:pos x="50" y="168"/>
              </a:cxn>
              <a:cxn ang="0">
                <a:pos x="62" y="172"/>
              </a:cxn>
              <a:cxn ang="0">
                <a:pos x="75" y="211"/>
              </a:cxn>
              <a:cxn ang="0">
                <a:pos x="84" y="272"/>
              </a:cxn>
              <a:cxn ang="0">
                <a:pos x="94" y="299"/>
              </a:cxn>
              <a:cxn ang="0">
                <a:pos x="104" y="302"/>
              </a:cxn>
              <a:cxn ang="0">
                <a:pos x="112" y="297"/>
              </a:cxn>
              <a:cxn ang="0">
                <a:pos x="128" y="268"/>
              </a:cxn>
              <a:cxn ang="0">
                <a:pos x="145" y="262"/>
              </a:cxn>
              <a:cxn ang="0">
                <a:pos x="160" y="272"/>
              </a:cxn>
              <a:cxn ang="0">
                <a:pos x="173" y="277"/>
              </a:cxn>
              <a:cxn ang="0">
                <a:pos x="183" y="274"/>
              </a:cxn>
              <a:cxn ang="0">
                <a:pos x="192" y="259"/>
              </a:cxn>
              <a:cxn ang="0">
                <a:pos x="203" y="244"/>
              </a:cxn>
              <a:cxn ang="0">
                <a:pos x="212" y="241"/>
              </a:cxn>
              <a:cxn ang="0">
                <a:pos x="241" y="247"/>
              </a:cxn>
              <a:cxn ang="0">
                <a:pos x="259" y="271"/>
              </a:cxn>
              <a:cxn ang="0">
                <a:pos x="308" y="336"/>
              </a:cxn>
              <a:cxn ang="0">
                <a:pos x="341" y="382"/>
              </a:cxn>
              <a:cxn ang="0">
                <a:pos x="358" y="419"/>
              </a:cxn>
              <a:cxn ang="0">
                <a:pos x="366" y="457"/>
              </a:cxn>
              <a:cxn ang="0">
                <a:pos x="359" y="470"/>
              </a:cxn>
              <a:cxn ang="0">
                <a:pos x="339" y="487"/>
              </a:cxn>
              <a:cxn ang="0">
                <a:pos x="363" y="496"/>
              </a:cxn>
              <a:cxn ang="0">
                <a:pos x="392" y="518"/>
              </a:cxn>
              <a:cxn ang="0">
                <a:pos x="401" y="499"/>
              </a:cxn>
              <a:cxn ang="0">
                <a:pos x="413" y="489"/>
              </a:cxn>
              <a:cxn ang="0">
                <a:pos x="444" y="483"/>
              </a:cxn>
              <a:cxn ang="0">
                <a:pos x="468" y="438"/>
              </a:cxn>
              <a:cxn ang="0">
                <a:pos x="449" y="387"/>
              </a:cxn>
              <a:cxn ang="0">
                <a:pos x="421" y="347"/>
              </a:cxn>
              <a:cxn ang="0">
                <a:pos x="345" y="277"/>
              </a:cxn>
              <a:cxn ang="0">
                <a:pos x="279" y="218"/>
              </a:cxn>
              <a:cxn ang="0">
                <a:pos x="224" y="162"/>
              </a:cxn>
              <a:cxn ang="0">
                <a:pos x="179" y="105"/>
              </a:cxn>
              <a:cxn ang="0">
                <a:pos x="127" y="40"/>
              </a:cxn>
              <a:cxn ang="0">
                <a:pos x="115" y="14"/>
              </a:cxn>
            </a:cxnLst>
            <a:rect l="0" t="0" r="r" b="b"/>
            <a:pathLst>
              <a:path w="471" h="518">
                <a:moveTo>
                  <a:pt x="113" y="0"/>
                </a:moveTo>
                <a:lnTo>
                  <a:pt x="104" y="5"/>
                </a:lnTo>
                <a:lnTo>
                  <a:pt x="94" y="12"/>
                </a:lnTo>
                <a:lnTo>
                  <a:pt x="85" y="18"/>
                </a:lnTo>
                <a:lnTo>
                  <a:pt x="76" y="25"/>
                </a:lnTo>
                <a:lnTo>
                  <a:pt x="67" y="32"/>
                </a:lnTo>
                <a:lnTo>
                  <a:pt x="59" y="38"/>
                </a:lnTo>
                <a:lnTo>
                  <a:pt x="50" y="44"/>
                </a:lnTo>
                <a:lnTo>
                  <a:pt x="40" y="49"/>
                </a:lnTo>
                <a:lnTo>
                  <a:pt x="37" y="59"/>
                </a:lnTo>
                <a:lnTo>
                  <a:pt x="32" y="71"/>
                </a:lnTo>
                <a:lnTo>
                  <a:pt x="27" y="82"/>
                </a:lnTo>
                <a:lnTo>
                  <a:pt x="20" y="93"/>
                </a:lnTo>
                <a:lnTo>
                  <a:pt x="14" y="106"/>
                </a:lnTo>
                <a:lnTo>
                  <a:pt x="8" y="118"/>
                </a:lnTo>
                <a:lnTo>
                  <a:pt x="4" y="131"/>
                </a:lnTo>
                <a:lnTo>
                  <a:pt x="0" y="142"/>
                </a:lnTo>
                <a:lnTo>
                  <a:pt x="7" y="136"/>
                </a:lnTo>
                <a:lnTo>
                  <a:pt x="16" y="141"/>
                </a:lnTo>
                <a:lnTo>
                  <a:pt x="23" y="147"/>
                </a:lnTo>
                <a:lnTo>
                  <a:pt x="30" y="153"/>
                </a:lnTo>
                <a:lnTo>
                  <a:pt x="37" y="159"/>
                </a:lnTo>
                <a:lnTo>
                  <a:pt x="43" y="164"/>
                </a:lnTo>
                <a:lnTo>
                  <a:pt x="50" y="168"/>
                </a:lnTo>
                <a:lnTo>
                  <a:pt x="53" y="170"/>
                </a:lnTo>
                <a:lnTo>
                  <a:pt x="57" y="171"/>
                </a:lnTo>
                <a:lnTo>
                  <a:pt x="62" y="172"/>
                </a:lnTo>
                <a:lnTo>
                  <a:pt x="66" y="172"/>
                </a:lnTo>
                <a:lnTo>
                  <a:pt x="71" y="191"/>
                </a:lnTo>
                <a:lnTo>
                  <a:pt x="75" y="211"/>
                </a:lnTo>
                <a:lnTo>
                  <a:pt x="77" y="233"/>
                </a:lnTo>
                <a:lnTo>
                  <a:pt x="80" y="254"/>
                </a:lnTo>
                <a:lnTo>
                  <a:pt x="84" y="272"/>
                </a:lnTo>
                <a:lnTo>
                  <a:pt x="88" y="289"/>
                </a:lnTo>
                <a:lnTo>
                  <a:pt x="90" y="294"/>
                </a:lnTo>
                <a:lnTo>
                  <a:pt x="94" y="299"/>
                </a:lnTo>
                <a:lnTo>
                  <a:pt x="96" y="302"/>
                </a:lnTo>
                <a:lnTo>
                  <a:pt x="100" y="302"/>
                </a:lnTo>
                <a:lnTo>
                  <a:pt x="104" y="302"/>
                </a:lnTo>
                <a:lnTo>
                  <a:pt x="107" y="301"/>
                </a:lnTo>
                <a:lnTo>
                  <a:pt x="110" y="299"/>
                </a:lnTo>
                <a:lnTo>
                  <a:pt x="112" y="297"/>
                </a:lnTo>
                <a:lnTo>
                  <a:pt x="118" y="291"/>
                </a:lnTo>
                <a:lnTo>
                  <a:pt x="121" y="283"/>
                </a:lnTo>
                <a:lnTo>
                  <a:pt x="128" y="268"/>
                </a:lnTo>
                <a:lnTo>
                  <a:pt x="133" y="259"/>
                </a:lnTo>
                <a:lnTo>
                  <a:pt x="140" y="260"/>
                </a:lnTo>
                <a:lnTo>
                  <a:pt x="145" y="262"/>
                </a:lnTo>
                <a:lnTo>
                  <a:pt x="151" y="265"/>
                </a:lnTo>
                <a:lnTo>
                  <a:pt x="155" y="268"/>
                </a:lnTo>
                <a:lnTo>
                  <a:pt x="160" y="272"/>
                </a:lnTo>
                <a:lnTo>
                  <a:pt x="164" y="274"/>
                </a:lnTo>
                <a:lnTo>
                  <a:pt x="168" y="277"/>
                </a:lnTo>
                <a:lnTo>
                  <a:pt x="173" y="277"/>
                </a:lnTo>
                <a:lnTo>
                  <a:pt x="176" y="277"/>
                </a:lnTo>
                <a:lnTo>
                  <a:pt x="179" y="276"/>
                </a:lnTo>
                <a:lnTo>
                  <a:pt x="183" y="274"/>
                </a:lnTo>
                <a:lnTo>
                  <a:pt x="185" y="272"/>
                </a:lnTo>
                <a:lnTo>
                  <a:pt x="189" y="266"/>
                </a:lnTo>
                <a:lnTo>
                  <a:pt x="192" y="259"/>
                </a:lnTo>
                <a:lnTo>
                  <a:pt x="197" y="252"/>
                </a:lnTo>
                <a:lnTo>
                  <a:pt x="201" y="247"/>
                </a:lnTo>
                <a:lnTo>
                  <a:pt x="203" y="244"/>
                </a:lnTo>
                <a:lnTo>
                  <a:pt x="206" y="243"/>
                </a:lnTo>
                <a:lnTo>
                  <a:pt x="209" y="241"/>
                </a:lnTo>
                <a:lnTo>
                  <a:pt x="212" y="241"/>
                </a:lnTo>
                <a:lnTo>
                  <a:pt x="224" y="242"/>
                </a:lnTo>
                <a:lnTo>
                  <a:pt x="233" y="244"/>
                </a:lnTo>
                <a:lnTo>
                  <a:pt x="241" y="247"/>
                </a:lnTo>
                <a:lnTo>
                  <a:pt x="246" y="252"/>
                </a:lnTo>
                <a:lnTo>
                  <a:pt x="254" y="261"/>
                </a:lnTo>
                <a:lnTo>
                  <a:pt x="259" y="271"/>
                </a:lnTo>
                <a:lnTo>
                  <a:pt x="274" y="293"/>
                </a:lnTo>
                <a:lnTo>
                  <a:pt x="290" y="314"/>
                </a:lnTo>
                <a:lnTo>
                  <a:pt x="308" y="336"/>
                </a:lnTo>
                <a:lnTo>
                  <a:pt x="325" y="359"/>
                </a:lnTo>
                <a:lnTo>
                  <a:pt x="333" y="371"/>
                </a:lnTo>
                <a:lnTo>
                  <a:pt x="341" y="382"/>
                </a:lnTo>
                <a:lnTo>
                  <a:pt x="347" y="394"/>
                </a:lnTo>
                <a:lnTo>
                  <a:pt x="354" y="407"/>
                </a:lnTo>
                <a:lnTo>
                  <a:pt x="358" y="419"/>
                </a:lnTo>
                <a:lnTo>
                  <a:pt x="363" y="431"/>
                </a:lnTo>
                <a:lnTo>
                  <a:pt x="365" y="443"/>
                </a:lnTo>
                <a:lnTo>
                  <a:pt x="366" y="457"/>
                </a:lnTo>
                <a:lnTo>
                  <a:pt x="365" y="461"/>
                </a:lnTo>
                <a:lnTo>
                  <a:pt x="363" y="466"/>
                </a:lnTo>
                <a:lnTo>
                  <a:pt x="359" y="470"/>
                </a:lnTo>
                <a:lnTo>
                  <a:pt x="355" y="474"/>
                </a:lnTo>
                <a:lnTo>
                  <a:pt x="346" y="481"/>
                </a:lnTo>
                <a:lnTo>
                  <a:pt x="339" y="487"/>
                </a:lnTo>
                <a:lnTo>
                  <a:pt x="348" y="490"/>
                </a:lnTo>
                <a:lnTo>
                  <a:pt x="356" y="493"/>
                </a:lnTo>
                <a:lnTo>
                  <a:pt x="363" y="496"/>
                </a:lnTo>
                <a:lnTo>
                  <a:pt x="368" y="500"/>
                </a:lnTo>
                <a:lnTo>
                  <a:pt x="379" y="508"/>
                </a:lnTo>
                <a:lnTo>
                  <a:pt x="392" y="518"/>
                </a:lnTo>
                <a:lnTo>
                  <a:pt x="395" y="511"/>
                </a:lnTo>
                <a:lnTo>
                  <a:pt x="398" y="504"/>
                </a:lnTo>
                <a:lnTo>
                  <a:pt x="401" y="499"/>
                </a:lnTo>
                <a:lnTo>
                  <a:pt x="404" y="495"/>
                </a:lnTo>
                <a:lnTo>
                  <a:pt x="409" y="491"/>
                </a:lnTo>
                <a:lnTo>
                  <a:pt x="413" y="489"/>
                </a:lnTo>
                <a:lnTo>
                  <a:pt x="418" y="487"/>
                </a:lnTo>
                <a:lnTo>
                  <a:pt x="422" y="485"/>
                </a:lnTo>
                <a:lnTo>
                  <a:pt x="444" y="483"/>
                </a:lnTo>
                <a:lnTo>
                  <a:pt x="471" y="481"/>
                </a:lnTo>
                <a:lnTo>
                  <a:pt x="471" y="459"/>
                </a:lnTo>
                <a:lnTo>
                  <a:pt x="468" y="438"/>
                </a:lnTo>
                <a:lnTo>
                  <a:pt x="464" y="420"/>
                </a:lnTo>
                <a:lnTo>
                  <a:pt x="457" y="403"/>
                </a:lnTo>
                <a:lnTo>
                  <a:pt x="449" y="387"/>
                </a:lnTo>
                <a:lnTo>
                  <a:pt x="441" y="372"/>
                </a:lnTo>
                <a:lnTo>
                  <a:pt x="431" y="359"/>
                </a:lnTo>
                <a:lnTo>
                  <a:pt x="421" y="347"/>
                </a:lnTo>
                <a:lnTo>
                  <a:pt x="397" y="322"/>
                </a:lnTo>
                <a:lnTo>
                  <a:pt x="371" y="300"/>
                </a:lnTo>
                <a:lnTo>
                  <a:pt x="345" y="277"/>
                </a:lnTo>
                <a:lnTo>
                  <a:pt x="319" y="253"/>
                </a:lnTo>
                <a:lnTo>
                  <a:pt x="299" y="237"/>
                </a:lnTo>
                <a:lnTo>
                  <a:pt x="279" y="218"/>
                </a:lnTo>
                <a:lnTo>
                  <a:pt x="261" y="200"/>
                </a:lnTo>
                <a:lnTo>
                  <a:pt x="242" y="182"/>
                </a:lnTo>
                <a:lnTo>
                  <a:pt x="224" y="162"/>
                </a:lnTo>
                <a:lnTo>
                  <a:pt x="208" y="143"/>
                </a:lnTo>
                <a:lnTo>
                  <a:pt x="192" y="124"/>
                </a:lnTo>
                <a:lnTo>
                  <a:pt x="179" y="105"/>
                </a:lnTo>
                <a:lnTo>
                  <a:pt x="158" y="79"/>
                </a:lnTo>
                <a:lnTo>
                  <a:pt x="136" y="52"/>
                </a:lnTo>
                <a:lnTo>
                  <a:pt x="127" y="40"/>
                </a:lnTo>
                <a:lnTo>
                  <a:pt x="120" y="27"/>
                </a:lnTo>
                <a:lnTo>
                  <a:pt x="117" y="21"/>
                </a:lnTo>
                <a:lnTo>
                  <a:pt x="115" y="14"/>
                </a:lnTo>
                <a:lnTo>
                  <a:pt x="113" y="7"/>
                </a:lnTo>
                <a:lnTo>
                  <a:pt x="1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325" name="Freeform 277"/>
          <p:cNvSpPr>
            <a:spLocks/>
          </p:cNvSpPr>
          <p:nvPr>
            <p:custDataLst>
              <p:tags r:id="rId204"/>
            </p:custDataLst>
          </p:nvPr>
        </p:nvSpPr>
        <p:spPr bwMode="auto">
          <a:xfrm>
            <a:off x="6557967" y="2399119"/>
            <a:ext cx="133350" cy="97631"/>
          </a:xfrm>
          <a:custGeom>
            <a:avLst/>
            <a:gdLst/>
            <a:ahLst/>
            <a:cxnLst>
              <a:cxn ang="0">
                <a:pos x="152" y="19"/>
              </a:cxn>
              <a:cxn ang="0">
                <a:pos x="179" y="30"/>
              </a:cxn>
              <a:cxn ang="0">
                <a:pos x="196" y="30"/>
              </a:cxn>
              <a:cxn ang="0">
                <a:pos x="202" y="18"/>
              </a:cxn>
              <a:cxn ang="0">
                <a:pos x="210" y="10"/>
              </a:cxn>
              <a:cxn ang="0">
                <a:pos x="219" y="6"/>
              </a:cxn>
              <a:cxn ang="0">
                <a:pos x="245" y="2"/>
              </a:cxn>
              <a:cxn ang="0">
                <a:pos x="293" y="80"/>
              </a:cxn>
              <a:cxn ang="0">
                <a:pos x="266" y="107"/>
              </a:cxn>
              <a:cxn ang="0">
                <a:pos x="237" y="141"/>
              </a:cxn>
              <a:cxn ang="0">
                <a:pos x="225" y="159"/>
              </a:cxn>
              <a:cxn ang="0">
                <a:pos x="215" y="178"/>
              </a:cxn>
              <a:cxn ang="0">
                <a:pos x="209" y="197"/>
              </a:cxn>
              <a:cxn ang="0">
                <a:pos x="206" y="216"/>
              </a:cxn>
              <a:cxn ang="0">
                <a:pos x="196" y="217"/>
              </a:cxn>
              <a:cxn ang="0">
                <a:pos x="186" y="220"/>
              </a:cxn>
              <a:cxn ang="0">
                <a:pos x="170" y="229"/>
              </a:cxn>
              <a:cxn ang="0">
                <a:pos x="154" y="239"/>
              </a:cxn>
              <a:cxn ang="0">
                <a:pos x="133" y="246"/>
              </a:cxn>
              <a:cxn ang="0">
                <a:pos x="102" y="240"/>
              </a:cxn>
              <a:cxn ang="0">
                <a:pos x="71" y="232"/>
              </a:cxn>
              <a:cxn ang="0">
                <a:pos x="59" y="226"/>
              </a:cxn>
              <a:cxn ang="0">
                <a:pos x="49" y="220"/>
              </a:cxn>
              <a:cxn ang="0">
                <a:pos x="43" y="212"/>
              </a:cxn>
              <a:cxn ang="0">
                <a:pos x="41" y="204"/>
              </a:cxn>
              <a:cxn ang="0">
                <a:pos x="47" y="178"/>
              </a:cxn>
              <a:cxn ang="0">
                <a:pos x="45" y="162"/>
              </a:cxn>
              <a:cxn ang="0">
                <a:pos x="40" y="147"/>
              </a:cxn>
              <a:cxn ang="0">
                <a:pos x="24" y="119"/>
              </a:cxn>
              <a:cxn ang="0">
                <a:pos x="8" y="91"/>
              </a:cxn>
              <a:cxn ang="0">
                <a:pos x="2" y="74"/>
              </a:cxn>
              <a:cxn ang="0">
                <a:pos x="0" y="55"/>
              </a:cxn>
              <a:cxn ang="0">
                <a:pos x="2" y="45"/>
              </a:cxn>
              <a:cxn ang="0">
                <a:pos x="8" y="36"/>
              </a:cxn>
              <a:cxn ang="0">
                <a:pos x="17" y="29"/>
              </a:cxn>
              <a:cxn ang="0">
                <a:pos x="26" y="22"/>
              </a:cxn>
              <a:cxn ang="0">
                <a:pos x="48" y="14"/>
              </a:cxn>
              <a:cxn ang="0">
                <a:pos x="67" y="12"/>
              </a:cxn>
              <a:cxn ang="0">
                <a:pos x="96" y="12"/>
              </a:cxn>
              <a:cxn ang="0">
                <a:pos x="133" y="12"/>
              </a:cxn>
            </a:cxnLst>
            <a:rect l="0" t="0" r="r" b="b"/>
            <a:pathLst>
              <a:path w="293" h="246">
                <a:moveTo>
                  <a:pt x="133" y="12"/>
                </a:moveTo>
                <a:lnTo>
                  <a:pt x="152" y="19"/>
                </a:lnTo>
                <a:lnTo>
                  <a:pt x="166" y="24"/>
                </a:lnTo>
                <a:lnTo>
                  <a:pt x="179" y="30"/>
                </a:lnTo>
                <a:lnTo>
                  <a:pt x="193" y="37"/>
                </a:lnTo>
                <a:lnTo>
                  <a:pt x="196" y="30"/>
                </a:lnTo>
                <a:lnTo>
                  <a:pt x="199" y="23"/>
                </a:lnTo>
                <a:lnTo>
                  <a:pt x="202" y="18"/>
                </a:lnTo>
                <a:lnTo>
                  <a:pt x="205" y="14"/>
                </a:lnTo>
                <a:lnTo>
                  <a:pt x="210" y="10"/>
                </a:lnTo>
                <a:lnTo>
                  <a:pt x="214" y="8"/>
                </a:lnTo>
                <a:lnTo>
                  <a:pt x="219" y="6"/>
                </a:lnTo>
                <a:lnTo>
                  <a:pt x="223" y="4"/>
                </a:lnTo>
                <a:lnTo>
                  <a:pt x="245" y="2"/>
                </a:lnTo>
                <a:lnTo>
                  <a:pt x="272" y="0"/>
                </a:lnTo>
                <a:lnTo>
                  <a:pt x="293" y="80"/>
                </a:lnTo>
                <a:lnTo>
                  <a:pt x="279" y="93"/>
                </a:lnTo>
                <a:lnTo>
                  <a:pt x="266" y="107"/>
                </a:lnTo>
                <a:lnTo>
                  <a:pt x="250" y="123"/>
                </a:lnTo>
                <a:lnTo>
                  <a:pt x="237" y="141"/>
                </a:lnTo>
                <a:lnTo>
                  <a:pt x="231" y="150"/>
                </a:lnTo>
                <a:lnTo>
                  <a:pt x="225" y="159"/>
                </a:lnTo>
                <a:lnTo>
                  <a:pt x="220" y="169"/>
                </a:lnTo>
                <a:lnTo>
                  <a:pt x="215" y="178"/>
                </a:lnTo>
                <a:lnTo>
                  <a:pt x="212" y="187"/>
                </a:lnTo>
                <a:lnTo>
                  <a:pt x="209" y="197"/>
                </a:lnTo>
                <a:lnTo>
                  <a:pt x="206" y="207"/>
                </a:lnTo>
                <a:lnTo>
                  <a:pt x="206" y="216"/>
                </a:lnTo>
                <a:lnTo>
                  <a:pt x="201" y="216"/>
                </a:lnTo>
                <a:lnTo>
                  <a:pt x="196" y="217"/>
                </a:lnTo>
                <a:lnTo>
                  <a:pt x="190" y="218"/>
                </a:lnTo>
                <a:lnTo>
                  <a:pt x="186" y="220"/>
                </a:lnTo>
                <a:lnTo>
                  <a:pt x="178" y="224"/>
                </a:lnTo>
                <a:lnTo>
                  <a:pt x="170" y="229"/>
                </a:lnTo>
                <a:lnTo>
                  <a:pt x="163" y="234"/>
                </a:lnTo>
                <a:lnTo>
                  <a:pt x="154" y="239"/>
                </a:lnTo>
                <a:lnTo>
                  <a:pt x="145" y="243"/>
                </a:lnTo>
                <a:lnTo>
                  <a:pt x="133" y="246"/>
                </a:lnTo>
                <a:lnTo>
                  <a:pt x="118" y="243"/>
                </a:lnTo>
                <a:lnTo>
                  <a:pt x="102" y="240"/>
                </a:lnTo>
                <a:lnTo>
                  <a:pt x="87" y="236"/>
                </a:lnTo>
                <a:lnTo>
                  <a:pt x="71" y="232"/>
                </a:lnTo>
                <a:lnTo>
                  <a:pt x="65" y="229"/>
                </a:lnTo>
                <a:lnTo>
                  <a:pt x="59" y="226"/>
                </a:lnTo>
                <a:lnTo>
                  <a:pt x="54" y="223"/>
                </a:lnTo>
                <a:lnTo>
                  <a:pt x="49" y="220"/>
                </a:lnTo>
                <a:lnTo>
                  <a:pt x="45" y="216"/>
                </a:lnTo>
                <a:lnTo>
                  <a:pt x="43" y="212"/>
                </a:lnTo>
                <a:lnTo>
                  <a:pt x="41" y="208"/>
                </a:lnTo>
                <a:lnTo>
                  <a:pt x="41" y="204"/>
                </a:lnTo>
                <a:lnTo>
                  <a:pt x="44" y="193"/>
                </a:lnTo>
                <a:lnTo>
                  <a:pt x="47" y="178"/>
                </a:lnTo>
                <a:lnTo>
                  <a:pt x="46" y="170"/>
                </a:lnTo>
                <a:lnTo>
                  <a:pt x="45" y="162"/>
                </a:lnTo>
                <a:lnTo>
                  <a:pt x="43" y="154"/>
                </a:lnTo>
                <a:lnTo>
                  <a:pt x="40" y="147"/>
                </a:lnTo>
                <a:lnTo>
                  <a:pt x="32" y="132"/>
                </a:lnTo>
                <a:lnTo>
                  <a:pt x="24" y="119"/>
                </a:lnTo>
                <a:lnTo>
                  <a:pt x="15" y="106"/>
                </a:lnTo>
                <a:lnTo>
                  <a:pt x="8" y="91"/>
                </a:lnTo>
                <a:lnTo>
                  <a:pt x="4" y="83"/>
                </a:lnTo>
                <a:lnTo>
                  <a:pt x="2" y="74"/>
                </a:lnTo>
                <a:lnTo>
                  <a:pt x="1" y="65"/>
                </a:lnTo>
                <a:lnTo>
                  <a:pt x="0" y="55"/>
                </a:lnTo>
                <a:lnTo>
                  <a:pt x="1" y="50"/>
                </a:lnTo>
                <a:lnTo>
                  <a:pt x="2" y="45"/>
                </a:lnTo>
                <a:lnTo>
                  <a:pt x="4" y="40"/>
                </a:lnTo>
                <a:lnTo>
                  <a:pt x="8" y="36"/>
                </a:lnTo>
                <a:lnTo>
                  <a:pt x="12" y="32"/>
                </a:lnTo>
                <a:lnTo>
                  <a:pt x="17" y="29"/>
                </a:lnTo>
                <a:lnTo>
                  <a:pt x="21" y="25"/>
                </a:lnTo>
                <a:lnTo>
                  <a:pt x="26" y="22"/>
                </a:lnTo>
                <a:lnTo>
                  <a:pt x="37" y="17"/>
                </a:lnTo>
                <a:lnTo>
                  <a:pt x="48" y="14"/>
                </a:lnTo>
                <a:lnTo>
                  <a:pt x="58" y="13"/>
                </a:lnTo>
                <a:lnTo>
                  <a:pt x="67" y="12"/>
                </a:lnTo>
                <a:lnTo>
                  <a:pt x="79" y="12"/>
                </a:lnTo>
                <a:lnTo>
                  <a:pt x="96" y="12"/>
                </a:lnTo>
                <a:lnTo>
                  <a:pt x="113" y="12"/>
                </a:lnTo>
                <a:lnTo>
                  <a:pt x="133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326" name="Freeform 278"/>
          <p:cNvSpPr>
            <a:spLocks/>
          </p:cNvSpPr>
          <p:nvPr>
            <p:custDataLst>
              <p:tags r:id="rId205"/>
            </p:custDataLst>
          </p:nvPr>
        </p:nvSpPr>
        <p:spPr bwMode="auto">
          <a:xfrm>
            <a:off x="6959607" y="1826428"/>
            <a:ext cx="85725" cy="97631"/>
          </a:xfrm>
          <a:custGeom>
            <a:avLst/>
            <a:gdLst/>
            <a:ahLst/>
            <a:cxnLst>
              <a:cxn ang="0">
                <a:pos x="18" y="41"/>
              </a:cxn>
              <a:cxn ang="0">
                <a:pos x="28" y="26"/>
              </a:cxn>
              <a:cxn ang="0">
                <a:pos x="38" y="16"/>
              </a:cxn>
              <a:cxn ang="0">
                <a:pos x="50" y="9"/>
              </a:cxn>
              <a:cxn ang="0">
                <a:pos x="73" y="1"/>
              </a:cxn>
              <a:cxn ang="0">
                <a:pos x="88" y="12"/>
              </a:cxn>
              <a:cxn ang="0">
                <a:pos x="108" y="34"/>
              </a:cxn>
              <a:cxn ang="0">
                <a:pos x="125" y="50"/>
              </a:cxn>
              <a:cxn ang="0">
                <a:pos x="139" y="58"/>
              </a:cxn>
              <a:cxn ang="0">
                <a:pos x="152" y="64"/>
              </a:cxn>
              <a:cxn ang="0">
                <a:pos x="166" y="67"/>
              </a:cxn>
              <a:cxn ang="0">
                <a:pos x="184" y="96"/>
              </a:cxn>
              <a:cxn ang="0">
                <a:pos x="195" y="137"/>
              </a:cxn>
              <a:cxn ang="0">
                <a:pos x="199" y="165"/>
              </a:cxn>
              <a:cxn ang="0">
                <a:pos x="200" y="185"/>
              </a:cxn>
              <a:cxn ang="0">
                <a:pos x="198" y="197"/>
              </a:cxn>
              <a:cxn ang="0">
                <a:pos x="195" y="207"/>
              </a:cxn>
              <a:cxn ang="0">
                <a:pos x="189" y="214"/>
              </a:cxn>
              <a:cxn ang="0">
                <a:pos x="179" y="220"/>
              </a:cxn>
              <a:cxn ang="0">
                <a:pos x="164" y="224"/>
              </a:cxn>
              <a:cxn ang="0">
                <a:pos x="140" y="224"/>
              </a:cxn>
              <a:cxn ang="0">
                <a:pos x="118" y="229"/>
              </a:cxn>
              <a:cxn ang="0">
                <a:pos x="111" y="235"/>
              </a:cxn>
              <a:cxn ang="0">
                <a:pos x="108" y="242"/>
              </a:cxn>
              <a:cxn ang="0">
                <a:pos x="98" y="245"/>
              </a:cxn>
              <a:cxn ang="0">
                <a:pos x="85" y="240"/>
              </a:cxn>
              <a:cxn ang="0">
                <a:pos x="77" y="230"/>
              </a:cxn>
              <a:cxn ang="0">
                <a:pos x="73" y="216"/>
              </a:cxn>
              <a:cxn ang="0">
                <a:pos x="72" y="192"/>
              </a:cxn>
              <a:cxn ang="0">
                <a:pos x="71" y="168"/>
              </a:cxn>
              <a:cxn ang="0">
                <a:pos x="69" y="154"/>
              </a:cxn>
              <a:cxn ang="0">
                <a:pos x="64" y="142"/>
              </a:cxn>
              <a:cxn ang="0">
                <a:pos x="56" y="134"/>
              </a:cxn>
              <a:cxn ang="0">
                <a:pos x="40" y="125"/>
              </a:cxn>
              <a:cxn ang="0">
                <a:pos x="18" y="115"/>
              </a:cxn>
              <a:cxn ang="0">
                <a:pos x="6" y="106"/>
              </a:cxn>
              <a:cxn ang="0">
                <a:pos x="1" y="98"/>
              </a:cxn>
              <a:cxn ang="0">
                <a:pos x="1" y="87"/>
              </a:cxn>
              <a:cxn ang="0">
                <a:pos x="5" y="78"/>
              </a:cxn>
              <a:cxn ang="0">
                <a:pos x="10" y="68"/>
              </a:cxn>
              <a:cxn ang="0">
                <a:pos x="13" y="56"/>
              </a:cxn>
            </a:cxnLst>
            <a:rect l="0" t="0" r="r" b="b"/>
            <a:pathLst>
              <a:path w="200" h="246">
                <a:moveTo>
                  <a:pt x="13" y="49"/>
                </a:moveTo>
                <a:lnTo>
                  <a:pt x="18" y="41"/>
                </a:lnTo>
                <a:lnTo>
                  <a:pt x="22" y="32"/>
                </a:lnTo>
                <a:lnTo>
                  <a:pt x="28" y="26"/>
                </a:lnTo>
                <a:lnTo>
                  <a:pt x="33" y="20"/>
                </a:lnTo>
                <a:lnTo>
                  <a:pt x="38" y="16"/>
                </a:lnTo>
                <a:lnTo>
                  <a:pt x="44" y="12"/>
                </a:lnTo>
                <a:lnTo>
                  <a:pt x="50" y="9"/>
                </a:lnTo>
                <a:lnTo>
                  <a:pt x="54" y="6"/>
                </a:lnTo>
                <a:lnTo>
                  <a:pt x="73" y="1"/>
                </a:lnTo>
                <a:lnTo>
                  <a:pt x="80" y="0"/>
                </a:lnTo>
                <a:lnTo>
                  <a:pt x="88" y="12"/>
                </a:lnTo>
                <a:lnTo>
                  <a:pt x="98" y="23"/>
                </a:lnTo>
                <a:lnTo>
                  <a:pt x="108" y="34"/>
                </a:lnTo>
                <a:lnTo>
                  <a:pt x="119" y="46"/>
                </a:lnTo>
                <a:lnTo>
                  <a:pt x="125" y="50"/>
                </a:lnTo>
                <a:lnTo>
                  <a:pt x="132" y="54"/>
                </a:lnTo>
                <a:lnTo>
                  <a:pt x="139" y="58"/>
                </a:lnTo>
                <a:lnTo>
                  <a:pt x="145" y="61"/>
                </a:lnTo>
                <a:lnTo>
                  <a:pt x="152" y="64"/>
                </a:lnTo>
                <a:lnTo>
                  <a:pt x="158" y="66"/>
                </a:lnTo>
                <a:lnTo>
                  <a:pt x="166" y="67"/>
                </a:lnTo>
                <a:lnTo>
                  <a:pt x="174" y="67"/>
                </a:lnTo>
                <a:lnTo>
                  <a:pt x="184" y="96"/>
                </a:lnTo>
                <a:lnTo>
                  <a:pt x="191" y="123"/>
                </a:lnTo>
                <a:lnTo>
                  <a:pt x="195" y="137"/>
                </a:lnTo>
                <a:lnTo>
                  <a:pt x="198" y="151"/>
                </a:lnTo>
                <a:lnTo>
                  <a:pt x="199" y="165"/>
                </a:lnTo>
                <a:lnTo>
                  <a:pt x="200" y="178"/>
                </a:lnTo>
                <a:lnTo>
                  <a:pt x="200" y="185"/>
                </a:lnTo>
                <a:lnTo>
                  <a:pt x="199" y="192"/>
                </a:lnTo>
                <a:lnTo>
                  <a:pt x="198" y="197"/>
                </a:lnTo>
                <a:lnTo>
                  <a:pt x="196" y="202"/>
                </a:lnTo>
                <a:lnTo>
                  <a:pt x="195" y="207"/>
                </a:lnTo>
                <a:lnTo>
                  <a:pt x="192" y="211"/>
                </a:lnTo>
                <a:lnTo>
                  <a:pt x="189" y="214"/>
                </a:lnTo>
                <a:lnTo>
                  <a:pt x="186" y="216"/>
                </a:lnTo>
                <a:lnTo>
                  <a:pt x="179" y="220"/>
                </a:lnTo>
                <a:lnTo>
                  <a:pt x="173" y="222"/>
                </a:lnTo>
                <a:lnTo>
                  <a:pt x="164" y="224"/>
                </a:lnTo>
                <a:lnTo>
                  <a:pt x="156" y="224"/>
                </a:lnTo>
                <a:lnTo>
                  <a:pt x="140" y="224"/>
                </a:lnTo>
                <a:lnTo>
                  <a:pt x="124" y="226"/>
                </a:lnTo>
                <a:lnTo>
                  <a:pt x="118" y="229"/>
                </a:lnTo>
                <a:lnTo>
                  <a:pt x="112" y="232"/>
                </a:lnTo>
                <a:lnTo>
                  <a:pt x="111" y="235"/>
                </a:lnTo>
                <a:lnTo>
                  <a:pt x="109" y="238"/>
                </a:lnTo>
                <a:lnTo>
                  <a:pt x="108" y="242"/>
                </a:lnTo>
                <a:lnTo>
                  <a:pt x="107" y="246"/>
                </a:lnTo>
                <a:lnTo>
                  <a:pt x="98" y="245"/>
                </a:lnTo>
                <a:lnTo>
                  <a:pt x="90" y="243"/>
                </a:lnTo>
                <a:lnTo>
                  <a:pt x="85" y="240"/>
                </a:lnTo>
                <a:lnTo>
                  <a:pt x="80" y="235"/>
                </a:lnTo>
                <a:lnTo>
                  <a:pt x="77" y="230"/>
                </a:lnTo>
                <a:lnTo>
                  <a:pt x="75" y="223"/>
                </a:lnTo>
                <a:lnTo>
                  <a:pt x="73" y="216"/>
                </a:lnTo>
                <a:lnTo>
                  <a:pt x="72" y="209"/>
                </a:lnTo>
                <a:lnTo>
                  <a:pt x="72" y="192"/>
                </a:lnTo>
                <a:lnTo>
                  <a:pt x="72" y="176"/>
                </a:lnTo>
                <a:lnTo>
                  <a:pt x="71" y="168"/>
                </a:lnTo>
                <a:lnTo>
                  <a:pt x="71" y="161"/>
                </a:lnTo>
                <a:lnTo>
                  <a:pt x="69" y="154"/>
                </a:lnTo>
                <a:lnTo>
                  <a:pt x="67" y="148"/>
                </a:lnTo>
                <a:lnTo>
                  <a:pt x="64" y="142"/>
                </a:lnTo>
                <a:lnTo>
                  <a:pt x="61" y="137"/>
                </a:lnTo>
                <a:lnTo>
                  <a:pt x="56" y="134"/>
                </a:lnTo>
                <a:lnTo>
                  <a:pt x="51" y="130"/>
                </a:lnTo>
                <a:lnTo>
                  <a:pt x="40" y="125"/>
                </a:lnTo>
                <a:lnTo>
                  <a:pt x="29" y="120"/>
                </a:lnTo>
                <a:lnTo>
                  <a:pt x="18" y="115"/>
                </a:lnTo>
                <a:lnTo>
                  <a:pt x="9" y="110"/>
                </a:lnTo>
                <a:lnTo>
                  <a:pt x="6" y="106"/>
                </a:lnTo>
                <a:lnTo>
                  <a:pt x="3" y="103"/>
                </a:lnTo>
                <a:lnTo>
                  <a:pt x="1" y="98"/>
                </a:lnTo>
                <a:lnTo>
                  <a:pt x="0" y="93"/>
                </a:lnTo>
                <a:lnTo>
                  <a:pt x="1" y="87"/>
                </a:lnTo>
                <a:lnTo>
                  <a:pt x="3" y="83"/>
                </a:lnTo>
                <a:lnTo>
                  <a:pt x="5" y="78"/>
                </a:lnTo>
                <a:lnTo>
                  <a:pt x="7" y="73"/>
                </a:lnTo>
                <a:lnTo>
                  <a:pt x="10" y="68"/>
                </a:lnTo>
                <a:lnTo>
                  <a:pt x="12" y="62"/>
                </a:lnTo>
                <a:lnTo>
                  <a:pt x="13" y="56"/>
                </a:lnTo>
                <a:lnTo>
                  <a:pt x="13" y="49"/>
                </a:lnTo>
              </a:path>
            </a:pathLst>
          </a:custGeom>
          <a:solidFill>
            <a:srgbClr val="00B0F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327" name="Freeform 279"/>
          <p:cNvSpPr>
            <a:spLocks/>
          </p:cNvSpPr>
          <p:nvPr>
            <p:custDataLst>
              <p:tags r:id="rId206"/>
            </p:custDataLst>
          </p:nvPr>
        </p:nvSpPr>
        <p:spPr bwMode="auto">
          <a:xfrm>
            <a:off x="7527925" y="2799160"/>
            <a:ext cx="231775" cy="190500"/>
          </a:xfrm>
          <a:custGeom>
            <a:avLst/>
            <a:gdLst/>
            <a:ahLst/>
            <a:cxnLst>
              <a:cxn ang="0">
                <a:pos x="91" y="21"/>
              </a:cxn>
              <a:cxn ang="0">
                <a:pos x="160" y="47"/>
              </a:cxn>
              <a:cxn ang="0">
                <a:pos x="202" y="70"/>
              </a:cxn>
              <a:cxn ang="0">
                <a:pos x="253" y="110"/>
              </a:cxn>
              <a:cxn ang="0">
                <a:pos x="300" y="136"/>
              </a:cxn>
              <a:cxn ang="0">
                <a:pos x="299" y="161"/>
              </a:cxn>
              <a:cxn ang="0">
                <a:pos x="347" y="205"/>
              </a:cxn>
              <a:cxn ang="0">
                <a:pos x="393" y="248"/>
              </a:cxn>
              <a:cxn ang="0">
                <a:pos x="379" y="250"/>
              </a:cxn>
              <a:cxn ang="0">
                <a:pos x="372" y="256"/>
              </a:cxn>
              <a:cxn ang="0">
                <a:pos x="372" y="278"/>
              </a:cxn>
              <a:cxn ang="0">
                <a:pos x="377" y="301"/>
              </a:cxn>
              <a:cxn ang="0">
                <a:pos x="389" y="325"/>
              </a:cxn>
              <a:cxn ang="0">
                <a:pos x="407" y="348"/>
              </a:cxn>
              <a:cxn ang="0">
                <a:pos x="428" y="366"/>
              </a:cxn>
              <a:cxn ang="0">
                <a:pos x="451" y="376"/>
              </a:cxn>
              <a:cxn ang="0">
                <a:pos x="461" y="390"/>
              </a:cxn>
              <a:cxn ang="0">
                <a:pos x="472" y="406"/>
              </a:cxn>
              <a:cxn ang="0">
                <a:pos x="489" y="417"/>
              </a:cxn>
              <a:cxn ang="0">
                <a:pos x="513" y="432"/>
              </a:cxn>
              <a:cxn ang="0">
                <a:pos x="518" y="444"/>
              </a:cxn>
              <a:cxn ang="0">
                <a:pos x="525" y="450"/>
              </a:cxn>
              <a:cxn ang="0">
                <a:pos x="538" y="456"/>
              </a:cxn>
              <a:cxn ang="0">
                <a:pos x="534" y="472"/>
              </a:cxn>
              <a:cxn ang="0">
                <a:pos x="519" y="484"/>
              </a:cxn>
              <a:cxn ang="0">
                <a:pos x="490" y="487"/>
              </a:cxn>
              <a:cxn ang="0">
                <a:pos x="448" y="480"/>
              </a:cxn>
              <a:cxn ang="0">
                <a:pos x="414" y="466"/>
              </a:cxn>
              <a:cxn ang="0">
                <a:pos x="386" y="446"/>
              </a:cxn>
              <a:cxn ang="0">
                <a:pos x="355" y="415"/>
              </a:cxn>
              <a:cxn ang="0">
                <a:pos x="312" y="365"/>
              </a:cxn>
              <a:cxn ang="0">
                <a:pos x="274" y="330"/>
              </a:cxn>
              <a:cxn ang="0">
                <a:pos x="246" y="316"/>
              </a:cxn>
              <a:cxn ang="0">
                <a:pos x="212" y="309"/>
              </a:cxn>
              <a:cxn ang="0">
                <a:pos x="180" y="310"/>
              </a:cxn>
              <a:cxn ang="0">
                <a:pos x="153" y="317"/>
              </a:cxn>
              <a:cxn ang="0">
                <a:pos x="113" y="345"/>
              </a:cxn>
              <a:cxn ang="0">
                <a:pos x="136" y="361"/>
              </a:cxn>
              <a:cxn ang="0">
                <a:pos x="140" y="370"/>
              </a:cxn>
              <a:cxn ang="0">
                <a:pos x="124" y="401"/>
              </a:cxn>
              <a:cxn ang="0">
                <a:pos x="113" y="414"/>
              </a:cxn>
              <a:cxn ang="0">
                <a:pos x="47" y="403"/>
              </a:cxn>
              <a:cxn ang="0">
                <a:pos x="20" y="259"/>
              </a:cxn>
              <a:cxn ang="0">
                <a:pos x="20" y="0"/>
              </a:cxn>
            </a:cxnLst>
            <a:rect l="0" t="0" r="r" b="b"/>
            <a:pathLst>
              <a:path w="538" h="487">
                <a:moveTo>
                  <a:pt x="20" y="0"/>
                </a:moveTo>
                <a:lnTo>
                  <a:pt x="58" y="10"/>
                </a:lnTo>
                <a:lnTo>
                  <a:pt x="91" y="21"/>
                </a:lnTo>
                <a:lnTo>
                  <a:pt x="119" y="30"/>
                </a:lnTo>
                <a:lnTo>
                  <a:pt x="142" y="38"/>
                </a:lnTo>
                <a:lnTo>
                  <a:pt x="160" y="47"/>
                </a:lnTo>
                <a:lnTo>
                  <a:pt x="177" y="55"/>
                </a:lnTo>
                <a:lnTo>
                  <a:pt x="190" y="62"/>
                </a:lnTo>
                <a:lnTo>
                  <a:pt x="202" y="70"/>
                </a:lnTo>
                <a:lnTo>
                  <a:pt x="222" y="86"/>
                </a:lnTo>
                <a:lnTo>
                  <a:pt x="242" y="102"/>
                </a:lnTo>
                <a:lnTo>
                  <a:pt x="253" y="110"/>
                </a:lnTo>
                <a:lnTo>
                  <a:pt x="266" y="118"/>
                </a:lnTo>
                <a:lnTo>
                  <a:pt x="281" y="127"/>
                </a:lnTo>
                <a:lnTo>
                  <a:pt x="300" y="136"/>
                </a:lnTo>
                <a:lnTo>
                  <a:pt x="297" y="152"/>
                </a:lnTo>
                <a:lnTo>
                  <a:pt x="297" y="158"/>
                </a:lnTo>
                <a:lnTo>
                  <a:pt x="299" y="161"/>
                </a:lnTo>
                <a:lnTo>
                  <a:pt x="300" y="167"/>
                </a:lnTo>
                <a:lnTo>
                  <a:pt x="314" y="178"/>
                </a:lnTo>
                <a:lnTo>
                  <a:pt x="347" y="205"/>
                </a:lnTo>
                <a:lnTo>
                  <a:pt x="381" y="231"/>
                </a:lnTo>
                <a:lnTo>
                  <a:pt x="399" y="247"/>
                </a:lnTo>
                <a:lnTo>
                  <a:pt x="393" y="248"/>
                </a:lnTo>
                <a:lnTo>
                  <a:pt x="386" y="250"/>
                </a:lnTo>
                <a:lnTo>
                  <a:pt x="382" y="250"/>
                </a:lnTo>
                <a:lnTo>
                  <a:pt x="379" y="250"/>
                </a:lnTo>
                <a:lnTo>
                  <a:pt x="376" y="249"/>
                </a:lnTo>
                <a:lnTo>
                  <a:pt x="372" y="247"/>
                </a:lnTo>
                <a:lnTo>
                  <a:pt x="372" y="256"/>
                </a:lnTo>
                <a:lnTo>
                  <a:pt x="372" y="265"/>
                </a:lnTo>
                <a:lnTo>
                  <a:pt x="372" y="272"/>
                </a:lnTo>
                <a:lnTo>
                  <a:pt x="372" y="278"/>
                </a:lnTo>
                <a:lnTo>
                  <a:pt x="373" y="285"/>
                </a:lnTo>
                <a:lnTo>
                  <a:pt x="375" y="292"/>
                </a:lnTo>
                <a:lnTo>
                  <a:pt x="377" y="301"/>
                </a:lnTo>
                <a:lnTo>
                  <a:pt x="380" y="309"/>
                </a:lnTo>
                <a:lnTo>
                  <a:pt x="384" y="317"/>
                </a:lnTo>
                <a:lnTo>
                  <a:pt x="389" y="325"/>
                </a:lnTo>
                <a:lnTo>
                  <a:pt x="394" y="333"/>
                </a:lnTo>
                <a:lnTo>
                  <a:pt x="401" y="341"/>
                </a:lnTo>
                <a:lnTo>
                  <a:pt x="407" y="348"/>
                </a:lnTo>
                <a:lnTo>
                  <a:pt x="414" y="355"/>
                </a:lnTo>
                <a:lnTo>
                  <a:pt x="421" y="361"/>
                </a:lnTo>
                <a:lnTo>
                  <a:pt x="428" y="366"/>
                </a:lnTo>
                <a:lnTo>
                  <a:pt x="436" y="371"/>
                </a:lnTo>
                <a:lnTo>
                  <a:pt x="444" y="374"/>
                </a:lnTo>
                <a:lnTo>
                  <a:pt x="451" y="376"/>
                </a:lnTo>
                <a:lnTo>
                  <a:pt x="459" y="376"/>
                </a:lnTo>
                <a:lnTo>
                  <a:pt x="459" y="384"/>
                </a:lnTo>
                <a:lnTo>
                  <a:pt x="461" y="390"/>
                </a:lnTo>
                <a:lnTo>
                  <a:pt x="465" y="396"/>
                </a:lnTo>
                <a:lnTo>
                  <a:pt x="468" y="401"/>
                </a:lnTo>
                <a:lnTo>
                  <a:pt x="472" y="406"/>
                </a:lnTo>
                <a:lnTo>
                  <a:pt x="478" y="411"/>
                </a:lnTo>
                <a:lnTo>
                  <a:pt x="483" y="414"/>
                </a:lnTo>
                <a:lnTo>
                  <a:pt x="489" y="417"/>
                </a:lnTo>
                <a:lnTo>
                  <a:pt x="500" y="423"/>
                </a:lnTo>
                <a:lnTo>
                  <a:pt x="510" y="429"/>
                </a:lnTo>
                <a:lnTo>
                  <a:pt x="513" y="432"/>
                </a:lnTo>
                <a:lnTo>
                  <a:pt x="516" y="436"/>
                </a:lnTo>
                <a:lnTo>
                  <a:pt x="518" y="440"/>
                </a:lnTo>
                <a:lnTo>
                  <a:pt x="518" y="444"/>
                </a:lnTo>
                <a:lnTo>
                  <a:pt x="519" y="446"/>
                </a:lnTo>
                <a:lnTo>
                  <a:pt x="522" y="448"/>
                </a:lnTo>
                <a:lnTo>
                  <a:pt x="525" y="450"/>
                </a:lnTo>
                <a:lnTo>
                  <a:pt x="528" y="452"/>
                </a:lnTo>
                <a:lnTo>
                  <a:pt x="536" y="455"/>
                </a:lnTo>
                <a:lnTo>
                  <a:pt x="538" y="456"/>
                </a:lnTo>
                <a:lnTo>
                  <a:pt x="538" y="461"/>
                </a:lnTo>
                <a:lnTo>
                  <a:pt x="536" y="467"/>
                </a:lnTo>
                <a:lnTo>
                  <a:pt x="534" y="472"/>
                </a:lnTo>
                <a:lnTo>
                  <a:pt x="529" y="477"/>
                </a:lnTo>
                <a:lnTo>
                  <a:pt x="525" y="481"/>
                </a:lnTo>
                <a:lnTo>
                  <a:pt x="519" y="484"/>
                </a:lnTo>
                <a:lnTo>
                  <a:pt x="513" y="487"/>
                </a:lnTo>
                <a:lnTo>
                  <a:pt x="505" y="487"/>
                </a:lnTo>
                <a:lnTo>
                  <a:pt x="490" y="487"/>
                </a:lnTo>
                <a:lnTo>
                  <a:pt x="474" y="485"/>
                </a:lnTo>
                <a:lnTo>
                  <a:pt x="461" y="483"/>
                </a:lnTo>
                <a:lnTo>
                  <a:pt x="448" y="480"/>
                </a:lnTo>
                <a:lnTo>
                  <a:pt x="436" y="476"/>
                </a:lnTo>
                <a:lnTo>
                  <a:pt x="425" y="471"/>
                </a:lnTo>
                <a:lnTo>
                  <a:pt x="414" y="466"/>
                </a:lnTo>
                <a:lnTo>
                  <a:pt x="404" y="459"/>
                </a:lnTo>
                <a:lnTo>
                  <a:pt x="395" y="453"/>
                </a:lnTo>
                <a:lnTo>
                  <a:pt x="386" y="446"/>
                </a:lnTo>
                <a:lnTo>
                  <a:pt x="378" y="438"/>
                </a:lnTo>
                <a:lnTo>
                  <a:pt x="369" y="431"/>
                </a:lnTo>
                <a:lnTo>
                  <a:pt x="355" y="415"/>
                </a:lnTo>
                <a:lnTo>
                  <a:pt x="341" y="398"/>
                </a:lnTo>
                <a:lnTo>
                  <a:pt x="326" y="381"/>
                </a:lnTo>
                <a:lnTo>
                  <a:pt x="312" y="365"/>
                </a:lnTo>
                <a:lnTo>
                  <a:pt x="298" y="350"/>
                </a:lnTo>
                <a:lnTo>
                  <a:pt x="282" y="336"/>
                </a:lnTo>
                <a:lnTo>
                  <a:pt x="274" y="330"/>
                </a:lnTo>
                <a:lnTo>
                  <a:pt x="265" y="325"/>
                </a:lnTo>
                <a:lnTo>
                  <a:pt x="256" y="320"/>
                </a:lnTo>
                <a:lnTo>
                  <a:pt x="246" y="316"/>
                </a:lnTo>
                <a:lnTo>
                  <a:pt x="235" y="313"/>
                </a:lnTo>
                <a:lnTo>
                  <a:pt x="224" y="311"/>
                </a:lnTo>
                <a:lnTo>
                  <a:pt x="212" y="309"/>
                </a:lnTo>
                <a:lnTo>
                  <a:pt x="200" y="309"/>
                </a:lnTo>
                <a:lnTo>
                  <a:pt x="189" y="309"/>
                </a:lnTo>
                <a:lnTo>
                  <a:pt x="180" y="310"/>
                </a:lnTo>
                <a:lnTo>
                  <a:pt x="171" y="311"/>
                </a:lnTo>
                <a:lnTo>
                  <a:pt x="165" y="313"/>
                </a:lnTo>
                <a:lnTo>
                  <a:pt x="153" y="317"/>
                </a:lnTo>
                <a:lnTo>
                  <a:pt x="144" y="322"/>
                </a:lnTo>
                <a:lnTo>
                  <a:pt x="130" y="334"/>
                </a:lnTo>
                <a:lnTo>
                  <a:pt x="113" y="345"/>
                </a:lnTo>
                <a:lnTo>
                  <a:pt x="126" y="352"/>
                </a:lnTo>
                <a:lnTo>
                  <a:pt x="134" y="358"/>
                </a:lnTo>
                <a:lnTo>
                  <a:pt x="136" y="361"/>
                </a:lnTo>
                <a:lnTo>
                  <a:pt x="138" y="363"/>
                </a:lnTo>
                <a:lnTo>
                  <a:pt x="140" y="366"/>
                </a:lnTo>
                <a:lnTo>
                  <a:pt x="140" y="370"/>
                </a:lnTo>
                <a:lnTo>
                  <a:pt x="136" y="380"/>
                </a:lnTo>
                <a:lnTo>
                  <a:pt x="130" y="394"/>
                </a:lnTo>
                <a:lnTo>
                  <a:pt x="124" y="401"/>
                </a:lnTo>
                <a:lnTo>
                  <a:pt x="120" y="407"/>
                </a:lnTo>
                <a:lnTo>
                  <a:pt x="117" y="412"/>
                </a:lnTo>
                <a:lnTo>
                  <a:pt x="113" y="414"/>
                </a:lnTo>
                <a:lnTo>
                  <a:pt x="93" y="395"/>
                </a:lnTo>
                <a:lnTo>
                  <a:pt x="70" y="399"/>
                </a:lnTo>
                <a:lnTo>
                  <a:pt x="47" y="403"/>
                </a:lnTo>
                <a:lnTo>
                  <a:pt x="28" y="406"/>
                </a:lnTo>
                <a:lnTo>
                  <a:pt x="20" y="407"/>
                </a:lnTo>
                <a:lnTo>
                  <a:pt x="20" y="259"/>
                </a:lnTo>
                <a:lnTo>
                  <a:pt x="0" y="234"/>
                </a:lnTo>
                <a:lnTo>
                  <a:pt x="20" y="222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328" name="Freeform 280"/>
          <p:cNvSpPr>
            <a:spLocks/>
          </p:cNvSpPr>
          <p:nvPr>
            <p:custDataLst>
              <p:tags r:id="rId207"/>
            </p:custDataLst>
          </p:nvPr>
        </p:nvSpPr>
        <p:spPr bwMode="auto">
          <a:xfrm>
            <a:off x="7720013" y="2787256"/>
            <a:ext cx="106362" cy="96440"/>
          </a:xfrm>
          <a:custGeom>
            <a:avLst/>
            <a:gdLst/>
            <a:ahLst/>
            <a:cxnLst>
              <a:cxn ang="0">
                <a:pos x="136" y="1"/>
              </a:cxn>
              <a:cxn ang="0">
                <a:pos x="157" y="8"/>
              </a:cxn>
              <a:cxn ang="0">
                <a:pos x="179" y="21"/>
              </a:cxn>
              <a:cxn ang="0">
                <a:pos x="199" y="37"/>
              </a:cxn>
              <a:cxn ang="0">
                <a:pos x="218" y="57"/>
              </a:cxn>
              <a:cxn ang="0">
                <a:pos x="234" y="76"/>
              </a:cxn>
              <a:cxn ang="0">
                <a:pos x="245" y="94"/>
              </a:cxn>
              <a:cxn ang="0">
                <a:pos x="252" y="111"/>
              </a:cxn>
              <a:cxn ang="0">
                <a:pos x="252" y="128"/>
              </a:cxn>
              <a:cxn ang="0">
                <a:pos x="243" y="151"/>
              </a:cxn>
              <a:cxn ang="0">
                <a:pos x="229" y="174"/>
              </a:cxn>
              <a:cxn ang="0">
                <a:pos x="209" y="195"/>
              </a:cxn>
              <a:cxn ang="0">
                <a:pos x="184" y="214"/>
              </a:cxn>
              <a:cxn ang="0">
                <a:pos x="157" y="229"/>
              </a:cxn>
              <a:cxn ang="0">
                <a:pos x="129" y="240"/>
              </a:cxn>
              <a:cxn ang="0">
                <a:pos x="100" y="245"/>
              </a:cxn>
              <a:cxn ang="0">
                <a:pos x="74" y="245"/>
              </a:cxn>
              <a:cxn ang="0">
                <a:pos x="53" y="240"/>
              </a:cxn>
              <a:cxn ang="0">
                <a:pos x="33" y="234"/>
              </a:cxn>
              <a:cxn ang="0">
                <a:pos x="11" y="229"/>
              </a:cxn>
              <a:cxn ang="0">
                <a:pos x="3" y="219"/>
              </a:cxn>
              <a:cxn ang="0">
                <a:pos x="10" y="205"/>
              </a:cxn>
              <a:cxn ang="0">
                <a:pos x="22" y="196"/>
              </a:cxn>
              <a:cxn ang="0">
                <a:pos x="37" y="191"/>
              </a:cxn>
              <a:cxn ang="0">
                <a:pos x="50" y="197"/>
              </a:cxn>
              <a:cxn ang="0">
                <a:pos x="60" y="207"/>
              </a:cxn>
              <a:cxn ang="0">
                <a:pos x="68" y="201"/>
              </a:cxn>
              <a:cxn ang="0">
                <a:pos x="75" y="190"/>
              </a:cxn>
              <a:cxn ang="0">
                <a:pos x="84" y="180"/>
              </a:cxn>
              <a:cxn ang="0">
                <a:pos x="91" y="181"/>
              </a:cxn>
              <a:cxn ang="0">
                <a:pos x="98" y="179"/>
              </a:cxn>
              <a:cxn ang="0">
                <a:pos x="106" y="178"/>
              </a:cxn>
              <a:cxn ang="0">
                <a:pos x="120" y="174"/>
              </a:cxn>
              <a:cxn ang="0">
                <a:pos x="149" y="164"/>
              </a:cxn>
              <a:cxn ang="0">
                <a:pos x="179" y="147"/>
              </a:cxn>
              <a:cxn ang="0">
                <a:pos x="197" y="135"/>
              </a:cxn>
              <a:cxn ang="0">
                <a:pos x="210" y="123"/>
              </a:cxn>
              <a:cxn ang="0">
                <a:pos x="218" y="111"/>
              </a:cxn>
              <a:cxn ang="0">
                <a:pos x="219" y="98"/>
              </a:cxn>
              <a:cxn ang="0">
                <a:pos x="214" y="88"/>
              </a:cxn>
              <a:cxn ang="0">
                <a:pos x="210" y="80"/>
              </a:cxn>
              <a:cxn ang="0">
                <a:pos x="207" y="72"/>
              </a:cxn>
              <a:cxn ang="0">
                <a:pos x="201" y="67"/>
              </a:cxn>
              <a:cxn ang="0">
                <a:pos x="191" y="65"/>
              </a:cxn>
              <a:cxn ang="0">
                <a:pos x="184" y="61"/>
              </a:cxn>
              <a:cxn ang="0">
                <a:pos x="180" y="54"/>
              </a:cxn>
              <a:cxn ang="0">
                <a:pos x="140" y="49"/>
              </a:cxn>
              <a:cxn ang="0">
                <a:pos x="136" y="44"/>
              </a:cxn>
              <a:cxn ang="0">
                <a:pos x="136" y="36"/>
              </a:cxn>
              <a:cxn ang="0">
                <a:pos x="140" y="18"/>
              </a:cxn>
              <a:cxn ang="0">
                <a:pos x="110" y="11"/>
              </a:cxn>
              <a:cxn ang="0">
                <a:pos x="97" y="12"/>
              </a:cxn>
              <a:cxn ang="0">
                <a:pos x="86" y="18"/>
              </a:cxn>
              <a:cxn ang="0">
                <a:pos x="104" y="5"/>
              </a:cxn>
              <a:cxn ang="0">
                <a:pos x="113" y="1"/>
              </a:cxn>
              <a:cxn ang="0">
                <a:pos x="127" y="0"/>
              </a:cxn>
            </a:cxnLst>
            <a:rect l="0" t="0" r="r" b="b"/>
            <a:pathLst>
              <a:path w="253" h="246">
                <a:moveTo>
                  <a:pt x="127" y="0"/>
                </a:moveTo>
                <a:lnTo>
                  <a:pt x="136" y="1"/>
                </a:lnTo>
                <a:lnTo>
                  <a:pt x="146" y="4"/>
                </a:lnTo>
                <a:lnTo>
                  <a:pt x="157" y="8"/>
                </a:lnTo>
                <a:lnTo>
                  <a:pt x="168" y="14"/>
                </a:lnTo>
                <a:lnTo>
                  <a:pt x="179" y="21"/>
                </a:lnTo>
                <a:lnTo>
                  <a:pt x="189" y="28"/>
                </a:lnTo>
                <a:lnTo>
                  <a:pt x="199" y="37"/>
                </a:lnTo>
                <a:lnTo>
                  <a:pt x="209" y="47"/>
                </a:lnTo>
                <a:lnTo>
                  <a:pt x="218" y="57"/>
                </a:lnTo>
                <a:lnTo>
                  <a:pt x="227" y="66"/>
                </a:lnTo>
                <a:lnTo>
                  <a:pt x="234" y="76"/>
                </a:lnTo>
                <a:lnTo>
                  <a:pt x="240" y="85"/>
                </a:lnTo>
                <a:lnTo>
                  <a:pt x="245" y="94"/>
                </a:lnTo>
                <a:lnTo>
                  <a:pt x="250" y="103"/>
                </a:lnTo>
                <a:lnTo>
                  <a:pt x="252" y="111"/>
                </a:lnTo>
                <a:lnTo>
                  <a:pt x="253" y="117"/>
                </a:lnTo>
                <a:lnTo>
                  <a:pt x="252" y="128"/>
                </a:lnTo>
                <a:lnTo>
                  <a:pt x="248" y="140"/>
                </a:lnTo>
                <a:lnTo>
                  <a:pt x="243" y="151"/>
                </a:lnTo>
                <a:lnTo>
                  <a:pt x="236" y="163"/>
                </a:lnTo>
                <a:lnTo>
                  <a:pt x="229" y="174"/>
                </a:lnTo>
                <a:lnTo>
                  <a:pt x="219" y="185"/>
                </a:lnTo>
                <a:lnTo>
                  <a:pt x="209" y="195"/>
                </a:lnTo>
                <a:lnTo>
                  <a:pt x="197" y="204"/>
                </a:lnTo>
                <a:lnTo>
                  <a:pt x="184" y="214"/>
                </a:lnTo>
                <a:lnTo>
                  <a:pt x="171" y="222"/>
                </a:lnTo>
                <a:lnTo>
                  <a:pt x="157" y="229"/>
                </a:lnTo>
                <a:lnTo>
                  <a:pt x="143" y="235"/>
                </a:lnTo>
                <a:lnTo>
                  <a:pt x="129" y="240"/>
                </a:lnTo>
                <a:lnTo>
                  <a:pt x="115" y="243"/>
                </a:lnTo>
                <a:lnTo>
                  <a:pt x="100" y="245"/>
                </a:lnTo>
                <a:lnTo>
                  <a:pt x="86" y="246"/>
                </a:lnTo>
                <a:lnTo>
                  <a:pt x="74" y="245"/>
                </a:lnTo>
                <a:lnTo>
                  <a:pt x="64" y="243"/>
                </a:lnTo>
                <a:lnTo>
                  <a:pt x="53" y="240"/>
                </a:lnTo>
                <a:lnTo>
                  <a:pt x="43" y="237"/>
                </a:lnTo>
                <a:lnTo>
                  <a:pt x="33" y="234"/>
                </a:lnTo>
                <a:lnTo>
                  <a:pt x="22" y="231"/>
                </a:lnTo>
                <a:lnTo>
                  <a:pt x="11" y="229"/>
                </a:lnTo>
                <a:lnTo>
                  <a:pt x="0" y="228"/>
                </a:lnTo>
                <a:lnTo>
                  <a:pt x="3" y="219"/>
                </a:lnTo>
                <a:lnTo>
                  <a:pt x="6" y="212"/>
                </a:lnTo>
                <a:lnTo>
                  <a:pt x="10" y="205"/>
                </a:lnTo>
                <a:lnTo>
                  <a:pt x="16" y="200"/>
                </a:lnTo>
                <a:lnTo>
                  <a:pt x="22" y="196"/>
                </a:lnTo>
                <a:lnTo>
                  <a:pt x="29" y="193"/>
                </a:lnTo>
                <a:lnTo>
                  <a:pt x="37" y="191"/>
                </a:lnTo>
                <a:lnTo>
                  <a:pt x="46" y="191"/>
                </a:lnTo>
                <a:lnTo>
                  <a:pt x="50" y="197"/>
                </a:lnTo>
                <a:lnTo>
                  <a:pt x="53" y="209"/>
                </a:lnTo>
                <a:lnTo>
                  <a:pt x="60" y="207"/>
                </a:lnTo>
                <a:lnTo>
                  <a:pt x="65" y="204"/>
                </a:lnTo>
                <a:lnTo>
                  <a:pt x="68" y="201"/>
                </a:lnTo>
                <a:lnTo>
                  <a:pt x="72" y="198"/>
                </a:lnTo>
                <a:lnTo>
                  <a:pt x="75" y="190"/>
                </a:lnTo>
                <a:lnTo>
                  <a:pt x="79" y="179"/>
                </a:lnTo>
                <a:lnTo>
                  <a:pt x="84" y="180"/>
                </a:lnTo>
                <a:lnTo>
                  <a:pt x="88" y="181"/>
                </a:lnTo>
                <a:lnTo>
                  <a:pt x="91" y="181"/>
                </a:lnTo>
                <a:lnTo>
                  <a:pt x="95" y="181"/>
                </a:lnTo>
                <a:lnTo>
                  <a:pt x="98" y="179"/>
                </a:lnTo>
                <a:lnTo>
                  <a:pt x="99" y="179"/>
                </a:lnTo>
                <a:lnTo>
                  <a:pt x="106" y="178"/>
                </a:lnTo>
                <a:lnTo>
                  <a:pt x="112" y="177"/>
                </a:lnTo>
                <a:lnTo>
                  <a:pt x="120" y="174"/>
                </a:lnTo>
                <a:lnTo>
                  <a:pt x="130" y="171"/>
                </a:lnTo>
                <a:lnTo>
                  <a:pt x="149" y="164"/>
                </a:lnTo>
                <a:lnTo>
                  <a:pt x="169" y="153"/>
                </a:lnTo>
                <a:lnTo>
                  <a:pt x="179" y="147"/>
                </a:lnTo>
                <a:lnTo>
                  <a:pt x="188" y="141"/>
                </a:lnTo>
                <a:lnTo>
                  <a:pt x="197" y="135"/>
                </a:lnTo>
                <a:lnTo>
                  <a:pt x="205" y="129"/>
                </a:lnTo>
                <a:lnTo>
                  <a:pt x="210" y="123"/>
                </a:lnTo>
                <a:lnTo>
                  <a:pt x="216" y="117"/>
                </a:lnTo>
                <a:lnTo>
                  <a:pt x="218" y="111"/>
                </a:lnTo>
                <a:lnTo>
                  <a:pt x="219" y="105"/>
                </a:lnTo>
                <a:lnTo>
                  <a:pt x="219" y="98"/>
                </a:lnTo>
                <a:lnTo>
                  <a:pt x="217" y="92"/>
                </a:lnTo>
                <a:lnTo>
                  <a:pt x="214" y="88"/>
                </a:lnTo>
                <a:lnTo>
                  <a:pt x="212" y="84"/>
                </a:lnTo>
                <a:lnTo>
                  <a:pt x="210" y="80"/>
                </a:lnTo>
                <a:lnTo>
                  <a:pt x="208" y="76"/>
                </a:lnTo>
                <a:lnTo>
                  <a:pt x="207" y="72"/>
                </a:lnTo>
                <a:lnTo>
                  <a:pt x="206" y="68"/>
                </a:lnTo>
                <a:lnTo>
                  <a:pt x="201" y="67"/>
                </a:lnTo>
                <a:lnTo>
                  <a:pt x="196" y="67"/>
                </a:lnTo>
                <a:lnTo>
                  <a:pt x="191" y="65"/>
                </a:lnTo>
                <a:lnTo>
                  <a:pt x="188" y="63"/>
                </a:lnTo>
                <a:lnTo>
                  <a:pt x="184" y="61"/>
                </a:lnTo>
                <a:lnTo>
                  <a:pt x="182" y="57"/>
                </a:lnTo>
                <a:lnTo>
                  <a:pt x="180" y="54"/>
                </a:lnTo>
                <a:lnTo>
                  <a:pt x="179" y="49"/>
                </a:lnTo>
                <a:lnTo>
                  <a:pt x="140" y="49"/>
                </a:lnTo>
                <a:lnTo>
                  <a:pt x="138" y="47"/>
                </a:lnTo>
                <a:lnTo>
                  <a:pt x="136" y="44"/>
                </a:lnTo>
                <a:lnTo>
                  <a:pt x="136" y="39"/>
                </a:lnTo>
                <a:lnTo>
                  <a:pt x="136" y="36"/>
                </a:lnTo>
                <a:lnTo>
                  <a:pt x="139" y="27"/>
                </a:lnTo>
                <a:lnTo>
                  <a:pt x="140" y="18"/>
                </a:lnTo>
                <a:lnTo>
                  <a:pt x="124" y="14"/>
                </a:lnTo>
                <a:lnTo>
                  <a:pt x="110" y="11"/>
                </a:lnTo>
                <a:lnTo>
                  <a:pt x="104" y="11"/>
                </a:lnTo>
                <a:lnTo>
                  <a:pt x="97" y="12"/>
                </a:lnTo>
                <a:lnTo>
                  <a:pt x="91" y="15"/>
                </a:lnTo>
                <a:lnTo>
                  <a:pt x="86" y="18"/>
                </a:lnTo>
                <a:lnTo>
                  <a:pt x="96" y="10"/>
                </a:lnTo>
                <a:lnTo>
                  <a:pt x="104" y="5"/>
                </a:lnTo>
                <a:lnTo>
                  <a:pt x="108" y="3"/>
                </a:lnTo>
                <a:lnTo>
                  <a:pt x="113" y="1"/>
                </a:lnTo>
                <a:lnTo>
                  <a:pt x="119" y="0"/>
                </a:lnTo>
                <a:lnTo>
                  <a:pt x="12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329" name="Freeform 281"/>
          <p:cNvSpPr>
            <a:spLocks/>
          </p:cNvSpPr>
          <p:nvPr>
            <p:custDataLst>
              <p:tags r:id="rId208"/>
            </p:custDataLst>
          </p:nvPr>
        </p:nvSpPr>
        <p:spPr bwMode="auto">
          <a:xfrm>
            <a:off x="5995988" y="2512228"/>
            <a:ext cx="63500" cy="89297"/>
          </a:xfrm>
          <a:custGeom>
            <a:avLst/>
            <a:gdLst/>
            <a:ahLst/>
            <a:cxnLst>
              <a:cxn ang="0">
                <a:pos x="41" y="228"/>
              </a:cxn>
              <a:cxn ang="0">
                <a:pos x="36" y="220"/>
              </a:cxn>
              <a:cxn ang="0">
                <a:pos x="29" y="208"/>
              </a:cxn>
              <a:cxn ang="0">
                <a:pos x="22" y="194"/>
              </a:cxn>
              <a:cxn ang="0">
                <a:pos x="16" y="178"/>
              </a:cxn>
              <a:cxn ang="0">
                <a:pos x="10" y="163"/>
              </a:cxn>
              <a:cxn ang="0">
                <a:pos x="5" y="148"/>
              </a:cxn>
              <a:cxn ang="0">
                <a:pos x="2" y="135"/>
              </a:cxn>
              <a:cxn ang="0">
                <a:pos x="0" y="123"/>
              </a:cxn>
              <a:cxn ang="0">
                <a:pos x="2" y="104"/>
              </a:cxn>
              <a:cxn ang="0">
                <a:pos x="4" y="87"/>
              </a:cxn>
              <a:cxn ang="0">
                <a:pos x="6" y="70"/>
              </a:cxn>
              <a:cxn ang="0">
                <a:pos x="9" y="55"/>
              </a:cxn>
              <a:cxn ang="0">
                <a:pos x="18" y="28"/>
              </a:cxn>
              <a:cxn ang="0">
                <a:pos x="28" y="0"/>
              </a:cxn>
              <a:cxn ang="0">
                <a:pos x="45" y="16"/>
              </a:cxn>
              <a:cxn ang="0">
                <a:pos x="62" y="28"/>
              </a:cxn>
              <a:cxn ang="0">
                <a:pos x="76" y="37"/>
              </a:cxn>
              <a:cxn ang="0">
                <a:pos x="89" y="48"/>
              </a:cxn>
              <a:cxn ang="0">
                <a:pos x="95" y="55"/>
              </a:cxn>
              <a:cxn ang="0">
                <a:pos x="101" y="63"/>
              </a:cxn>
              <a:cxn ang="0">
                <a:pos x="107" y="74"/>
              </a:cxn>
              <a:cxn ang="0">
                <a:pos x="114" y="86"/>
              </a:cxn>
              <a:cxn ang="0">
                <a:pos x="120" y="100"/>
              </a:cxn>
              <a:cxn ang="0">
                <a:pos x="127" y="117"/>
              </a:cxn>
              <a:cxn ang="0">
                <a:pos x="133" y="138"/>
              </a:cxn>
              <a:cxn ang="0">
                <a:pos x="141" y="161"/>
              </a:cxn>
              <a:cxn ang="0">
                <a:pos x="140" y="169"/>
              </a:cxn>
              <a:cxn ang="0">
                <a:pos x="138" y="177"/>
              </a:cxn>
              <a:cxn ang="0">
                <a:pos x="135" y="186"/>
              </a:cxn>
              <a:cxn ang="0">
                <a:pos x="131" y="192"/>
              </a:cxn>
              <a:cxn ang="0">
                <a:pos x="127" y="199"/>
              </a:cxn>
              <a:cxn ang="0">
                <a:pos x="121" y="204"/>
              </a:cxn>
              <a:cxn ang="0">
                <a:pos x="115" y="209"/>
              </a:cxn>
              <a:cxn ang="0">
                <a:pos x="108" y="213"/>
              </a:cxn>
              <a:cxn ang="0">
                <a:pos x="100" y="217"/>
              </a:cxn>
              <a:cxn ang="0">
                <a:pos x="93" y="220"/>
              </a:cxn>
              <a:cxn ang="0">
                <a:pos x="85" y="223"/>
              </a:cxn>
              <a:cxn ang="0">
                <a:pos x="76" y="225"/>
              </a:cxn>
              <a:cxn ang="0">
                <a:pos x="59" y="227"/>
              </a:cxn>
              <a:cxn ang="0">
                <a:pos x="41" y="228"/>
              </a:cxn>
            </a:cxnLst>
            <a:rect l="0" t="0" r="r" b="b"/>
            <a:pathLst>
              <a:path w="141" h="228">
                <a:moveTo>
                  <a:pt x="41" y="228"/>
                </a:moveTo>
                <a:lnTo>
                  <a:pt x="36" y="220"/>
                </a:lnTo>
                <a:lnTo>
                  <a:pt x="29" y="208"/>
                </a:lnTo>
                <a:lnTo>
                  <a:pt x="22" y="194"/>
                </a:lnTo>
                <a:lnTo>
                  <a:pt x="16" y="178"/>
                </a:lnTo>
                <a:lnTo>
                  <a:pt x="10" y="163"/>
                </a:lnTo>
                <a:lnTo>
                  <a:pt x="5" y="148"/>
                </a:lnTo>
                <a:lnTo>
                  <a:pt x="2" y="135"/>
                </a:lnTo>
                <a:lnTo>
                  <a:pt x="0" y="123"/>
                </a:lnTo>
                <a:lnTo>
                  <a:pt x="2" y="104"/>
                </a:lnTo>
                <a:lnTo>
                  <a:pt x="4" y="87"/>
                </a:lnTo>
                <a:lnTo>
                  <a:pt x="6" y="70"/>
                </a:lnTo>
                <a:lnTo>
                  <a:pt x="9" y="55"/>
                </a:lnTo>
                <a:lnTo>
                  <a:pt x="18" y="28"/>
                </a:lnTo>
                <a:lnTo>
                  <a:pt x="28" y="0"/>
                </a:lnTo>
                <a:lnTo>
                  <a:pt x="45" y="16"/>
                </a:lnTo>
                <a:lnTo>
                  <a:pt x="62" y="28"/>
                </a:lnTo>
                <a:lnTo>
                  <a:pt x="76" y="37"/>
                </a:lnTo>
                <a:lnTo>
                  <a:pt x="89" y="48"/>
                </a:lnTo>
                <a:lnTo>
                  <a:pt x="95" y="55"/>
                </a:lnTo>
                <a:lnTo>
                  <a:pt x="101" y="63"/>
                </a:lnTo>
                <a:lnTo>
                  <a:pt x="107" y="74"/>
                </a:lnTo>
                <a:lnTo>
                  <a:pt x="114" y="86"/>
                </a:lnTo>
                <a:lnTo>
                  <a:pt x="120" y="100"/>
                </a:lnTo>
                <a:lnTo>
                  <a:pt x="127" y="117"/>
                </a:lnTo>
                <a:lnTo>
                  <a:pt x="133" y="138"/>
                </a:lnTo>
                <a:lnTo>
                  <a:pt x="141" y="161"/>
                </a:lnTo>
                <a:lnTo>
                  <a:pt x="140" y="169"/>
                </a:lnTo>
                <a:lnTo>
                  <a:pt x="138" y="177"/>
                </a:lnTo>
                <a:lnTo>
                  <a:pt x="135" y="186"/>
                </a:lnTo>
                <a:lnTo>
                  <a:pt x="131" y="192"/>
                </a:lnTo>
                <a:lnTo>
                  <a:pt x="127" y="199"/>
                </a:lnTo>
                <a:lnTo>
                  <a:pt x="121" y="204"/>
                </a:lnTo>
                <a:lnTo>
                  <a:pt x="115" y="209"/>
                </a:lnTo>
                <a:lnTo>
                  <a:pt x="108" y="213"/>
                </a:lnTo>
                <a:lnTo>
                  <a:pt x="100" y="217"/>
                </a:lnTo>
                <a:lnTo>
                  <a:pt x="93" y="220"/>
                </a:lnTo>
                <a:lnTo>
                  <a:pt x="85" y="223"/>
                </a:lnTo>
                <a:lnTo>
                  <a:pt x="76" y="225"/>
                </a:lnTo>
                <a:lnTo>
                  <a:pt x="59" y="227"/>
                </a:lnTo>
                <a:lnTo>
                  <a:pt x="41" y="22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grpSp>
        <p:nvGrpSpPr>
          <p:cNvPr id="10" name="Group 282"/>
          <p:cNvGrpSpPr>
            <a:grpSpLocks/>
          </p:cNvGrpSpPr>
          <p:nvPr>
            <p:custDataLst>
              <p:tags r:id="rId209"/>
            </p:custDataLst>
          </p:nvPr>
        </p:nvGrpSpPr>
        <p:grpSpPr bwMode="auto">
          <a:xfrm>
            <a:off x="6935788" y="2295528"/>
            <a:ext cx="233362" cy="329804"/>
            <a:chOff x="5062" y="2295"/>
            <a:chExt cx="177" cy="279"/>
          </a:xfrm>
        </p:grpSpPr>
        <p:sp>
          <p:nvSpPr>
            <p:cNvPr id="2331" name="Freeform 283"/>
            <p:cNvSpPr>
              <a:spLocks/>
            </p:cNvSpPr>
            <p:nvPr/>
          </p:nvSpPr>
          <p:spPr bwMode="auto">
            <a:xfrm>
              <a:off x="5154" y="2449"/>
              <a:ext cx="19" cy="37"/>
            </a:xfrm>
            <a:custGeom>
              <a:avLst/>
              <a:gdLst/>
              <a:ahLst/>
              <a:cxnLst>
                <a:cxn ang="0">
                  <a:pos x="39" y="110"/>
                </a:cxn>
                <a:cxn ang="0">
                  <a:pos x="42" y="109"/>
                </a:cxn>
                <a:cxn ang="0">
                  <a:pos x="46" y="106"/>
                </a:cxn>
                <a:cxn ang="0">
                  <a:pos x="49" y="101"/>
                </a:cxn>
                <a:cxn ang="0">
                  <a:pos x="52" y="96"/>
                </a:cxn>
                <a:cxn ang="0">
                  <a:pos x="54" y="90"/>
                </a:cxn>
                <a:cxn ang="0">
                  <a:pos x="57" y="84"/>
                </a:cxn>
                <a:cxn ang="0">
                  <a:pos x="59" y="78"/>
                </a:cxn>
                <a:cxn ang="0">
                  <a:pos x="60" y="73"/>
                </a:cxn>
                <a:cxn ang="0">
                  <a:pos x="59" y="60"/>
                </a:cxn>
                <a:cxn ang="0">
                  <a:pos x="58" y="48"/>
                </a:cxn>
                <a:cxn ang="0">
                  <a:pos x="57" y="38"/>
                </a:cxn>
                <a:cxn ang="0">
                  <a:pos x="54" y="29"/>
                </a:cxn>
                <a:cxn ang="0">
                  <a:pos x="51" y="21"/>
                </a:cxn>
                <a:cxn ang="0">
                  <a:pos x="48" y="13"/>
                </a:cxn>
                <a:cxn ang="0">
                  <a:pos x="45" y="6"/>
                </a:cxn>
                <a:cxn ang="0">
                  <a:pos x="39" y="0"/>
                </a:cxn>
                <a:cxn ang="0">
                  <a:pos x="35" y="3"/>
                </a:cxn>
                <a:cxn ang="0">
                  <a:pos x="30" y="8"/>
                </a:cxn>
                <a:cxn ang="0">
                  <a:pos x="27" y="13"/>
                </a:cxn>
                <a:cxn ang="0">
                  <a:pos x="24" y="18"/>
                </a:cxn>
                <a:cxn ang="0">
                  <a:pos x="18" y="29"/>
                </a:cxn>
                <a:cxn ang="0">
                  <a:pos x="15" y="40"/>
                </a:cxn>
                <a:cxn ang="0">
                  <a:pos x="10" y="51"/>
                </a:cxn>
                <a:cxn ang="0">
                  <a:pos x="7" y="62"/>
                </a:cxn>
                <a:cxn ang="0">
                  <a:pos x="6" y="66"/>
                </a:cxn>
                <a:cxn ang="0">
                  <a:pos x="4" y="69"/>
                </a:cxn>
                <a:cxn ang="0">
                  <a:pos x="2" y="72"/>
                </a:cxn>
                <a:cxn ang="0">
                  <a:pos x="0" y="73"/>
                </a:cxn>
                <a:cxn ang="0">
                  <a:pos x="1" y="78"/>
                </a:cxn>
                <a:cxn ang="0">
                  <a:pos x="3" y="84"/>
                </a:cxn>
                <a:cxn ang="0">
                  <a:pos x="7" y="90"/>
                </a:cxn>
                <a:cxn ang="0">
                  <a:pos x="12" y="96"/>
                </a:cxn>
                <a:cxn ang="0">
                  <a:pos x="18" y="101"/>
                </a:cxn>
                <a:cxn ang="0">
                  <a:pos x="25" y="106"/>
                </a:cxn>
                <a:cxn ang="0">
                  <a:pos x="32" y="109"/>
                </a:cxn>
                <a:cxn ang="0">
                  <a:pos x="39" y="110"/>
                </a:cxn>
              </a:cxnLst>
              <a:rect l="0" t="0" r="r" b="b"/>
              <a:pathLst>
                <a:path w="60" h="110">
                  <a:moveTo>
                    <a:pt x="39" y="110"/>
                  </a:moveTo>
                  <a:lnTo>
                    <a:pt x="42" y="109"/>
                  </a:lnTo>
                  <a:lnTo>
                    <a:pt x="46" y="106"/>
                  </a:lnTo>
                  <a:lnTo>
                    <a:pt x="49" y="101"/>
                  </a:lnTo>
                  <a:lnTo>
                    <a:pt x="52" y="96"/>
                  </a:lnTo>
                  <a:lnTo>
                    <a:pt x="54" y="90"/>
                  </a:lnTo>
                  <a:lnTo>
                    <a:pt x="57" y="84"/>
                  </a:lnTo>
                  <a:lnTo>
                    <a:pt x="59" y="78"/>
                  </a:lnTo>
                  <a:lnTo>
                    <a:pt x="60" y="73"/>
                  </a:lnTo>
                  <a:lnTo>
                    <a:pt x="59" y="60"/>
                  </a:lnTo>
                  <a:lnTo>
                    <a:pt x="58" y="48"/>
                  </a:lnTo>
                  <a:lnTo>
                    <a:pt x="57" y="38"/>
                  </a:lnTo>
                  <a:lnTo>
                    <a:pt x="54" y="29"/>
                  </a:lnTo>
                  <a:lnTo>
                    <a:pt x="51" y="21"/>
                  </a:lnTo>
                  <a:lnTo>
                    <a:pt x="48" y="13"/>
                  </a:lnTo>
                  <a:lnTo>
                    <a:pt x="45" y="6"/>
                  </a:lnTo>
                  <a:lnTo>
                    <a:pt x="39" y="0"/>
                  </a:lnTo>
                  <a:lnTo>
                    <a:pt x="35" y="3"/>
                  </a:lnTo>
                  <a:lnTo>
                    <a:pt x="30" y="8"/>
                  </a:lnTo>
                  <a:lnTo>
                    <a:pt x="27" y="13"/>
                  </a:lnTo>
                  <a:lnTo>
                    <a:pt x="24" y="18"/>
                  </a:lnTo>
                  <a:lnTo>
                    <a:pt x="18" y="29"/>
                  </a:lnTo>
                  <a:lnTo>
                    <a:pt x="15" y="40"/>
                  </a:lnTo>
                  <a:lnTo>
                    <a:pt x="10" y="51"/>
                  </a:lnTo>
                  <a:lnTo>
                    <a:pt x="7" y="62"/>
                  </a:lnTo>
                  <a:lnTo>
                    <a:pt x="6" y="66"/>
                  </a:lnTo>
                  <a:lnTo>
                    <a:pt x="4" y="69"/>
                  </a:lnTo>
                  <a:lnTo>
                    <a:pt x="2" y="72"/>
                  </a:lnTo>
                  <a:lnTo>
                    <a:pt x="0" y="73"/>
                  </a:lnTo>
                  <a:lnTo>
                    <a:pt x="1" y="78"/>
                  </a:lnTo>
                  <a:lnTo>
                    <a:pt x="3" y="84"/>
                  </a:lnTo>
                  <a:lnTo>
                    <a:pt x="7" y="90"/>
                  </a:lnTo>
                  <a:lnTo>
                    <a:pt x="12" y="96"/>
                  </a:lnTo>
                  <a:lnTo>
                    <a:pt x="18" y="101"/>
                  </a:lnTo>
                  <a:lnTo>
                    <a:pt x="25" y="106"/>
                  </a:lnTo>
                  <a:lnTo>
                    <a:pt x="32" y="109"/>
                  </a:lnTo>
                  <a:lnTo>
                    <a:pt x="39" y="11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332" name="Freeform 284"/>
            <p:cNvSpPr>
              <a:spLocks/>
            </p:cNvSpPr>
            <p:nvPr/>
          </p:nvSpPr>
          <p:spPr bwMode="auto">
            <a:xfrm>
              <a:off x="5189" y="2422"/>
              <a:ext cx="24" cy="25"/>
            </a:xfrm>
            <a:custGeom>
              <a:avLst/>
              <a:gdLst/>
              <a:ahLst/>
              <a:cxnLst>
                <a:cxn ang="0">
                  <a:pos x="0" y="13"/>
                </a:cxn>
                <a:cxn ang="0">
                  <a:pos x="8" y="18"/>
                </a:cxn>
                <a:cxn ang="0">
                  <a:pos x="15" y="25"/>
                </a:cxn>
                <a:cxn ang="0">
                  <a:pos x="23" y="32"/>
                </a:cxn>
                <a:cxn ang="0">
                  <a:pos x="31" y="40"/>
                </a:cxn>
                <a:cxn ang="0">
                  <a:pos x="37" y="48"/>
                </a:cxn>
                <a:cxn ang="0">
                  <a:pos x="42" y="57"/>
                </a:cxn>
                <a:cxn ang="0">
                  <a:pos x="45" y="65"/>
                </a:cxn>
                <a:cxn ang="0">
                  <a:pos x="46" y="75"/>
                </a:cxn>
                <a:cxn ang="0">
                  <a:pos x="72" y="75"/>
                </a:cxn>
                <a:cxn ang="0">
                  <a:pos x="65" y="50"/>
                </a:cxn>
                <a:cxn ang="0">
                  <a:pos x="60" y="34"/>
                </a:cxn>
                <a:cxn ang="0">
                  <a:pos x="60" y="27"/>
                </a:cxn>
                <a:cxn ang="0">
                  <a:pos x="63" y="19"/>
                </a:cxn>
                <a:cxn ang="0">
                  <a:pos x="67" y="11"/>
                </a:cxn>
                <a:cxn ang="0">
                  <a:pos x="72" y="1"/>
                </a:cxn>
                <a:cxn ang="0">
                  <a:pos x="52" y="0"/>
                </a:cxn>
                <a:cxn ang="0">
                  <a:pos x="32" y="0"/>
                </a:cxn>
                <a:cxn ang="0">
                  <a:pos x="22" y="1"/>
                </a:cxn>
                <a:cxn ang="0">
                  <a:pos x="13" y="3"/>
                </a:cxn>
                <a:cxn ang="0">
                  <a:pos x="9" y="5"/>
                </a:cxn>
                <a:cxn ang="0">
                  <a:pos x="6" y="7"/>
                </a:cxn>
                <a:cxn ang="0">
                  <a:pos x="2" y="10"/>
                </a:cxn>
                <a:cxn ang="0">
                  <a:pos x="0" y="13"/>
                </a:cxn>
              </a:cxnLst>
              <a:rect l="0" t="0" r="r" b="b"/>
              <a:pathLst>
                <a:path w="72" h="75">
                  <a:moveTo>
                    <a:pt x="0" y="13"/>
                  </a:moveTo>
                  <a:lnTo>
                    <a:pt x="8" y="18"/>
                  </a:lnTo>
                  <a:lnTo>
                    <a:pt x="15" y="25"/>
                  </a:lnTo>
                  <a:lnTo>
                    <a:pt x="23" y="32"/>
                  </a:lnTo>
                  <a:lnTo>
                    <a:pt x="31" y="40"/>
                  </a:lnTo>
                  <a:lnTo>
                    <a:pt x="37" y="48"/>
                  </a:lnTo>
                  <a:lnTo>
                    <a:pt x="42" y="57"/>
                  </a:lnTo>
                  <a:lnTo>
                    <a:pt x="45" y="65"/>
                  </a:lnTo>
                  <a:lnTo>
                    <a:pt x="46" y="75"/>
                  </a:lnTo>
                  <a:lnTo>
                    <a:pt x="72" y="75"/>
                  </a:lnTo>
                  <a:lnTo>
                    <a:pt x="65" y="50"/>
                  </a:lnTo>
                  <a:lnTo>
                    <a:pt x="60" y="34"/>
                  </a:lnTo>
                  <a:lnTo>
                    <a:pt x="60" y="27"/>
                  </a:lnTo>
                  <a:lnTo>
                    <a:pt x="63" y="19"/>
                  </a:lnTo>
                  <a:lnTo>
                    <a:pt x="67" y="11"/>
                  </a:lnTo>
                  <a:lnTo>
                    <a:pt x="72" y="1"/>
                  </a:lnTo>
                  <a:lnTo>
                    <a:pt x="52" y="0"/>
                  </a:lnTo>
                  <a:lnTo>
                    <a:pt x="32" y="0"/>
                  </a:lnTo>
                  <a:lnTo>
                    <a:pt x="22" y="1"/>
                  </a:lnTo>
                  <a:lnTo>
                    <a:pt x="13" y="3"/>
                  </a:lnTo>
                  <a:lnTo>
                    <a:pt x="9" y="5"/>
                  </a:lnTo>
                  <a:lnTo>
                    <a:pt x="6" y="7"/>
                  </a:lnTo>
                  <a:lnTo>
                    <a:pt x="2" y="10"/>
                  </a:lnTo>
                  <a:lnTo>
                    <a:pt x="0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333" name="Freeform 285"/>
            <p:cNvSpPr>
              <a:spLocks/>
            </p:cNvSpPr>
            <p:nvPr/>
          </p:nvSpPr>
          <p:spPr bwMode="auto">
            <a:xfrm>
              <a:off x="5160" y="2389"/>
              <a:ext cx="5" cy="16"/>
            </a:xfrm>
            <a:custGeom>
              <a:avLst/>
              <a:gdLst/>
              <a:ahLst/>
              <a:cxnLst>
                <a:cxn ang="0">
                  <a:pos x="15" y="49"/>
                </a:cxn>
                <a:cxn ang="0">
                  <a:pos x="15" y="33"/>
                </a:cxn>
                <a:cxn ang="0">
                  <a:pos x="15" y="19"/>
                </a:cxn>
                <a:cxn ang="0">
                  <a:pos x="14" y="13"/>
                </a:cxn>
                <a:cxn ang="0">
                  <a:pos x="13" y="7"/>
                </a:cxn>
                <a:cxn ang="0">
                  <a:pos x="11" y="3"/>
                </a:cxn>
                <a:cxn ang="0">
                  <a:pos x="9" y="0"/>
                </a:cxn>
                <a:cxn ang="0">
                  <a:pos x="4" y="7"/>
                </a:cxn>
                <a:cxn ang="0">
                  <a:pos x="2" y="15"/>
                </a:cxn>
                <a:cxn ang="0">
                  <a:pos x="0" y="23"/>
                </a:cxn>
                <a:cxn ang="0">
                  <a:pos x="0" y="30"/>
                </a:cxn>
                <a:cxn ang="0">
                  <a:pos x="1" y="36"/>
                </a:cxn>
                <a:cxn ang="0">
                  <a:pos x="4" y="42"/>
                </a:cxn>
                <a:cxn ang="0">
                  <a:pos x="7" y="44"/>
                </a:cxn>
                <a:cxn ang="0">
                  <a:pos x="9" y="46"/>
                </a:cxn>
                <a:cxn ang="0">
                  <a:pos x="12" y="48"/>
                </a:cxn>
                <a:cxn ang="0">
                  <a:pos x="15" y="49"/>
                </a:cxn>
              </a:cxnLst>
              <a:rect l="0" t="0" r="r" b="b"/>
              <a:pathLst>
                <a:path w="15" h="49">
                  <a:moveTo>
                    <a:pt x="15" y="49"/>
                  </a:moveTo>
                  <a:lnTo>
                    <a:pt x="15" y="33"/>
                  </a:lnTo>
                  <a:lnTo>
                    <a:pt x="15" y="19"/>
                  </a:lnTo>
                  <a:lnTo>
                    <a:pt x="14" y="13"/>
                  </a:lnTo>
                  <a:lnTo>
                    <a:pt x="13" y="7"/>
                  </a:lnTo>
                  <a:lnTo>
                    <a:pt x="11" y="3"/>
                  </a:lnTo>
                  <a:lnTo>
                    <a:pt x="9" y="0"/>
                  </a:lnTo>
                  <a:lnTo>
                    <a:pt x="4" y="7"/>
                  </a:lnTo>
                  <a:lnTo>
                    <a:pt x="2" y="15"/>
                  </a:lnTo>
                  <a:lnTo>
                    <a:pt x="0" y="23"/>
                  </a:lnTo>
                  <a:lnTo>
                    <a:pt x="0" y="30"/>
                  </a:lnTo>
                  <a:lnTo>
                    <a:pt x="1" y="36"/>
                  </a:lnTo>
                  <a:lnTo>
                    <a:pt x="4" y="42"/>
                  </a:lnTo>
                  <a:lnTo>
                    <a:pt x="7" y="44"/>
                  </a:lnTo>
                  <a:lnTo>
                    <a:pt x="9" y="46"/>
                  </a:lnTo>
                  <a:lnTo>
                    <a:pt x="12" y="48"/>
                  </a:lnTo>
                  <a:lnTo>
                    <a:pt x="15" y="4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334" name="Freeform 286"/>
            <p:cNvSpPr>
              <a:spLocks/>
            </p:cNvSpPr>
            <p:nvPr/>
          </p:nvSpPr>
          <p:spPr bwMode="auto">
            <a:xfrm>
              <a:off x="5139" y="2387"/>
              <a:ext cx="15" cy="13"/>
            </a:xfrm>
            <a:custGeom>
              <a:avLst/>
              <a:gdLst/>
              <a:ahLst/>
              <a:cxnLst>
                <a:cxn ang="0">
                  <a:pos x="20" y="6"/>
                </a:cxn>
                <a:cxn ang="0">
                  <a:pos x="0" y="37"/>
                </a:cxn>
                <a:cxn ang="0">
                  <a:pos x="6" y="39"/>
                </a:cxn>
                <a:cxn ang="0">
                  <a:pos x="12" y="40"/>
                </a:cxn>
                <a:cxn ang="0">
                  <a:pos x="19" y="39"/>
                </a:cxn>
                <a:cxn ang="0">
                  <a:pos x="26" y="38"/>
                </a:cxn>
                <a:cxn ang="0">
                  <a:pos x="32" y="36"/>
                </a:cxn>
                <a:cxn ang="0">
                  <a:pos x="39" y="33"/>
                </a:cxn>
                <a:cxn ang="0">
                  <a:pos x="43" y="30"/>
                </a:cxn>
                <a:cxn ang="0">
                  <a:pos x="47" y="25"/>
                </a:cxn>
                <a:cxn ang="0">
                  <a:pos x="47" y="0"/>
                </a:cxn>
                <a:cxn ang="0">
                  <a:pos x="41" y="0"/>
                </a:cxn>
                <a:cxn ang="0">
                  <a:pos x="33" y="1"/>
                </a:cxn>
                <a:cxn ang="0">
                  <a:pos x="26" y="3"/>
                </a:cxn>
                <a:cxn ang="0">
                  <a:pos x="20" y="6"/>
                </a:cxn>
              </a:cxnLst>
              <a:rect l="0" t="0" r="r" b="b"/>
              <a:pathLst>
                <a:path w="47" h="40">
                  <a:moveTo>
                    <a:pt x="20" y="6"/>
                  </a:moveTo>
                  <a:lnTo>
                    <a:pt x="0" y="37"/>
                  </a:lnTo>
                  <a:lnTo>
                    <a:pt x="6" y="39"/>
                  </a:lnTo>
                  <a:lnTo>
                    <a:pt x="12" y="40"/>
                  </a:lnTo>
                  <a:lnTo>
                    <a:pt x="19" y="39"/>
                  </a:lnTo>
                  <a:lnTo>
                    <a:pt x="26" y="38"/>
                  </a:lnTo>
                  <a:lnTo>
                    <a:pt x="32" y="36"/>
                  </a:lnTo>
                  <a:lnTo>
                    <a:pt x="39" y="33"/>
                  </a:lnTo>
                  <a:lnTo>
                    <a:pt x="43" y="30"/>
                  </a:lnTo>
                  <a:lnTo>
                    <a:pt x="47" y="25"/>
                  </a:lnTo>
                  <a:lnTo>
                    <a:pt x="47" y="0"/>
                  </a:lnTo>
                  <a:lnTo>
                    <a:pt x="41" y="0"/>
                  </a:lnTo>
                  <a:lnTo>
                    <a:pt x="33" y="1"/>
                  </a:lnTo>
                  <a:lnTo>
                    <a:pt x="26" y="3"/>
                  </a:lnTo>
                  <a:lnTo>
                    <a:pt x="2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335" name="Freeform 287"/>
            <p:cNvSpPr>
              <a:spLocks/>
            </p:cNvSpPr>
            <p:nvPr/>
          </p:nvSpPr>
          <p:spPr bwMode="auto">
            <a:xfrm>
              <a:off x="5184" y="2465"/>
              <a:ext cx="13" cy="1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" y="8"/>
                </a:cxn>
                <a:cxn ang="0">
                  <a:pos x="6" y="13"/>
                </a:cxn>
                <a:cxn ang="0">
                  <a:pos x="12" y="19"/>
                </a:cxn>
                <a:cxn ang="0">
                  <a:pos x="17" y="23"/>
                </a:cxn>
                <a:cxn ang="0">
                  <a:pos x="23" y="26"/>
                </a:cxn>
                <a:cxn ang="0">
                  <a:pos x="28" y="29"/>
                </a:cxn>
                <a:cxn ang="0">
                  <a:pos x="34" y="31"/>
                </a:cxn>
                <a:cxn ang="0">
                  <a:pos x="39" y="31"/>
                </a:cxn>
                <a:cxn ang="0">
                  <a:pos x="33" y="22"/>
                </a:cxn>
                <a:cxn ang="0">
                  <a:pos x="25" y="14"/>
                </a:cxn>
                <a:cxn ang="0">
                  <a:pos x="16" y="7"/>
                </a:cxn>
                <a:cxn ang="0">
                  <a:pos x="6" y="0"/>
                </a:cxn>
              </a:cxnLst>
              <a:rect l="0" t="0" r="r" b="b"/>
              <a:pathLst>
                <a:path w="39" h="31">
                  <a:moveTo>
                    <a:pt x="0" y="0"/>
                  </a:moveTo>
                  <a:lnTo>
                    <a:pt x="3" y="8"/>
                  </a:lnTo>
                  <a:lnTo>
                    <a:pt x="6" y="13"/>
                  </a:lnTo>
                  <a:lnTo>
                    <a:pt x="12" y="19"/>
                  </a:lnTo>
                  <a:lnTo>
                    <a:pt x="17" y="23"/>
                  </a:lnTo>
                  <a:lnTo>
                    <a:pt x="23" y="26"/>
                  </a:lnTo>
                  <a:lnTo>
                    <a:pt x="28" y="29"/>
                  </a:lnTo>
                  <a:lnTo>
                    <a:pt x="34" y="31"/>
                  </a:lnTo>
                  <a:lnTo>
                    <a:pt x="39" y="31"/>
                  </a:lnTo>
                  <a:lnTo>
                    <a:pt x="33" y="22"/>
                  </a:lnTo>
                  <a:lnTo>
                    <a:pt x="25" y="14"/>
                  </a:lnTo>
                  <a:lnTo>
                    <a:pt x="16" y="7"/>
                  </a:lnTo>
                  <a:lnTo>
                    <a:pt x="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336" name="Freeform 288"/>
            <p:cNvSpPr>
              <a:spLocks/>
            </p:cNvSpPr>
            <p:nvPr/>
          </p:nvSpPr>
          <p:spPr bwMode="auto">
            <a:xfrm>
              <a:off x="5172" y="2410"/>
              <a:ext cx="10" cy="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4" y="19"/>
                </a:cxn>
                <a:cxn ang="0">
                  <a:pos x="34" y="0"/>
                </a:cxn>
                <a:cxn ang="0">
                  <a:pos x="24" y="0"/>
                </a:cxn>
                <a:cxn ang="0">
                  <a:pos x="14" y="0"/>
                </a:cxn>
                <a:cxn ang="0">
                  <a:pos x="7" y="0"/>
                </a:cxn>
                <a:cxn ang="0">
                  <a:pos x="0" y="0"/>
                </a:cxn>
              </a:cxnLst>
              <a:rect l="0" t="0" r="r" b="b"/>
              <a:pathLst>
                <a:path w="34" h="19">
                  <a:moveTo>
                    <a:pt x="0" y="0"/>
                  </a:moveTo>
                  <a:lnTo>
                    <a:pt x="34" y="19"/>
                  </a:lnTo>
                  <a:lnTo>
                    <a:pt x="34" y="0"/>
                  </a:lnTo>
                  <a:lnTo>
                    <a:pt x="24" y="0"/>
                  </a:lnTo>
                  <a:lnTo>
                    <a:pt x="14" y="0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337" name="Freeform 289"/>
            <p:cNvSpPr>
              <a:spLocks/>
            </p:cNvSpPr>
            <p:nvPr/>
          </p:nvSpPr>
          <p:spPr bwMode="auto">
            <a:xfrm>
              <a:off x="5180" y="2471"/>
              <a:ext cx="6" cy="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9" y="12"/>
                </a:cxn>
                <a:cxn ang="0">
                  <a:pos x="13" y="6"/>
                </a:cxn>
                <a:cxn ang="0">
                  <a:pos x="6" y="6"/>
                </a:cxn>
              </a:cxnLst>
              <a:rect l="0" t="0" r="r" b="b"/>
              <a:pathLst>
                <a:path w="19" h="12">
                  <a:moveTo>
                    <a:pt x="0" y="0"/>
                  </a:moveTo>
                  <a:lnTo>
                    <a:pt x="19" y="12"/>
                  </a:lnTo>
                  <a:lnTo>
                    <a:pt x="13" y="6"/>
                  </a:lnTo>
                  <a:lnTo>
                    <a:pt x="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338" name="Freeform 290"/>
            <p:cNvSpPr>
              <a:spLocks/>
            </p:cNvSpPr>
            <p:nvPr/>
          </p:nvSpPr>
          <p:spPr bwMode="auto">
            <a:xfrm>
              <a:off x="5062" y="2447"/>
              <a:ext cx="42" cy="55"/>
            </a:xfrm>
            <a:custGeom>
              <a:avLst/>
              <a:gdLst/>
              <a:ahLst/>
              <a:cxnLst>
                <a:cxn ang="0">
                  <a:pos x="113" y="0"/>
                </a:cxn>
                <a:cxn ang="0">
                  <a:pos x="117" y="5"/>
                </a:cxn>
                <a:cxn ang="0">
                  <a:pos x="121" y="10"/>
                </a:cxn>
                <a:cxn ang="0">
                  <a:pos x="124" y="13"/>
                </a:cxn>
                <a:cxn ang="0">
                  <a:pos x="125" y="17"/>
                </a:cxn>
                <a:cxn ang="0">
                  <a:pos x="126" y="20"/>
                </a:cxn>
                <a:cxn ang="0">
                  <a:pos x="126" y="25"/>
                </a:cxn>
                <a:cxn ang="0">
                  <a:pos x="123" y="32"/>
                </a:cxn>
                <a:cxn ang="0">
                  <a:pos x="118" y="41"/>
                </a:cxn>
                <a:cxn ang="0">
                  <a:pos x="113" y="50"/>
                </a:cxn>
                <a:cxn ang="0">
                  <a:pos x="106" y="61"/>
                </a:cxn>
                <a:cxn ang="0">
                  <a:pos x="91" y="83"/>
                </a:cxn>
                <a:cxn ang="0">
                  <a:pos x="72" y="104"/>
                </a:cxn>
                <a:cxn ang="0">
                  <a:pos x="53" y="126"/>
                </a:cxn>
                <a:cxn ang="0">
                  <a:pos x="34" y="144"/>
                </a:cxn>
                <a:cxn ang="0">
                  <a:pos x="25" y="152"/>
                </a:cxn>
                <a:cxn ang="0">
                  <a:pos x="16" y="158"/>
                </a:cxn>
                <a:cxn ang="0">
                  <a:pos x="7" y="163"/>
                </a:cxn>
                <a:cxn ang="0">
                  <a:pos x="0" y="166"/>
                </a:cxn>
                <a:cxn ang="0">
                  <a:pos x="0" y="160"/>
                </a:cxn>
                <a:cxn ang="0">
                  <a:pos x="0" y="153"/>
                </a:cxn>
                <a:cxn ang="0">
                  <a:pos x="0" y="145"/>
                </a:cxn>
                <a:cxn ang="0">
                  <a:pos x="0" y="136"/>
                </a:cxn>
                <a:cxn ang="0">
                  <a:pos x="3" y="131"/>
                </a:cxn>
                <a:cxn ang="0">
                  <a:pos x="6" y="128"/>
                </a:cxn>
                <a:cxn ang="0">
                  <a:pos x="12" y="124"/>
                </a:cxn>
                <a:cxn ang="0">
                  <a:pos x="16" y="121"/>
                </a:cxn>
                <a:cxn ang="0">
                  <a:pos x="26" y="116"/>
                </a:cxn>
                <a:cxn ang="0">
                  <a:pos x="33" y="110"/>
                </a:cxn>
                <a:cxn ang="0">
                  <a:pos x="40" y="104"/>
                </a:cxn>
                <a:cxn ang="0">
                  <a:pos x="48" y="96"/>
                </a:cxn>
                <a:cxn ang="0">
                  <a:pos x="53" y="89"/>
                </a:cxn>
                <a:cxn ang="0">
                  <a:pos x="58" y="82"/>
                </a:cxn>
                <a:cxn ang="0">
                  <a:pos x="67" y="66"/>
                </a:cxn>
                <a:cxn ang="0">
                  <a:pos x="72" y="50"/>
                </a:cxn>
                <a:cxn ang="0">
                  <a:pos x="79" y="36"/>
                </a:cxn>
                <a:cxn ang="0">
                  <a:pos x="87" y="23"/>
                </a:cxn>
                <a:cxn ang="0">
                  <a:pos x="92" y="16"/>
                </a:cxn>
                <a:cxn ang="0">
                  <a:pos x="97" y="11"/>
                </a:cxn>
                <a:cxn ang="0">
                  <a:pos x="104" y="5"/>
                </a:cxn>
                <a:cxn ang="0">
                  <a:pos x="113" y="0"/>
                </a:cxn>
              </a:cxnLst>
              <a:rect l="0" t="0" r="r" b="b"/>
              <a:pathLst>
                <a:path w="126" h="166">
                  <a:moveTo>
                    <a:pt x="113" y="0"/>
                  </a:moveTo>
                  <a:lnTo>
                    <a:pt x="117" y="5"/>
                  </a:lnTo>
                  <a:lnTo>
                    <a:pt x="121" y="10"/>
                  </a:lnTo>
                  <a:lnTo>
                    <a:pt x="124" y="13"/>
                  </a:lnTo>
                  <a:lnTo>
                    <a:pt x="125" y="17"/>
                  </a:lnTo>
                  <a:lnTo>
                    <a:pt x="126" y="20"/>
                  </a:lnTo>
                  <a:lnTo>
                    <a:pt x="126" y="25"/>
                  </a:lnTo>
                  <a:lnTo>
                    <a:pt x="123" y="32"/>
                  </a:lnTo>
                  <a:lnTo>
                    <a:pt x="118" y="41"/>
                  </a:lnTo>
                  <a:lnTo>
                    <a:pt x="113" y="50"/>
                  </a:lnTo>
                  <a:lnTo>
                    <a:pt x="106" y="61"/>
                  </a:lnTo>
                  <a:lnTo>
                    <a:pt x="91" y="83"/>
                  </a:lnTo>
                  <a:lnTo>
                    <a:pt x="72" y="104"/>
                  </a:lnTo>
                  <a:lnTo>
                    <a:pt x="53" y="126"/>
                  </a:lnTo>
                  <a:lnTo>
                    <a:pt x="34" y="144"/>
                  </a:lnTo>
                  <a:lnTo>
                    <a:pt x="25" y="152"/>
                  </a:lnTo>
                  <a:lnTo>
                    <a:pt x="16" y="158"/>
                  </a:lnTo>
                  <a:lnTo>
                    <a:pt x="7" y="163"/>
                  </a:lnTo>
                  <a:lnTo>
                    <a:pt x="0" y="166"/>
                  </a:lnTo>
                  <a:lnTo>
                    <a:pt x="0" y="160"/>
                  </a:lnTo>
                  <a:lnTo>
                    <a:pt x="0" y="153"/>
                  </a:lnTo>
                  <a:lnTo>
                    <a:pt x="0" y="145"/>
                  </a:lnTo>
                  <a:lnTo>
                    <a:pt x="0" y="136"/>
                  </a:lnTo>
                  <a:lnTo>
                    <a:pt x="3" y="131"/>
                  </a:lnTo>
                  <a:lnTo>
                    <a:pt x="6" y="128"/>
                  </a:lnTo>
                  <a:lnTo>
                    <a:pt x="12" y="124"/>
                  </a:lnTo>
                  <a:lnTo>
                    <a:pt x="16" y="121"/>
                  </a:lnTo>
                  <a:lnTo>
                    <a:pt x="26" y="116"/>
                  </a:lnTo>
                  <a:lnTo>
                    <a:pt x="33" y="110"/>
                  </a:lnTo>
                  <a:lnTo>
                    <a:pt x="40" y="104"/>
                  </a:lnTo>
                  <a:lnTo>
                    <a:pt x="48" y="96"/>
                  </a:lnTo>
                  <a:lnTo>
                    <a:pt x="53" y="89"/>
                  </a:lnTo>
                  <a:lnTo>
                    <a:pt x="58" y="82"/>
                  </a:lnTo>
                  <a:lnTo>
                    <a:pt x="67" y="66"/>
                  </a:lnTo>
                  <a:lnTo>
                    <a:pt x="72" y="50"/>
                  </a:lnTo>
                  <a:lnTo>
                    <a:pt x="79" y="36"/>
                  </a:lnTo>
                  <a:lnTo>
                    <a:pt x="87" y="23"/>
                  </a:lnTo>
                  <a:lnTo>
                    <a:pt x="92" y="16"/>
                  </a:lnTo>
                  <a:lnTo>
                    <a:pt x="97" y="11"/>
                  </a:lnTo>
                  <a:lnTo>
                    <a:pt x="104" y="5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339" name="Freeform 291"/>
            <p:cNvSpPr>
              <a:spLocks/>
            </p:cNvSpPr>
            <p:nvPr/>
          </p:nvSpPr>
          <p:spPr bwMode="auto">
            <a:xfrm>
              <a:off x="5154" y="2465"/>
              <a:ext cx="85" cy="86"/>
            </a:xfrm>
            <a:custGeom>
              <a:avLst/>
              <a:gdLst/>
              <a:ahLst/>
              <a:cxnLst>
                <a:cxn ang="0">
                  <a:pos x="8" y="182"/>
                </a:cxn>
                <a:cxn ang="0">
                  <a:pos x="1" y="163"/>
                </a:cxn>
                <a:cxn ang="0">
                  <a:pos x="0" y="142"/>
                </a:cxn>
                <a:cxn ang="0">
                  <a:pos x="6" y="130"/>
                </a:cxn>
                <a:cxn ang="0">
                  <a:pos x="19" y="126"/>
                </a:cxn>
                <a:cxn ang="0">
                  <a:pos x="34" y="117"/>
                </a:cxn>
                <a:cxn ang="0">
                  <a:pos x="48" y="100"/>
                </a:cxn>
                <a:cxn ang="0">
                  <a:pos x="60" y="91"/>
                </a:cxn>
                <a:cxn ang="0">
                  <a:pos x="68" y="87"/>
                </a:cxn>
                <a:cxn ang="0">
                  <a:pos x="83" y="87"/>
                </a:cxn>
                <a:cxn ang="0">
                  <a:pos x="94" y="93"/>
                </a:cxn>
                <a:cxn ang="0">
                  <a:pos x="101" y="105"/>
                </a:cxn>
                <a:cxn ang="0">
                  <a:pos x="108" y="110"/>
                </a:cxn>
                <a:cxn ang="0">
                  <a:pos x="120" y="110"/>
                </a:cxn>
                <a:cxn ang="0">
                  <a:pos x="135" y="104"/>
                </a:cxn>
                <a:cxn ang="0">
                  <a:pos x="148" y="93"/>
                </a:cxn>
                <a:cxn ang="0">
                  <a:pos x="160" y="78"/>
                </a:cxn>
                <a:cxn ang="0">
                  <a:pos x="174" y="51"/>
                </a:cxn>
                <a:cxn ang="0">
                  <a:pos x="188" y="16"/>
                </a:cxn>
                <a:cxn ang="0">
                  <a:pos x="195" y="4"/>
                </a:cxn>
                <a:cxn ang="0">
                  <a:pos x="202" y="12"/>
                </a:cxn>
                <a:cxn ang="0">
                  <a:pos x="213" y="18"/>
                </a:cxn>
                <a:cxn ang="0">
                  <a:pos x="219" y="32"/>
                </a:cxn>
                <a:cxn ang="0">
                  <a:pos x="219" y="52"/>
                </a:cxn>
                <a:cxn ang="0">
                  <a:pos x="227" y="61"/>
                </a:cxn>
                <a:cxn ang="0">
                  <a:pos x="234" y="70"/>
                </a:cxn>
                <a:cxn ang="0">
                  <a:pos x="234" y="88"/>
                </a:cxn>
                <a:cxn ang="0">
                  <a:pos x="234" y="104"/>
                </a:cxn>
                <a:cxn ang="0">
                  <a:pos x="237" y="110"/>
                </a:cxn>
                <a:cxn ang="0">
                  <a:pos x="243" y="121"/>
                </a:cxn>
                <a:cxn ang="0">
                  <a:pos x="249" y="137"/>
                </a:cxn>
                <a:cxn ang="0">
                  <a:pos x="254" y="161"/>
                </a:cxn>
                <a:cxn ang="0">
                  <a:pos x="245" y="235"/>
                </a:cxn>
                <a:cxn ang="0">
                  <a:pos x="239" y="222"/>
                </a:cxn>
                <a:cxn ang="0">
                  <a:pos x="237" y="208"/>
                </a:cxn>
                <a:cxn ang="0">
                  <a:pos x="239" y="192"/>
                </a:cxn>
                <a:cxn ang="0">
                  <a:pos x="222" y="188"/>
                </a:cxn>
                <a:cxn ang="0">
                  <a:pos x="206" y="179"/>
                </a:cxn>
                <a:cxn ang="0">
                  <a:pos x="194" y="199"/>
                </a:cxn>
                <a:cxn ang="0">
                  <a:pos x="188" y="219"/>
                </a:cxn>
                <a:cxn ang="0">
                  <a:pos x="185" y="259"/>
                </a:cxn>
                <a:cxn ang="0">
                  <a:pos x="124" y="242"/>
                </a:cxn>
                <a:cxn ang="0">
                  <a:pos x="110" y="220"/>
                </a:cxn>
                <a:cxn ang="0">
                  <a:pos x="99" y="209"/>
                </a:cxn>
                <a:cxn ang="0">
                  <a:pos x="97" y="196"/>
                </a:cxn>
                <a:cxn ang="0">
                  <a:pos x="105" y="186"/>
                </a:cxn>
                <a:cxn ang="0">
                  <a:pos x="112" y="180"/>
                </a:cxn>
                <a:cxn ang="0">
                  <a:pos x="117" y="173"/>
                </a:cxn>
                <a:cxn ang="0">
                  <a:pos x="93" y="154"/>
                </a:cxn>
                <a:cxn ang="0">
                  <a:pos x="28" y="155"/>
                </a:cxn>
                <a:cxn ang="0">
                  <a:pos x="20" y="163"/>
                </a:cxn>
                <a:cxn ang="0">
                  <a:pos x="16" y="175"/>
                </a:cxn>
                <a:cxn ang="0">
                  <a:pos x="13" y="187"/>
                </a:cxn>
              </a:cxnLst>
              <a:rect l="0" t="0" r="r" b="b"/>
              <a:pathLst>
                <a:path w="259" h="259">
                  <a:moveTo>
                    <a:pt x="13" y="192"/>
                  </a:moveTo>
                  <a:lnTo>
                    <a:pt x="8" y="182"/>
                  </a:lnTo>
                  <a:lnTo>
                    <a:pt x="4" y="173"/>
                  </a:lnTo>
                  <a:lnTo>
                    <a:pt x="1" y="163"/>
                  </a:lnTo>
                  <a:lnTo>
                    <a:pt x="0" y="154"/>
                  </a:lnTo>
                  <a:lnTo>
                    <a:pt x="0" y="142"/>
                  </a:lnTo>
                  <a:lnTo>
                    <a:pt x="0" y="130"/>
                  </a:lnTo>
                  <a:lnTo>
                    <a:pt x="6" y="130"/>
                  </a:lnTo>
                  <a:lnTo>
                    <a:pt x="13" y="128"/>
                  </a:lnTo>
                  <a:lnTo>
                    <a:pt x="19" y="126"/>
                  </a:lnTo>
                  <a:lnTo>
                    <a:pt x="24" y="123"/>
                  </a:lnTo>
                  <a:lnTo>
                    <a:pt x="34" y="117"/>
                  </a:lnTo>
                  <a:lnTo>
                    <a:pt x="41" y="108"/>
                  </a:lnTo>
                  <a:lnTo>
                    <a:pt x="48" y="100"/>
                  </a:lnTo>
                  <a:lnTo>
                    <a:pt x="56" y="93"/>
                  </a:lnTo>
                  <a:lnTo>
                    <a:pt x="60" y="91"/>
                  </a:lnTo>
                  <a:lnTo>
                    <a:pt x="63" y="89"/>
                  </a:lnTo>
                  <a:lnTo>
                    <a:pt x="68" y="87"/>
                  </a:lnTo>
                  <a:lnTo>
                    <a:pt x="73" y="87"/>
                  </a:lnTo>
                  <a:lnTo>
                    <a:pt x="83" y="87"/>
                  </a:lnTo>
                  <a:lnTo>
                    <a:pt x="93" y="87"/>
                  </a:lnTo>
                  <a:lnTo>
                    <a:pt x="94" y="93"/>
                  </a:lnTo>
                  <a:lnTo>
                    <a:pt x="97" y="101"/>
                  </a:lnTo>
                  <a:lnTo>
                    <a:pt x="101" y="105"/>
                  </a:lnTo>
                  <a:lnTo>
                    <a:pt x="104" y="108"/>
                  </a:lnTo>
                  <a:lnTo>
                    <a:pt x="108" y="110"/>
                  </a:lnTo>
                  <a:lnTo>
                    <a:pt x="113" y="111"/>
                  </a:lnTo>
                  <a:lnTo>
                    <a:pt x="120" y="110"/>
                  </a:lnTo>
                  <a:lnTo>
                    <a:pt x="127" y="108"/>
                  </a:lnTo>
                  <a:lnTo>
                    <a:pt x="135" y="104"/>
                  </a:lnTo>
                  <a:lnTo>
                    <a:pt x="141" y="99"/>
                  </a:lnTo>
                  <a:lnTo>
                    <a:pt x="148" y="93"/>
                  </a:lnTo>
                  <a:lnTo>
                    <a:pt x="153" y="86"/>
                  </a:lnTo>
                  <a:lnTo>
                    <a:pt x="160" y="78"/>
                  </a:lnTo>
                  <a:lnTo>
                    <a:pt x="165" y="70"/>
                  </a:lnTo>
                  <a:lnTo>
                    <a:pt x="174" y="51"/>
                  </a:lnTo>
                  <a:lnTo>
                    <a:pt x="183" y="33"/>
                  </a:lnTo>
                  <a:lnTo>
                    <a:pt x="188" y="16"/>
                  </a:lnTo>
                  <a:lnTo>
                    <a:pt x="193" y="0"/>
                  </a:lnTo>
                  <a:lnTo>
                    <a:pt x="195" y="4"/>
                  </a:lnTo>
                  <a:lnTo>
                    <a:pt x="198" y="9"/>
                  </a:lnTo>
                  <a:lnTo>
                    <a:pt x="202" y="12"/>
                  </a:lnTo>
                  <a:lnTo>
                    <a:pt x="206" y="15"/>
                  </a:lnTo>
                  <a:lnTo>
                    <a:pt x="213" y="18"/>
                  </a:lnTo>
                  <a:lnTo>
                    <a:pt x="219" y="19"/>
                  </a:lnTo>
                  <a:lnTo>
                    <a:pt x="219" y="32"/>
                  </a:lnTo>
                  <a:lnTo>
                    <a:pt x="219" y="44"/>
                  </a:lnTo>
                  <a:lnTo>
                    <a:pt x="219" y="52"/>
                  </a:lnTo>
                  <a:lnTo>
                    <a:pt x="219" y="55"/>
                  </a:lnTo>
                  <a:lnTo>
                    <a:pt x="227" y="61"/>
                  </a:lnTo>
                  <a:lnTo>
                    <a:pt x="231" y="66"/>
                  </a:lnTo>
                  <a:lnTo>
                    <a:pt x="234" y="70"/>
                  </a:lnTo>
                  <a:lnTo>
                    <a:pt x="239" y="75"/>
                  </a:lnTo>
                  <a:lnTo>
                    <a:pt x="234" y="88"/>
                  </a:lnTo>
                  <a:lnTo>
                    <a:pt x="233" y="100"/>
                  </a:lnTo>
                  <a:lnTo>
                    <a:pt x="234" y="104"/>
                  </a:lnTo>
                  <a:lnTo>
                    <a:pt x="234" y="108"/>
                  </a:lnTo>
                  <a:lnTo>
                    <a:pt x="237" y="110"/>
                  </a:lnTo>
                  <a:lnTo>
                    <a:pt x="239" y="111"/>
                  </a:lnTo>
                  <a:lnTo>
                    <a:pt x="243" y="121"/>
                  </a:lnTo>
                  <a:lnTo>
                    <a:pt x="247" y="129"/>
                  </a:lnTo>
                  <a:lnTo>
                    <a:pt x="249" y="137"/>
                  </a:lnTo>
                  <a:lnTo>
                    <a:pt x="251" y="145"/>
                  </a:lnTo>
                  <a:lnTo>
                    <a:pt x="254" y="161"/>
                  </a:lnTo>
                  <a:lnTo>
                    <a:pt x="259" y="179"/>
                  </a:lnTo>
                  <a:lnTo>
                    <a:pt x="245" y="235"/>
                  </a:lnTo>
                  <a:lnTo>
                    <a:pt x="241" y="230"/>
                  </a:lnTo>
                  <a:lnTo>
                    <a:pt x="239" y="222"/>
                  </a:lnTo>
                  <a:lnTo>
                    <a:pt x="238" y="215"/>
                  </a:lnTo>
                  <a:lnTo>
                    <a:pt x="237" y="208"/>
                  </a:lnTo>
                  <a:lnTo>
                    <a:pt x="238" y="196"/>
                  </a:lnTo>
                  <a:lnTo>
                    <a:pt x="239" y="192"/>
                  </a:lnTo>
                  <a:lnTo>
                    <a:pt x="231" y="191"/>
                  </a:lnTo>
                  <a:lnTo>
                    <a:pt x="222" y="188"/>
                  </a:lnTo>
                  <a:lnTo>
                    <a:pt x="213" y="184"/>
                  </a:lnTo>
                  <a:lnTo>
                    <a:pt x="206" y="179"/>
                  </a:lnTo>
                  <a:lnTo>
                    <a:pt x="199" y="189"/>
                  </a:lnTo>
                  <a:lnTo>
                    <a:pt x="194" y="199"/>
                  </a:lnTo>
                  <a:lnTo>
                    <a:pt x="191" y="209"/>
                  </a:lnTo>
                  <a:lnTo>
                    <a:pt x="188" y="219"/>
                  </a:lnTo>
                  <a:lnTo>
                    <a:pt x="186" y="240"/>
                  </a:lnTo>
                  <a:lnTo>
                    <a:pt x="185" y="259"/>
                  </a:lnTo>
                  <a:lnTo>
                    <a:pt x="132" y="259"/>
                  </a:lnTo>
                  <a:lnTo>
                    <a:pt x="124" y="242"/>
                  </a:lnTo>
                  <a:lnTo>
                    <a:pt x="115" y="226"/>
                  </a:lnTo>
                  <a:lnTo>
                    <a:pt x="110" y="220"/>
                  </a:lnTo>
                  <a:lnTo>
                    <a:pt x="105" y="214"/>
                  </a:lnTo>
                  <a:lnTo>
                    <a:pt x="99" y="209"/>
                  </a:lnTo>
                  <a:lnTo>
                    <a:pt x="93" y="204"/>
                  </a:lnTo>
                  <a:lnTo>
                    <a:pt x="97" y="196"/>
                  </a:lnTo>
                  <a:lnTo>
                    <a:pt x="102" y="190"/>
                  </a:lnTo>
                  <a:lnTo>
                    <a:pt x="105" y="186"/>
                  </a:lnTo>
                  <a:lnTo>
                    <a:pt x="108" y="183"/>
                  </a:lnTo>
                  <a:lnTo>
                    <a:pt x="112" y="180"/>
                  </a:lnTo>
                  <a:lnTo>
                    <a:pt x="114" y="177"/>
                  </a:lnTo>
                  <a:lnTo>
                    <a:pt x="117" y="173"/>
                  </a:lnTo>
                  <a:lnTo>
                    <a:pt x="119" y="166"/>
                  </a:lnTo>
                  <a:lnTo>
                    <a:pt x="93" y="154"/>
                  </a:lnTo>
                  <a:lnTo>
                    <a:pt x="32" y="154"/>
                  </a:lnTo>
                  <a:lnTo>
                    <a:pt x="28" y="155"/>
                  </a:lnTo>
                  <a:lnTo>
                    <a:pt x="24" y="158"/>
                  </a:lnTo>
                  <a:lnTo>
                    <a:pt x="20" y="163"/>
                  </a:lnTo>
                  <a:lnTo>
                    <a:pt x="18" y="168"/>
                  </a:lnTo>
                  <a:lnTo>
                    <a:pt x="16" y="175"/>
                  </a:lnTo>
                  <a:lnTo>
                    <a:pt x="14" y="181"/>
                  </a:lnTo>
                  <a:lnTo>
                    <a:pt x="13" y="187"/>
                  </a:lnTo>
                  <a:lnTo>
                    <a:pt x="13" y="19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340" name="Freeform 292"/>
            <p:cNvSpPr>
              <a:spLocks/>
            </p:cNvSpPr>
            <p:nvPr/>
          </p:nvSpPr>
          <p:spPr bwMode="auto">
            <a:xfrm>
              <a:off x="5104" y="2395"/>
              <a:ext cx="23" cy="31"/>
            </a:xfrm>
            <a:custGeom>
              <a:avLst/>
              <a:gdLst/>
              <a:ahLst/>
              <a:cxnLst>
                <a:cxn ang="0">
                  <a:pos x="72" y="43"/>
                </a:cxn>
                <a:cxn ang="0">
                  <a:pos x="72" y="92"/>
                </a:cxn>
                <a:cxn ang="0">
                  <a:pos x="65" y="86"/>
                </a:cxn>
                <a:cxn ang="0">
                  <a:pos x="58" y="81"/>
                </a:cxn>
                <a:cxn ang="0">
                  <a:pos x="51" y="75"/>
                </a:cxn>
                <a:cxn ang="0">
                  <a:pos x="46" y="69"/>
                </a:cxn>
                <a:cxn ang="0">
                  <a:pos x="38" y="58"/>
                </a:cxn>
                <a:cxn ang="0">
                  <a:pos x="32" y="46"/>
                </a:cxn>
                <a:cxn ang="0">
                  <a:pos x="25" y="34"/>
                </a:cxn>
                <a:cxn ang="0">
                  <a:pos x="19" y="23"/>
                </a:cxn>
                <a:cxn ang="0">
                  <a:pos x="11" y="12"/>
                </a:cxn>
                <a:cxn ang="0">
                  <a:pos x="0" y="0"/>
                </a:cxn>
                <a:cxn ang="0">
                  <a:pos x="25" y="12"/>
                </a:cxn>
                <a:cxn ang="0">
                  <a:pos x="44" y="21"/>
                </a:cxn>
                <a:cxn ang="0">
                  <a:pos x="51" y="26"/>
                </a:cxn>
                <a:cxn ang="0">
                  <a:pos x="58" y="31"/>
                </a:cxn>
                <a:cxn ang="0">
                  <a:pos x="66" y="36"/>
                </a:cxn>
                <a:cxn ang="0">
                  <a:pos x="72" y="43"/>
                </a:cxn>
              </a:cxnLst>
              <a:rect l="0" t="0" r="r" b="b"/>
              <a:pathLst>
                <a:path w="72" h="92">
                  <a:moveTo>
                    <a:pt x="72" y="43"/>
                  </a:moveTo>
                  <a:lnTo>
                    <a:pt x="72" y="92"/>
                  </a:lnTo>
                  <a:lnTo>
                    <a:pt x="65" y="86"/>
                  </a:lnTo>
                  <a:lnTo>
                    <a:pt x="58" y="81"/>
                  </a:lnTo>
                  <a:lnTo>
                    <a:pt x="51" y="75"/>
                  </a:lnTo>
                  <a:lnTo>
                    <a:pt x="46" y="69"/>
                  </a:lnTo>
                  <a:lnTo>
                    <a:pt x="38" y="58"/>
                  </a:lnTo>
                  <a:lnTo>
                    <a:pt x="32" y="46"/>
                  </a:lnTo>
                  <a:lnTo>
                    <a:pt x="25" y="34"/>
                  </a:lnTo>
                  <a:lnTo>
                    <a:pt x="19" y="23"/>
                  </a:lnTo>
                  <a:lnTo>
                    <a:pt x="11" y="12"/>
                  </a:lnTo>
                  <a:lnTo>
                    <a:pt x="0" y="0"/>
                  </a:lnTo>
                  <a:lnTo>
                    <a:pt x="25" y="12"/>
                  </a:lnTo>
                  <a:lnTo>
                    <a:pt x="44" y="21"/>
                  </a:lnTo>
                  <a:lnTo>
                    <a:pt x="51" y="26"/>
                  </a:lnTo>
                  <a:lnTo>
                    <a:pt x="58" y="31"/>
                  </a:lnTo>
                  <a:lnTo>
                    <a:pt x="66" y="36"/>
                  </a:lnTo>
                  <a:lnTo>
                    <a:pt x="72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341" name="Freeform 293"/>
            <p:cNvSpPr>
              <a:spLocks/>
            </p:cNvSpPr>
            <p:nvPr/>
          </p:nvSpPr>
          <p:spPr bwMode="auto">
            <a:xfrm>
              <a:off x="5143" y="2436"/>
              <a:ext cx="16" cy="21"/>
            </a:xfrm>
            <a:custGeom>
              <a:avLst/>
              <a:gdLst/>
              <a:ahLst/>
              <a:cxnLst>
                <a:cxn ang="0">
                  <a:pos x="6" y="6"/>
                </a:cxn>
                <a:cxn ang="0">
                  <a:pos x="19" y="5"/>
                </a:cxn>
                <a:cxn ang="0">
                  <a:pos x="31" y="3"/>
                </a:cxn>
                <a:cxn ang="0">
                  <a:pos x="39" y="1"/>
                </a:cxn>
                <a:cxn ang="0">
                  <a:pos x="46" y="0"/>
                </a:cxn>
                <a:cxn ang="0">
                  <a:pos x="46" y="9"/>
                </a:cxn>
                <a:cxn ang="0">
                  <a:pos x="46" y="18"/>
                </a:cxn>
                <a:cxn ang="0">
                  <a:pos x="46" y="27"/>
                </a:cxn>
                <a:cxn ang="0">
                  <a:pos x="46" y="38"/>
                </a:cxn>
                <a:cxn ang="0">
                  <a:pos x="45" y="46"/>
                </a:cxn>
                <a:cxn ang="0">
                  <a:pos x="41" y="54"/>
                </a:cxn>
                <a:cxn ang="0">
                  <a:pos x="39" y="57"/>
                </a:cxn>
                <a:cxn ang="0">
                  <a:pos x="37" y="60"/>
                </a:cxn>
                <a:cxn ang="0">
                  <a:pos x="35" y="61"/>
                </a:cxn>
                <a:cxn ang="0">
                  <a:pos x="33" y="62"/>
                </a:cxn>
                <a:cxn ang="0">
                  <a:pos x="27" y="61"/>
                </a:cxn>
                <a:cxn ang="0">
                  <a:pos x="22" y="60"/>
                </a:cxn>
                <a:cxn ang="0">
                  <a:pos x="17" y="59"/>
                </a:cxn>
                <a:cxn ang="0">
                  <a:pos x="14" y="57"/>
                </a:cxn>
                <a:cxn ang="0">
                  <a:pos x="11" y="54"/>
                </a:cxn>
                <a:cxn ang="0">
                  <a:pos x="7" y="51"/>
                </a:cxn>
                <a:cxn ang="0">
                  <a:pos x="5" y="47"/>
                </a:cxn>
                <a:cxn ang="0">
                  <a:pos x="4" y="44"/>
                </a:cxn>
                <a:cxn ang="0">
                  <a:pos x="1" y="34"/>
                </a:cxn>
                <a:cxn ang="0">
                  <a:pos x="0" y="25"/>
                </a:cxn>
                <a:cxn ang="0">
                  <a:pos x="0" y="16"/>
                </a:cxn>
                <a:cxn ang="0">
                  <a:pos x="0" y="6"/>
                </a:cxn>
                <a:cxn ang="0">
                  <a:pos x="6" y="6"/>
                </a:cxn>
              </a:cxnLst>
              <a:rect l="0" t="0" r="r" b="b"/>
              <a:pathLst>
                <a:path w="46" h="62">
                  <a:moveTo>
                    <a:pt x="6" y="6"/>
                  </a:moveTo>
                  <a:lnTo>
                    <a:pt x="19" y="5"/>
                  </a:lnTo>
                  <a:lnTo>
                    <a:pt x="31" y="3"/>
                  </a:lnTo>
                  <a:lnTo>
                    <a:pt x="39" y="1"/>
                  </a:lnTo>
                  <a:lnTo>
                    <a:pt x="46" y="0"/>
                  </a:lnTo>
                  <a:lnTo>
                    <a:pt x="46" y="9"/>
                  </a:lnTo>
                  <a:lnTo>
                    <a:pt x="46" y="18"/>
                  </a:lnTo>
                  <a:lnTo>
                    <a:pt x="46" y="27"/>
                  </a:lnTo>
                  <a:lnTo>
                    <a:pt x="46" y="38"/>
                  </a:lnTo>
                  <a:lnTo>
                    <a:pt x="45" y="46"/>
                  </a:lnTo>
                  <a:lnTo>
                    <a:pt x="41" y="54"/>
                  </a:lnTo>
                  <a:lnTo>
                    <a:pt x="39" y="57"/>
                  </a:lnTo>
                  <a:lnTo>
                    <a:pt x="37" y="60"/>
                  </a:lnTo>
                  <a:lnTo>
                    <a:pt x="35" y="61"/>
                  </a:lnTo>
                  <a:lnTo>
                    <a:pt x="33" y="62"/>
                  </a:lnTo>
                  <a:lnTo>
                    <a:pt x="27" y="61"/>
                  </a:lnTo>
                  <a:lnTo>
                    <a:pt x="22" y="60"/>
                  </a:lnTo>
                  <a:lnTo>
                    <a:pt x="17" y="59"/>
                  </a:lnTo>
                  <a:lnTo>
                    <a:pt x="14" y="57"/>
                  </a:lnTo>
                  <a:lnTo>
                    <a:pt x="11" y="54"/>
                  </a:lnTo>
                  <a:lnTo>
                    <a:pt x="7" y="51"/>
                  </a:lnTo>
                  <a:lnTo>
                    <a:pt x="5" y="47"/>
                  </a:lnTo>
                  <a:lnTo>
                    <a:pt x="4" y="44"/>
                  </a:lnTo>
                  <a:lnTo>
                    <a:pt x="1" y="34"/>
                  </a:lnTo>
                  <a:lnTo>
                    <a:pt x="0" y="25"/>
                  </a:lnTo>
                  <a:lnTo>
                    <a:pt x="0" y="16"/>
                  </a:lnTo>
                  <a:lnTo>
                    <a:pt x="0" y="6"/>
                  </a:lnTo>
                  <a:lnTo>
                    <a:pt x="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342" name="Freeform 294"/>
            <p:cNvSpPr>
              <a:spLocks/>
            </p:cNvSpPr>
            <p:nvPr/>
          </p:nvSpPr>
          <p:spPr bwMode="auto">
            <a:xfrm>
              <a:off x="5089" y="2295"/>
              <a:ext cx="50" cy="98"/>
            </a:xfrm>
            <a:custGeom>
              <a:avLst/>
              <a:gdLst/>
              <a:ahLst/>
              <a:cxnLst>
                <a:cxn ang="0">
                  <a:pos x="59" y="0"/>
                </a:cxn>
                <a:cxn ang="0">
                  <a:pos x="66" y="9"/>
                </a:cxn>
                <a:cxn ang="0">
                  <a:pos x="77" y="17"/>
                </a:cxn>
                <a:cxn ang="0">
                  <a:pos x="88" y="23"/>
                </a:cxn>
                <a:cxn ang="0">
                  <a:pos x="99" y="25"/>
                </a:cxn>
                <a:cxn ang="0">
                  <a:pos x="108" y="21"/>
                </a:cxn>
                <a:cxn ang="0">
                  <a:pos x="118" y="12"/>
                </a:cxn>
                <a:cxn ang="0">
                  <a:pos x="122" y="35"/>
                </a:cxn>
                <a:cxn ang="0">
                  <a:pos x="130" y="62"/>
                </a:cxn>
                <a:cxn ang="0">
                  <a:pos x="141" y="86"/>
                </a:cxn>
                <a:cxn ang="0">
                  <a:pos x="147" y="94"/>
                </a:cxn>
                <a:cxn ang="0">
                  <a:pos x="152" y="99"/>
                </a:cxn>
                <a:cxn ang="0">
                  <a:pos x="143" y="120"/>
                </a:cxn>
                <a:cxn ang="0">
                  <a:pos x="129" y="140"/>
                </a:cxn>
                <a:cxn ang="0">
                  <a:pos x="117" y="157"/>
                </a:cxn>
                <a:cxn ang="0">
                  <a:pos x="112" y="172"/>
                </a:cxn>
                <a:cxn ang="0">
                  <a:pos x="115" y="197"/>
                </a:cxn>
                <a:cxn ang="0">
                  <a:pos x="115" y="205"/>
                </a:cxn>
                <a:cxn ang="0">
                  <a:pos x="112" y="216"/>
                </a:cxn>
                <a:cxn ang="0">
                  <a:pos x="126" y="216"/>
                </a:cxn>
                <a:cxn ang="0">
                  <a:pos x="146" y="216"/>
                </a:cxn>
                <a:cxn ang="0">
                  <a:pos x="136" y="252"/>
                </a:cxn>
                <a:cxn ang="0">
                  <a:pos x="136" y="267"/>
                </a:cxn>
                <a:cxn ang="0">
                  <a:pos x="146" y="283"/>
                </a:cxn>
                <a:cxn ang="0">
                  <a:pos x="125" y="291"/>
                </a:cxn>
                <a:cxn ang="0">
                  <a:pos x="105" y="296"/>
                </a:cxn>
                <a:cxn ang="0">
                  <a:pos x="85" y="294"/>
                </a:cxn>
                <a:cxn ang="0">
                  <a:pos x="73" y="288"/>
                </a:cxn>
                <a:cxn ang="0">
                  <a:pos x="67" y="280"/>
                </a:cxn>
                <a:cxn ang="0">
                  <a:pos x="66" y="271"/>
                </a:cxn>
                <a:cxn ang="0">
                  <a:pos x="85" y="253"/>
                </a:cxn>
                <a:cxn ang="0">
                  <a:pos x="69" y="249"/>
                </a:cxn>
                <a:cxn ang="0">
                  <a:pos x="52" y="242"/>
                </a:cxn>
                <a:cxn ang="0">
                  <a:pos x="38" y="231"/>
                </a:cxn>
                <a:cxn ang="0">
                  <a:pos x="25" y="219"/>
                </a:cxn>
                <a:cxn ang="0">
                  <a:pos x="14" y="205"/>
                </a:cxn>
                <a:cxn ang="0">
                  <a:pos x="6" y="190"/>
                </a:cxn>
                <a:cxn ang="0">
                  <a:pos x="1" y="172"/>
                </a:cxn>
                <a:cxn ang="0">
                  <a:pos x="0" y="154"/>
                </a:cxn>
                <a:cxn ang="0">
                  <a:pos x="0" y="130"/>
                </a:cxn>
                <a:cxn ang="0">
                  <a:pos x="27" y="106"/>
                </a:cxn>
                <a:cxn ang="0">
                  <a:pos x="32" y="46"/>
                </a:cxn>
                <a:cxn ang="0">
                  <a:pos x="31" y="18"/>
                </a:cxn>
                <a:cxn ang="0">
                  <a:pos x="28" y="4"/>
                </a:cxn>
              </a:cxnLst>
              <a:rect l="0" t="0" r="r" b="b"/>
              <a:pathLst>
                <a:path w="152" h="296">
                  <a:moveTo>
                    <a:pt x="26" y="0"/>
                  </a:moveTo>
                  <a:lnTo>
                    <a:pt x="59" y="0"/>
                  </a:lnTo>
                  <a:lnTo>
                    <a:pt x="62" y="4"/>
                  </a:lnTo>
                  <a:lnTo>
                    <a:pt x="66" y="9"/>
                  </a:lnTo>
                  <a:lnTo>
                    <a:pt x="71" y="13"/>
                  </a:lnTo>
                  <a:lnTo>
                    <a:pt x="77" y="17"/>
                  </a:lnTo>
                  <a:lnTo>
                    <a:pt x="82" y="21"/>
                  </a:lnTo>
                  <a:lnTo>
                    <a:pt x="88" y="23"/>
                  </a:lnTo>
                  <a:lnTo>
                    <a:pt x="93" y="24"/>
                  </a:lnTo>
                  <a:lnTo>
                    <a:pt x="99" y="25"/>
                  </a:lnTo>
                  <a:lnTo>
                    <a:pt x="104" y="24"/>
                  </a:lnTo>
                  <a:lnTo>
                    <a:pt x="108" y="21"/>
                  </a:lnTo>
                  <a:lnTo>
                    <a:pt x="114" y="17"/>
                  </a:lnTo>
                  <a:lnTo>
                    <a:pt x="118" y="12"/>
                  </a:lnTo>
                  <a:lnTo>
                    <a:pt x="119" y="23"/>
                  </a:lnTo>
                  <a:lnTo>
                    <a:pt x="122" y="35"/>
                  </a:lnTo>
                  <a:lnTo>
                    <a:pt x="126" y="49"/>
                  </a:lnTo>
                  <a:lnTo>
                    <a:pt x="130" y="62"/>
                  </a:lnTo>
                  <a:lnTo>
                    <a:pt x="136" y="76"/>
                  </a:lnTo>
                  <a:lnTo>
                    <a:pt x="141" y="86"/>
                  </a:lnTo>
                  <a:lnTo>
                    <a:pt x="144" y="91"/>
                  </a:lnTo>
                  <a:lnTo>
                    <a:pt x="147" y="94"/>
                  </a:lnTo>
                  <a:lnTo>
                    <a:pt x="149" y="97"/>
                  </a:lnTo>
                  <a:lnTo>
                    <a:pt x="152" y="99"/>
                  </a:lnTo>
                  <a:lnTo>
                    <a:pt x="148" y="110"/>
                  </a:lnTo>
                  <a:lnTo>
                    <a:pt x="143" y="120"/>
                  </a:lnTo>
                  <a:lnTo>
                    <a:pt x="137" y="131"/>
                  </a:lnTo>
                  <a:lnTo>
                    <a:pt x="129" y="140"/>
                  </a:lnTo>
                  <a:lnTo>
                    <a:pt x="123" y="149"/>
                  </a:lnTo>
                  <a:lnTo>
                    <a:pt x="117" y="157"/>
                  </a:lnTo>
                  <a:lnTo>
                    <a:pt x="114" y="165"/>
                  </a:lnTo>
                  <a:lnTo>
                    <a:pt x="112" y="172"/>
                  </a:lnTo>
                  <a:lnTo>
                    <a:pt x="113" y="187"/>
                  </a:lnTo>
                  <a:lnTo>
                    <a:pt x="115" y="197"/>
                  </a:lnTo>
                  <a:lnTo>
                    <a:pt x="115" y="201"/>
                  </a:lnTo>
                  <a:lnTo>
                    <a:pt x="115" y="205"/>
                  </a:lnTo>
                  <a:lnTo>
                    <a:pt x="114" y="210"/>
                  </a:lnTo>
                  <a:lnTo>
                    <a:pt x="112" y="216"/>
                  </a:lnTo>
                  <a:lnTo>
                    <a:pt x="118" y="216"/>
                  </a:lnTo>
                  <a:lnTo>
                    <a:pt x="126" y="216"/>
                  </a:lnTo>
                  <a:lnTo>
                    <a:pt x="136" y="216"/>
                  </a:lnTo>
                  <a:lnTo>
                    <a:pt x="146" y="216"/>
                  </a:lnTo>
                  <a:lnTo>
                    <a:pt x="139" y="235"/>
                  </a:lnTo>
                  <a:lnTo>
                    <a:pt x="136" y="252"/>
                  </a:lnTo>
                  <a:lnTo>
                    <a:pt x="135" y="259"/>
                  </a:lnTo>
                  <a:lnTo>
                    <a:pt x="136" y="267"/>
                  </a:lnTo>
                  <a:lnTo>
                    <a:pt x="139" y="275"/>
                  </a:lnTo>
                  <a:lnTo>
                    <a:pt x="146" y="283"/>
                  </a:lnTo>
                  <a:lnTo>
                    <a:pt x="136" y="288"/>
                  </a:lnTo>
                  <a:lnTo>
                    <a:pt x="125" y="291"/>
                  </a:lnTo>
                  <a:lnTo>
                    <a:pt x="115" y="295"/>
                  </a:lnTo>
                  <a:lnTo>
                    <a:pt x="105" y="296"/>
                  </a:lnTo>
                  <a:lnTo>
                    <a:pt x="94" y="296"/>
                  </a:lnTo>
                  <a:lnTo>
                    <a:pt x="85" y="294"/>
                  </a:lnTo>
                  <a:lnTo>
                    <a:pt x="79" y="291"/>
                  </a:lnTo>
                  <a:lnTo>
                    <a:pt x="73" y="288"/>
                  </a:lnTo>
                  <a:lnTo>
                    <a:pt x="70" y="284"/>
                  </a:lnTo>
                  <a:lnTo>
                    <a:pt x="67" y="280"/>
                  </a:lnTo>
                  <a:lnTo>
                    <a:pt x="66" y="276"/>
                  </a:lnTo>
                  <a:lnTo>
                    <a:pt x="66" y="271"/>
                  </a:lnTo>
                  <a:lnTo>
                    <a:pt x="76" y="262"/>
                  </a:lnTo>
                  <a:lnTo>
                    <a:pt x="85" y="253"/>
                  </a:lnTo>
                  <a:lnTo>
                    <a:pt x="77" y="251"/>
                  </a:lnTo>
                  <a:lnTo>
                    <a:pt x="69" y="249"/>
                  </a:lnTo>
                  <a:lnTo>
                    <a:pt x="60" y="246"/>
                  </a:lnTo>
                  <a:lnTo>
                    <a:pt x="52" y="242"/>
                  </a:lnTo>
                  <a:lnTo>
                    <a:pt x="45" y="236"/>
                  </a:lnTo>
                  <a:lnTo>
                    <a:pt x="38" y="231"/>
                  </a:lnTo>
                  <a:lnTo>
                    <a:pt x="32" y="226"/>
                  </a:lnTo>
                  <a:lnTo>
                    <a:pt x="25" y="219"/>
                  </a:lnTo>
                  <a:lnTo>
                    <a:pt x="20" y="213"/>
                  </a:lnTo>
                  <a:lnTo>
                    <a:pt x="14" y="205"/>
                  </a:lnTo>
                  <a:lnTo>
                    <a:pt x="10" y="198"/>
                  </a:lnTo>
                  <a:lnTo>
                    <a:pt x="6" y="190"/>
                  </a:lnTo>
                  <a:lnTo>
                    <a:pt x="3" y="180"/>
                  </a:lnTo>
                  <a:lnTo>
                    <a:pt x="1" y="172"/>
                  </a:lnTo>
                  <a:lnTo>
                    <a:pt x="0" y="163"/>
                  </a:lnTo>
                  <a:lnTo>
                    <a:pt x="0" y="154"/>
                  </a:lnTo>
                  <a:lnTo>
                    <a:pt x="0" y="142"/>
                  </a:lnTo>
                  <a:lnTo>
                    <a:pt x="0" y="130"/>
                  </a:lnTo>
                  <a:lnTo>
                    <a:pt x="26" y="130"/>
                  </a:lnTo>
                  <a:lnTo>
                    <a:pt x="27" y="106"/>
                  </a:lnTo>
                  <a:lnTo>
                    <a:pt x="31" y="67"/>
                  </a:lnTo>
                  <a:lnTo>
                    <a:pt x="32" y="46"/>
                  </a:lnTo>
                  <a:lnTo>
                    <a:pt x="32" y="27"/>
                  </a:lnTo>
                  <a:lnTo>
                    <a:pt x="31" y="18"/>
                  </a:lnTo>
                  <a:lnTo>
                    <a:pt x="29" y="10"/>
                  </a:lnTo>
                  <a:lnTo>
                    <a:pt x="28" y="4"/>
                  </a:lnTo>
                  <a:lnTo>
                    <a:pt x="2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343" name="Freeform 295"/>
            <p:cNvSpPr>
              <a:spLocks/>
            </p:cNvSpPr>
            <p:nvPr/>
          </p:nvSpPr>
          <p:spPr bwMode="auto">
            <a:xfrm>
              <a:off x="5189" y="2442"/>
              <a:ext cx="8" cy="13"/>
            </a:xfrm>
            <a:custGeom>
              <a:avLst/>
              <a:gdLst/>
              <a:ahLst/>
              <a:cxnLst>
                <a:cxn ang="0">
                  <a:pos x="26" y="38"/>
                </a:cxn>
                <a:cxn ang="0">
                  <a:pos x="26" y="0"/>
                </a:cxn>
                <a:cxn ang="0">
                  <a:pos x="21" y="1"/>
                </a:cxn>
                <a:cxn ang="0">
                  <a:pos x="13" y="4"/>
                </a:cxn>
                <a:cxn ang="0">
                  <a:pos x="6" y="8"/>
                </a:cxn>
                <a:cxn ang="0">
                  <a:pos x="0" y="13"/>
                </a:cxn>
                <a:cxn ang="0">
                  <a:pos x="18" y="30"/>
                </a:cxn>
                <a:cxn ang="0">
                  <a:pos x="26" y="38"/>
                </a:cxn>
              </a:cxnLst>
              <a:rect l="0" t="0" r="r" b="b"/>
              <a:pathLst>
                <a:path w="26" h="38">
                  <a:moveTo>
                    <a:pt x="26" y="38"/>
                  </a:moveTo>
                  <a:lnTo>
                    <a:pt x="26" y="0"/>
                  </a:lnTo>
                  <a:lnTo>
                    <a:pt x="21" y="1"/>
                  </a:lnTo>
                  <a:lnTo>
                    <a:pt x="13" y="4"/>
                  </a:lnTo>
                  <a:lnTo>
                    <a:pt x="6" y="8"/>
                  </a:lnTo>
                  <a:lnTo>
                    <a:pt x="0" y="13"/>
                  </a:lnTo>
                  <a:lnTo>
                    <a:pt x="18" y="30"/>
                  </a:lnTo>
                  <a:lnTo>
                    <a:pt x="26" y="3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344" name="Freeform 296"/>
            <p:cNvSpPr>
              <a:spLocks/>
            </p:cNvSpPr>
            <p:nvPr/>
          </p:nvSpPr>
          <p:spPr bwMode="auto">
            <a:xfrm>
              <a:off x="5165" y="2420"/>
              <a:ext cx="10" cy="10"/>
            </a:xfrm>
            <a:custGeom>
              <a:avLst/>
              <a:gdLst/>
              <a:ahLst/>
              <a:cxnLst>
                <a:cxn ang="0">
                  <a:pos x="0" y="18"/>
                </a:cxn>
                <a:cxn ang="0">
                  <a:pos x="8" y="22"/>
                </a:cxn>
                <a:cxn ang="0">
                  <a:pos x="17" y="26"/>
                </a:cxn>
                <a:cxn ang="0">
                  <a:pos x="27" y="30"/>
                </a:cxn>
                <a:cxn ang="0">
                  <a:pos x="34" y="31"/>
                </a:cxn>
                <a:cxn ang="0">
                  <a:pos x="33" y="24"/>
                </a:cxn>
                <a:cxn ang="0">
                  <a:pos x="30" y="15"/>
                </a:cxn>
                <a:cxn ang="0">
                  <a:pos x="26" y="6"/>
                </a:cxn>
                <a:cxn ang="0">
                  <a:pos x="20" y="0"/>
                </a:cxn>
                <a:cxn ang="0">
                  <a:pos x="16" y="5"/>
                </a:cxn>
                <a:cxn ang="0">
                  <a:pos x="10" y="11"/>
                </a:cxn>
                <a:cxn ang="0">
                  <a:pos x="8" y="14"/>
                </a:cxn>
                <a:cxn ang="0">
                  <a:pos x="6" y="16"/>
                </a:cxn>
                <a:cxn ang="0">
                  <a:pos x="4" y="18"/>
                </a:cxn>
                <a:cxn ang="0">
                  <a:pos x="0" y="18"/>
                </a:cxn>
              </a:cxnLst>
              <a:rect l="0" t="0" r="r" b="b"/>
              <a:pathLst>
                <a:path w="34" h="31">
                  <a:moveTo>
                    <a:pt x="0" y="18"/>
                  </a:moveTo>
                  <a:lnTo>
                    <a:pt x="8" y="22"/>
                  </a:lnTo>
                  <a:lnTo>
                    <a:pt x="17" y="26"/>
                  </a:lnTo>
                  <a:lnTo>
                    <a:pt x="27" y="30"/>
                  </a:lnTo>
                  <a:lnTo>
                    <a:pt x="34" y="31"/>
                  </a:lnTo>
                  <a:lnTo>
                    <a:pt x="33" y="24"/>
                  </a:lnTo>
                  <a:lnTo>
                    <a:pt x="30" y="15"/>
                  </a:lnTo>
                  <a:lnTo>
                    <a:pt x="26" y="6"/>
                  </a:lnTo>
                  <a:lnTo>
                    <a:pt x="20" y="0"/>
                  </a:lnTo>
                  <a:lnTo>
                    <a:pt x="16" y="5"/>
                  </a:lnTo>
                  <a:lnTo>
                    <a:pt x="10" y="11"/>
                  </a:lnTo>
                  <a:lnTo>
                    <a:pt x="8" y="14"/>
                  </a:lnTo>
                  <a:lnTo>
                    <a:pt x="6" y="16"/>
                  </a:lnTo>
                  <a:lnTo>
                    <a:pt x="4" y="18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345" name="Freeform 297"/>
            <p:cNvSpPr>
              <a:spLocks/>
            </p:cNvSpPr>
            <p:nvPr/>
          </p:nvSpPr>
          <p:spPr bwMode="auto">
            <a:xfrm>
              <a:off x="5139" y="2418"/>
              <a:ext cx="6" cy="12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0" y="37"/>
                </a:cxn>
                <a:cxn ang="0">
                  <a:pos x="7" y="33"/>
                </a:cxn>
                <a:cxn ang="0">
                  <a:pos x="20" y="30"/>
                </a:cxn>
                <a:cxn ang="0">
                  <a:pos x="20" y="0"/>
                </a:cxn>
                <a:cxn ang="0">
                  <a:pos x="0" y="6"/>
                </a:cxn>
              </a:cxnLst>
              <a:rect l="0" t="0" r="r" b="b"/>
              <a:pathLst>
                <a:path w="20" h="37">
                  <a:moveTo>
                    <a:pt x="0" y="6"/>
                  </a:moveTo>
                  <a:lnTo>
                    <a:pt x="0" y="37"/>
                  </a:lnTo>
                  <a:lnTo>
                    <a:pt x="7" y="33"/>
                  </a:lnTo>
                  <a:lnTo>
                    <a:pt x="20" y="30"/>
                  </a:lnTo>
                  <a:lnTo>
                    <a:pt x="20" y="0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346" name="Line 298"/>
            <p:cNvSpPr>
              <a:spLocks noChangeShapeType="1"/>
            </p:cNvSpPr>
            <p:nvPr/>
          </p:nvSpPr>
          <p:spPr bwMode="auto">
            <a:xfrm>
              <a:off x="5180" y="2449"/>
              <a:ext cx="1" cy="1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347" name="Freeform 299"/>
            <p:cNvSpPr>
              <a:spLocks/>
            </p:cNvSpPr>
            <p:nvPr/>
          </p:nvSpPr>
          <p:spPr bwMode="auto">
            <a:xfrm>
              <a:off x="5180" y="2453"/>
              <a:ext cx="4" cy="6"/>
            </a:xfrm>
            <a:custGeom>
              <a:avLst/>
              <a:gdLst/>
              <a:ahLst/>
              <a:cxnLst>
                <a:cxn ang="0">
                  <a:pos x="0" y="18"/>
                </a:cxn>
                <a:cxn ang="0">
                  <a:pos x="1" y="13"/>
                </a:cxn>
                <a:cxn ang="0">
                  <a:pos x="3" y="9"/>
                </a:cxn>
                <a:cxn ang="0">
                  <a:pos x="7" y="4"/>
                </a:cxn>
                <a:cxn ang="0">
                  <a:pos x="13" y="0"/>
                </a:cxn>
              </a:cxnLst>
              <a:rect l="0" t="0" r="r" b="b"/>
              <a:pathLst>
                <a:path w="13" h="18">
                  <a:moveTo>
                    <a:pt x="0" y="18"/>
                  </a:moveTo>
                  <a:lnTo>
                    <a:pt x="1" y="13"/>
                  </a:lnTo>
                  <a:lnTo>
                    <a:pt x="3" y="9"/>
                  </a:lnTo>
                  <a:lnTo>
                    <a:pt x="7" y="4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348" name="Line 300"/>
            <p:cNvSpPr>
              <a:spLocks noChangeShapeType="1"/>
            </p:cNvSpPr>
            <p:nvPr/>
          </p:nvSpPr>
          <p:spPr bwMode="auto">
            <a:xfrm flipH="1" flipV="1">
              <a:off x="5178" y="2447"/>
              <a:ext cx="6" cy="6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349" name="Freeform 301"/>
            <p:cNvSpPr>
              <a:spLocks/>
            </p:cNvSpPr>
            <p:nvPr/>
          </p:nvSpPr>
          <p:spPr bwMode="auto">
            <a:xfrm>
              <a:off x="5116" y="2564"/>
              <a:ext cx="9" cy="1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0" y="31"/>
                </a:cxn>
                <a:cxn ang="0">
                  <a:pos x="27" y="13"/>
                </a:cxn>
              </a:cxnLst>
              <a:rect l="0" t="0" r="r" b="b"/>
              <a:pathLst>
                <a:path w="27" h="31">
                  <a:moveTo>
                    <a:pt x="0" y="0"/>
                  </a:moveTo>
                  <a:lnTo>
                    <a:pt x="20" y="31"/>
                  </a:lnTo>
                  <a:lnTo>
                    <a:pt x="27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350" name="Freeform 302"/>
            <p:cNvSpPr>
              <a:spLocks/>
            </p:cNvSpPr>
            <p:nvPr/>
          </p:nvSpPr>
          <p:spPr bwMode="auto">
            <a:xfrm>
              <a:off x="5119" y="2568"/>
              <a:ext cx="6" cy="1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10" y="0"/>
                </a:cxn>
                <a:cxn ang="0">
                  <a:pos x="0" y="0"/>
                </a:cxn>
              </a:cxnLst>
              <a:rect l="0" t="0" r="r" b="b"/>
              <a:pathLst>
                <a:path w="20">
                  <a:moveTo>
                    <a:pt x="20" y="0"/>
                  </a:move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351" name="Freeform 303"/>
            <p:cNvSpPr>
              <a:spLocks/>
            </p:cNvSpPr>
            <p:nvPr/>
          </p:nvSpPr>
          <p:spPr bwMode="auto">
            <a:xfrm>
              <a:off x="5127" y="2557"/>
              <a:ext cx="12" cy="5"/>
            </a:xfrm>
            <a:custGeom>
              <a:avLst/>
              <a:gdLst/>
              <a:ahLst/>
              <a:cxnLst>
                <a:cxn ang="0">
                  <a:pos x="0" y="13"/>
                </a:cxn>
                <a:cxn ang="0">
                  <a:pos x="6" y="13"/>
                </a:cxn>
                <a:cxn ang="0">
                  <a:pos x="10" y="11"/>
                </a:cxn>
                <a:cxn ang="0">
                  <a:pos x="16" y="10"/>
                </a:cxn>
                <a:cxn ang="0">
                  <a:pos x="20" y="7"/>
                </a:cxn>
                <a:cxn ang="0">
                  <a:pos x="28" y="2"/>
                </a:cxn>
                <a:cxn ang="0">
                  <a:pos x="34" y="0"/>
                </a:cxn>
                <a:cxn ang="0">
                  <a:pos x="25" y="0"/>
                </a:cxn>
                <a:cxn ang="0">
                  <a:pos x="15" y="0"/>
                </a:cxn>
              </a:cxnLst>
              <a:rect l="0" t="0" r="r" b="b"/>
              <a:pathLst>
                <a:path w="34" h="13">
                  <a:moveTo>
                    <a:pt x="0" y="13"/>
                  </a:moveTo>
                  <a:lnTo>
                    <a:pt x="6" y="13"/>
                  </a:lnTo>
                  <a:lnTo>
                    <a:pt x="10" y="11"/>
                  </a:lnTo>
                  <a:lnTo>
                    <a:pt x="16" y="10"/>
                  </a:lnTo>
                  <a:lnTo>
                    <a:pt x="20" y="7"/>
                  </a:lnTo>
                  <a:lnTo>
                    <a:pt x="28" y="2"/>
                  </a:lnTo>
                  <a:lnTo>
                    <a:pt x="34" y="0"/>
                  </a:lnTo>
                  <a:lnTo>
                    <a:pt x="25" y="0"/>
                  </a:lnTo>
                  <a:lnTo>
                    <a:pt x="15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352" name="Freeform 304"/>
            <p:cNvSpPr>
              <a:spLocks/>
            </p:cNvSpPr>
            <p:nvPr/>
          </p:nvSpPr>
          <p:spPr bwMode="auto">
            <a:xfrm>
              <a:off x="5127" y="2547"/>
              <a:ext cx="12" cy="6"/>
            </a:xfrm>
            <a:custGeom>
              <a:avLst/>
              <a:gdLst/>
              <a:ahLst/>
              <a:cxnLst>
                <a:cxn ang="0">
                  <a:pos x="34" y="18"/>
                </a:cxn>
                <a:cxn ang="0">
                  <a:pos x="34" y="0"/>
                </a:cxn>
                <a:cxn ang="0">
                  <a:pos x="28" y="0"/>
                </a:cxn>
                <a:cxn ang="0">
                  <a:pos x="20" y="0"/>
                </a:cxn>
                <a:cxn ang="0">
                  <a:pos x="10" y="0"/>
                </a:cxn>
                <a:cxn ang="0">
                  <a:pos x="0" y="0"/>
                </a:cxn>
                <a:cxn ang="0">
                  <a:pos x="34" y="18"/>
                </a:cxn>
              </a:cxnLst>
              <a:rect l="0" t="0" r="r" b="b"/>
              <a:pathLst>
                <a:path w="34" h="18">
                  <a:moveTo>
                    <a:pt x="34" y="18"/>
                  </a:moveTo>
                  <a:lnTo>
                    <a:pt x="34" y="0"/>
                  </a:lnTo>
                  <a:lnTo>
                    <a:pt x="28" y="0"/>
                  </a:lnTo>
                  <a:lnTo>
                    <a:pt x="20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34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353" name="Freeform 305"/>
            <p:cNvSpPr>
              <a:spLocks/>
            </p:cNvSpPr>
            <p:nvPr/>
          </p:nvSpPr>
          <p:spPr bwMode="auto">
            <a:xfrm>
              <a:off x="5141" y="2535"/>
              <a:ext cx="20" cy="8"/>
            </a:xfrm>
            <a:custGeom>
              <a:avLst/>
              <a:gdLst/>
              <a:ahLst/>
              <a:cxnLst>
                <a:cxn ang="0">
                  <a:pos x="53" y="25"/>
                </a:cxn>
                <a:cxn ang="0">
                  <a:pos x="56" y="12"/>
                </a:cxn>
                <a:cxn ang="0">
                  <a:pos x="59" y="0"/>
                </a:cxn>
                <a:cxn ang="0">
                  <a:pos x="44" y="0"/>
                </a:cxn>
                <a:cxn ang="0">
                  <a:pos x="27" y="0"/>
                </a:cxn>
                <a:cxn ang="0">
                  <a:pos x="19" y="1"/>
                </a:cxn>
                <a:cxn ang="0">
                  <a:pos x="12" y="2"/>
                </a:cxn>
                <a:cxn ang="0">
                  <a:pos x="5" y="4"/>
                </a:cxn>
                <a:cxn ang="0">
                  <a:pos x="0" y="6"/>
                </a:cxn>
                <a:cxn ang="0">
                  <a:pos x="13" y="14"/>
                </a:cxn>
                <a:cxn ang="0">
                  <a:pos x="26" y="20"/>
                </a:cxn>
                <a:cxn ang="0">
                  <a:pos x="33" y="22"/>
                </a:cxn>
                <a:cxn ang="0">
                  <a:pos x="38" y="24"/>
                </a:cxn>
                <a:cxn ang="0">
                  <a:pos x="46" y="25"/>
                </a:cxn>
                <a:cxn ang="0">
                  <a:pos x="53" y="25"/>
                </a:cxn>
              </a:cxnLst>
              <a:rect l="0" t="0" r="r" b="b"/>
              <a:pathLst>
                <a:path w="59" h="25">
                  <a:moveTo>
                    <a:pt x="53" y="25"/>
                  </a:moveTo>
                  <a:lnTo>
                    <a:pt x="56" y="12"/>
                  </a:lnTo>
                  <a:lnTo>
                    <a:pt x="59" y="0"/>
                  </a:lnTo>
                  <a:lnTo>
                    <a:pt x="44" y="0"/>
                  </a:lnTo>
                  <a:lnTo>
                    <a:pt x="27" y="0"/>
                  </a:lnTo>
                  <a:lnTo>
                    <a:pt x="19" y="1"/>
                  </a:lnTo>
                  <a:lnTo>
                    <a:pt x="12" y="2"/>
                  </a:lnTo>
                  <a:lnTo>
                    <a:pt x="5" y="4"/>
                  </a:lnTo>
                  <a:lnTo>
                    <a:pt x="0" y="6"/>
                  </a:lnTo>
                  <a:lnTo>
                    <a:pt x="13" y="14"/>
                  </a:lnTo>
                  <a:lnTo>
                    <a:pt x="26" y="20"/>
                  </a:lnTo>
                  <a:lnTo>
                    <a:pt x="33" y="22"/>
                  </a:lnTo>
                  <a:lnTo>
                    <a:pt x="38" y="24"/>
                  </a:lnTo>
                  <a:lnTo>
                    <a:pt x="46" y="25"/>
                  </a:lnTo>
                  <a:lnTo>
                    <a:pt x="53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354" name="Line 306"/>
            <p:cNvSpPr>
              <a:spLocks noChangeShapeType="1"/>
            </p:cNvSpPr>
            <p:nvPr/>
          </p:nvSpPr>
          <p:spPr bwMode="auto">
            <a:xfrm flipV="1">
              <a:off x="5191" y="2516"/>
              <a:ext cx="6" cy="2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2355" name="Freeform 307"/>
          <p:cNvSpPr>
            <a:spLocks/>
          </p:cNvSpPr>
          <p:nvPr>
            <p:custDataLst>
              <p:tags r:id="rId210"/>
            </p:custDataLst>
          </p:nvPr>
        </p:nvSpPr>
        <p:spPr bwMode="auto">
          <a:xfrm>
            <a:off x="7280275" y="2909888"/>
            <a:ext cx="14288" cy="41672"/>
          </a:xfrm>
          <a:custGeom>
            <a:avLst/>
            <a:gdLst/>
            <a:ahLst/>
            <a:cxnLst>
              <a:cxn ang="0">
                <a:pos x="0" y="43"/>
              </a:cxn>
              <a:cxn ang="0">
                <a:pos x="1" y="34"/>
              </a:cxn>
              <a:cxn ang="0">
                <a:pos x="2" y="27"/>
              </a:cxn>
              <a:cxn ang="0">
                <a:pos x="5" y="21"/>
              </a:cxn>
              <a:cxn ang="0">
                <a:pos x="9" y="15"/>
              </a:cxn>
              <a:cxn ang="0">
                <a:pos x="14" y="9"/>
              </a:cxn>
              <a:cxn ang="0">
                <a:pos x="20" y="5"/>
              </a:cxn>
              <a:cxn ang="0">
                <a:pos x="26" y="2"/>
              </a:cxn>
              <a:cxn ang="0">
                <a:pos x="33" y="0"/>
              </a:cxn>
              <a:cxn ang="0">
                <a:pos x="33" y="25"/>
              </a:cxn>
              <a:cxn ang="0">
                <a:pos x="23" y="27"/>
              </a:cxn>
              <a:cxn ang="0">
                <a:pos x="18" y="29"/>
              </a:cxn>
              <a:cxn ang="0">
                <a:pos x="16" y="32"/>
              </a:cxn>
              <a:cxn ang="0">
                <a:pos x="16" y="34"/>
              </a:cxn>
              <a:cxn ang="0">
                <a:pos x="16" y="36"/>
              </a:cxn>
              <a:cxn ang="0">
                <a:pos x="14" y="38"/>
              </a:cxn>
              <a:cxn ang="0">
                <a:pos x="10" y="41"/>
              </a:cxn>
              <a:cxn ang="0">
                <a:pos x="0" y="43"/>
              </a:cxn>
            </a:cxnLst>
            <a:rect l="0" t="0" r="r" b="b"/>
            <a:pathLst>
              <a:path w="33" h="43">
                <a:moveTo>
                  <a:pt x="0" y="43"/>
                </a:moveTo>
                <a:lnTo>
                  <a:pt x="1" y="34"/>
                </a:lnTo>
                <a:lnTo>
                  <a:pt x="2" y="27"/>
                </a:lnTo>
                <a:lnTo>
                  <a:pt x="5" y="21"/>
                </a:lnTo>
                <a:lnTo>
                  <a:pt x="9" y="15"/>
                </a:lnTo>
                <a:lnTo>
                  <a:pt x="14" y="9"/>
                </a:lnTo>
                <a:lnTo>
                  <a:pt x="20" y="5"/>
                </a:lnTo>
                <a:lnTo>
                  <a:pt x="26" y="2"/>
                </a:lnTo>
                <a:lnTo>
                  <a:pt x="33" y="0"/>
                </a:lnTo>
                <a:lnTo>
                  <a:pt x="33" y="25"/>
                </a:lnTo>
                <a:lnTo>
                  <a:pt x="23" y="27"/>
                </a:lnTo>
                <a:lnTo>
                  <a:pt x="18" y="29"/>
                </a:lnTo>
                <a:lnTo>
                  <a:pt x="16" y="32"/>
                </a:lnTo>
                <a:lnTo>
                  <a:pt x="16" y="34"/>
                </a:lnTo>
                <a:lnTo>
                  <a:pt x="16" y="36"/>
                </a:lnTo>
                <a:lnTo>
                  <a:pt x="14" y="38"/>
                </a:lnTo>
                <a:lnTo>
                  <a:pt x="10" y="41"/>
                </a:lnTo>
                <a:lnTo>
                  <a:pt x="0" y="4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356" name="Freeform 308"/>
          <p:cNvSpPr>
            <a:spLocks/>
          </p:cNvSpPr>
          <p:nvPr>
            <p:custDataLst>
              <p:tags r:id="rId211"/>
            </p:custDataLst>
          </p:nvPr>
        </p:nvSpPr>
        <p:spPr bwMode="auto">
          <a:xfrm>
            <a:off x="7356482" y="2864646"/>
            <a:ext cx="22225" cy="44054"/>
          </a:xfrm>
          <a:custGeom>
            <a:avLst/>
            <a:gdLst/>
            <a:ahLst/>
            <a:cxnLst>
              <a:cxn ang="0">
                <a:pos x="0" y="55"/>
              </a:cxn>
              <a:cxn ang="0">
                <a:pos x="1" y="51"/>
              </a:cxn>
              <a:cxn ang="0">
                <a:pos x="2" y="46"/>
              </a:cxn>
              <a:cxn ang="0">
                <a:pos x="3" y="42"/>
              </a:cxn>
              <a:cxn ang="0">
                <a:pos x="6" y="37"/>
              </a:cxn>
              <a:cxn ang="0">
                <a:pos x="11" y="29"/>
              </a:cxn>
              <a:cxn ang="0">
                <a:pos x="18" y="21"/>
              </a:cxn>
              <a:cxn ang="0">
                <a:pos x="31" y="7"/>
              </a:cxn>
              <a:cxn ang="0">
                <a:pos x="41" y="0"/>
              </a:cxn>
              <a:cxn ang="0">
                <a:pos x="54" y="12"/>
              </a:cxn>
              <a:cxn ang="0">
                <a:pos x="51" y="21"/>
              </a:cxn>
              <a:cxn ang="0">
                <a:pos x="47" y="29"/>
              </a:cxn>
              <a:cxn ang="0">
                <a:pos x="44" y="35"/>
              </a:cxn>
              <a:cxn ang="0">
                <a:pos x="41" y="41"/>
              </a:cxn>
              <a:cxn ang="0">
                <a:pos x="33" y="49"/>
              </a:cxn>
              <a:cxn ang="0">
                <a:pos x="28" y="55"/>
              </a:cxn>
              <a:cxn ang="0">
                <a:pos x="26" y="64"/>
              </a:cxn>
              <a:cxn ang="0">
                <a:pos x="26" y="74"/>
              </a:cxn>
              <a:cxn ang="0">
                <a:pos x="24" y="83"/>
              </a:cxn>
              <a:cxn ang="0">
                <a:pos x="20" y="92"/>
              </a:cxn>
              <a:cxn ang="0">
                <a:pos x="14" y="83"/>
              </a:cxn>
              <a:cxn ang="0">
                <a:pos x="8" y="74"/>
              </a:cxn>
              <a:cxn ang="0">
                <a:pos x="5" y="70"/>
              </a:cxn>
              <a:cxn ang="0">
                <a:pos x="2" y="64"/>
              </a:cxn>
              <a:cxn ang="0">
                <a:pos x="1" y="60"/>
              </a:cxn>
              <a:cxn ang="0">
                <a:pos x="0" y="55"/>
              </a:cxn>
            </a:cxnLst>
            <a:rect l="0" t="0" r="r" b="b"/>
            <a:pathLst>
              <a:path w="54" h="92">
                <a:moveTo>
                  <a:pt x="0" y="55"/>
                </a:moveTo>
                <a:lnTo>
                  <a:pt x="1" y="51"/>
                </a:lnTo>
                <a:lnTo>
                  <a:pt x="2" y="46"/>
                </a:lnTo>
                <a:lnTo>
                  <a:pt x="3" y="42"/>
                </a:lnTo>
                <a:lnTo>
                  <a:pt x="6" y="37"/>
                </a:lnTo>
                <a:lnTo>
                  <a:pt x="11" y="29"/>
                </a:lnTo>
                <a:lnTo>
                  <a:pt x="18" y="21"/>
                </a:lnTo>
                <a:lnTo>
                  <a:pt x="31" y="7"/>
                </a:lnTo>
                <a:lnTo>
                  <a:pt x="41" y="0"/>
                </a:lnTo>
                <a:lnTo>
                  <a:pt x="54" y="12"/>
                </a:lnTo>
                <a:lnTo>
                  <a:pt x="51" y="21"/>
                </a:lnTo>
                <a:lnTo>
                  <a:pt x="47" y="29"/>
                </a:lnTo>
                <a:lnTo>
                  <a:pt x="44" y="35"/>
                </a:lnTo>
                <a:lnTo>
                  <a:pt x="41" y="41"/>
                </a:lnTo>
                <a:lnTo>
                  <a:pt x="33" y="49"/>
                </a:lnTo>
                <a:lnTo>
                  <a:pt x="28" y="55"/>
                </a:lnTo>
                <a:lnTo>
                  <a:pt x="26" y="64"/>
                </a:lnTo>
                <a:lnTo>
                  <a:pt x="26" y="74"/>
                </a:lnTo>
                <a:lnTo>
                  <a:pt x="24" y="83"/>
                </a:lnTo>
                <a:lnTo>
                  <a:pt x="20" y="92"/>
                </a:lnTo>
                <a:lnTo>
                  <a:pt x="14" y="83"/>
                </a:lnTo>
                <a:lnTo>
                  <a:pt x="8" y="74"/>
                </a:lnTo>
                <a:lnTo>
                  <a:pt x="5" y="70"/>
                </a:lnTo>
                <a:lnTo>
                  <a:pt x="2" y="64"/>
                </a:lnTo>
                <a:lnTo>
                  <a:pt x="1" y="60"/>
                </a:lnTo>
                <a:lnTo>
                  <a:pt x="0" y="5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357" name="Freeform 309"/>
          <p:cNvSpPr>
            <a:spLocks/>
          </p:cNvSpPr>
          <p:nvPr>
            <p:custDataLst>
              <p:tags r:id="rId212"/>
            </p:custDataLst>
          </p:nvPr>
        </p:nvSpPr>
        <p:spPr bwMode="auto">
          <a:xfrm>
            <a:off x="7404107" y="2774159"/>
            <a:ext cx="23813" cy="4286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9" y="4"/>
              </a:cxn>
              <a:cxn ang="0">
                <a:pos x="37" y="9"/>
              </a:cxn>
              <a:cxn ang="0">
                <a:pos x="45" y="11"/>
              </a:cxn>
              <a:cxn ang="0">
                <a:pos x="51" y="13"/>
              </a:cxn>
              <a:cxn ang="0">
                <a:pos x="56" y="16"/>
              </a:cxn>
              <a:cxn ang="0">
                <a:pos x="60" y="18"/>
              </a:cxn>
              <a:cxn ang="0">
                <a:pos x="38" y="18"/>
              </a:cxn>
              <a:cxn ang="0">
                <a:pos x="23" y="18"/>
              </a:cxn>
              <a:cxn ang="0">
                <a:pos x="10" y="18"/>
              </a:cxn>
              <a:cxn ang="0">
                <a:pos x="0" y="18"/>
              </a:cxn>
              <a:cxn ang="0">
                <a:pos x="0" y="0"/>
              </a:cxn>
            </a:cxnLst>
            <a:rect l="0" t="0" r="r" b="b"/>
            <a:pathLst>
              <a:path w="60" h="18">
                <a:moveTo>
                  <a:pt x="0" y="0"/>
                </a:moveTo>
                <a:lnTo>
                  <a:pt x="19" y="4"/>
                </a:lnTo>
                <a:lnTo>
                  <a:pt x="37" y="9"/>
                </a:lnTo>
                <a:lnTo>
                  <a:pt x="45" y="11"/>
                </a:lnTo>
                <a:lnTo>
                  <a:pt x="51" y="13"/>
                </a:lnTo>
                <a:lnTo>
                  <a:pt x="56" y="16"/>
                </a:lnTo>
                <a:lnTo>
                  <a:pt x="60" y="18"/>
                </a:lnTo>
                <a:lnTo>
                  <a:pt x="38" y="18"/>
                </a:lnTo>
                <a:lnTo>
                  <a:pt x="23" y="18"/>
                </a:lnTo>
                <a:lnTo>
                  <a:pt x="10" y="18"/>
                </a:lnTo>
                <a:lnTo>
                  <a:pt x="0" y="18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358" name="Freeform 310"/>
          <p:cNvSpPr>
            <a:spLocks/>
          </p:cNvSpPr>
          <p:nvPr>
            <p:custDataLst>
              <p:tags r:id="rId213"/>
            </p:custDataLst>
          </p:nvPr>
        </p:nvSpPr>
        <p:spPr bwMode="auto">
          <a:xfrm>
            <a:off x="7388225" y="2751540"/>
            <a:ext cx="25400" cy="42863"/>
          </a:xfrm>
          <a:custGeom>
            <a:avLst/>
            <a:gdLst/>
            <a:ahLst/>
            <a:cxnLst>
              <a:cxn ang="0">
                <a:pos x="0" y="18"/>
              </a:cxn>
              <a:cxn ang="0">
                <a:pos x="66" y="18"/>
              </a:cxn>
              <a:cxn ang="0">
                <a:pos x="52" y="13"/>
              </a:cxn>
              <a:cxn ang="0">
                <a:pos x="40" y="7"/>
              </a:cxn>
              <a:cxn ang="0">
                <a:pos x="35" y="4"/>
              </a:cxn>
              <a:cxn ang="0">
                <a:pos x="29" y="2"/>
              </a:cxn>
              <a:cxn ang="0">
                <a:pos x="25" y="1"/>
              </a:cxn>
              <a:cxn ang="0">
                <a:pos x="19" y="0"/>
              </a:cxn>
              <a:cxn ang="0">
                <a:pos x="0" y="18"/>
              </a:cxn>
            </a:cxnLst>
            <a:rect l="0" t="0" r="r" b="b"/>
            <a:pathLst>
              <a:path w="66" h="18">
                <a:moveTo>
                  <a:pt x="0" y="18"/>
                </a:moveTo>
                <a:lnTo>
                  <a:pt x="66" y="18"/>
                </a:lnTo>
                <a:lnTo>
                  <a:pt x="52" y="13"/>
                </a:lnTo>
                <a:lnTo>
                  <a:pt x="40" y="7"/>
                </a:lnTo>
                <a:lnTo>
                  <a:pt x="35" y="4"/>
                </a:lnTo>
                <a:lnTo>
                  <a:pt x="29" y="2"/>
                </a:lnTo>
                <a:lnTo>
                  <a:pt x="25" y="1"/>
                </a:lnTo>
                <a:lnTo>
                  <a:pt x="19" y="0"/>
                </a:lnTo>
                <a:lnTo>
                  <a:pt x="0" y="1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359" name="Freeform 311"/>
          <p:cNvSpPr>
            <a:spLocks/>
          </p:cNvSpPr>
          <p:nvPr>
            <p:custDataLst>
              <p:tags r:id="rId214"/>
            </p:custDataLst>
          </p:nvPr>
        </p:nvSpPr>
        <p:spPr bwMode="auto">
          <a:xfrm>
            <a:off x="7213600" y="2674143"/>
            <a:ext cx="7938" cy="42863"/>
          </a:xfrm>
          <a:custGeom>
            <a:avLst/>
            <a:gdLst/>
            <a:ahLst/>
            <a:cxnLst>
              <a:cxn ang="0">
                <a:pos x="0" y="36"/>
              </a:cxn>
              <a:cxn ang="0">
                <a:pos x="13" y="42"/>
              </a:cxn>
              <a:cxn ang="0">
                <a:pos x="14" y="33"/>
              </a:cxn>
              <a:cxn ang="0">
                <a:pos x="16" y="23"/>
              </a:cxn>
              <a:cxn ang="0">
                <a:pos x="17" y="18"/>
              </a:cxn>
              <a:cxn ang="0">
                <a:pos x="16" y="12"/>
              </a:cxn>
              <a:cxn ang="0">
                <a:pos x="16" y="6"/>
              </a:cxn>
              <a:cxn ang="0">
                <a:pos x="13" y="0"/>
              </a:cxn>
              <a:cxn ang="0">
                <a:pos x="0" y="36"/>
              </a:cxn>
            </a:cxnLst>
            <a:rect l="0" t="0" r="r" b="b"/>
            <a:pathLst>
              <a:path w="17" h="42">
                <a:moveTo>
                  <a:pt x="0" y="36"/>
                </a:moveTo>
                <a:lnTo>
                  <a:pt x="13" y="42"/>
                </a:lnTo>
                <a:lnTo>
                  <a:pt x="14" y="33"/>
                </a:lnTo>
                <a:lnTo>
                  <a:pt x="16" y="23"/>
                </a:lnTo>
                <a:lnTo>
                  <a:pt x="17" y="18"/>
                </a:lnTo>
                <a:lnTo>
                  <a:pt x="16" y="12"/>
                </a:lnTo>
                <a:lnTo>
                  <a:pt x="16" y="6"/>
                </a:lnTo>
                <a:lnTo>
                  <a:pt x="13" y="0"/>
                </a:lnTo>
                <a:lnTo>
                  <a:pt x="0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360" name="Freeform 312"/>
          <p:cNvSpPr>
            <a:spLocks/>
          </p:cNvSpPr>
          <p:nvPr>
            <p:custDataLst>
              <p:tags r:id="rId215"/>
            </p:custDataLst>
          </p:nvPr>
        </p:nvSpPr>
        <p:spPr bwMode="auto">
          <a:xfrm>
            <a:off x="7140582" y="2775354"/>
            <a:ext cx="30163" cy="44053"/>
          </a:xfrm>
          <a:custGeom>
            <a:avLst/>
            <a:gdLst/>
            <a:ahLst/>
            <a:cxnLst>
              <a:cxn ang="0">
                <a:pos x="6" y="29"/>
              </a:cxn>
              <a:cxn ang="0">
                <a:pos x="15" y="26"/>
              </a:cxn>
              <a:cxn ang="0">
                <a:pos x="24" y="24"/>
              </a:cxn>
              <a:cxn ang="0">
                <a:pos x="32" y="24"/>
              </a:cxn>
              <a:cxn ang="0">
                <a:pos x="39" y="24"/>
              </a:cxn>
              <a:cxn ang="0">
                <a:pos x="55" y="27"/>
              </a:cxn>
              <a:cxn ang="0">
                <a:pos x="72" y="29"/>
              </a:cxn>
              <a:cxn ang="0">
                <a:pos x="72" y="4"/>
              </a:cxn>
              <a:cxn ang="0">
                <a:pos x="58" y="1"/>
              </a:cxn>
              <a:cxn ang="0">
                <a:pos x="47" y="0"/>
              </a:cxn>
              <a:cxn ang="0">
                <a:pos x="39" y="0"/>
              </a:cxn>
              <a:cxn ang="0">
                <a:pos x="34" y="2"/>
              </a:cxn>
              <a:cxn ang="0">
                <a:pos x="27" y="3"/>
              </a:cxn>
              <a:cxn ang="0">
                <a:pos x="21" y="5"/>
              </a:cxn>
              <a:cxn ang="0">
                <a:pos x="12" y="5"/>
              </a:cxn>
              <a:cxn ang="0">
                <a:pos x="0" y="4"/>
              </a:cxn>
              <a:cxn ang="0">
                <a:pos x="3" y="16"/>
              </a:cxn>
              <a:cxn ang="0">
                <a:pos x="6" y="29"/>
              </a:cxn>
            </a:cxnLst>
            <a:rect l="0" t="0" r="r" b="b"/>
            <a:pathLst>
              <a:path w="72" h="29">
                <a:moveTo>
                  <a:pt x="6" y="29"/>
                </a:moveTo>
                <a:lnTo>
                  <a:pt x="15" y="26"/>
                </a:lnTo>
                <a:lnTo>
                  <a:pt x="24" y="24"/>
                </a:lnTo>
                <a:lnTo>
                  <a:pt x="32" y="24"/>
                </a:lnTo>
                <a:lnTo>
                  <a:pt x="39" y="24"/>
                </a:lnTo>
                <a:lnTo>
                  <a:pt x="55" y="27"/>
                </a:lnTo>
                <a:lnTo>
                  <a:pt x="72" y="29"/>
                </a:lnTo>
                <a:lnTo>
                  <a:pt x="72" y="4"/>
                </a:lnTo>
                <a:lnTo>
                  <a:pt x="58" y="1"/>
                </a:lnTo>
                <a:lnTo>
                  <a:pt x="47" y="0"/>
                </a:lnTo>
                <a:lnTo>
                  <a:pt x="39" y="0"/>
                </a:lnTo>
                <a:lnTo>
                  <a:pt x="34" y="2"/>
                </a:lnTo>
                <a:lnTo>
                  <a:pt x="27" y="3"/>
                </a:lnTo>
                <a:lnTo>
                  <a:pt x="21" y="5"/>
                </a:lnTo>
                <a:lnTo>
                  <a:pt x="12" y="5"/>
                </a:lnTo>
                <a:lnTo>
                  <a:pt x="0" y="4"/>
                </a:lnTo>
                <a:lnTo>
                  <a:pt x="3" y="16"/>
                </a:lnTo>
                <a:lnTo>
                  <a:pt x="6" y="2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361" name="Freeform 313"/>
          <p:cNvSpPr>
            <a:spLocks/>
          </p:cNvSpPr>
          <p:nvPr>
            <p:custDataLst>
              <p:tags r:id="rId216"/>
            </p:custDataLst>
          </p:nvPr>
        </p:nvSpPr>
        <p:spPr bwMode="auto">
          <a:xfrm>
            <a:off x="7148513" y="2914656"/>
            <a:ext cx="19050" cy="41672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9" y="9"/>
              </a:cxn>
              <a:cxn ang="0">
                <a:pos x="20" y="15"/>
              </a:cxn>
              <a:cxn ang="0">
                <a:pos x="31" y="20"/>
              </a:cxn>
              <a:cxn ang="0">
                <a:pos x="46" y="25"/>
              </a:cxn>
              <a:cxn ang="0">
                <a:pos x="37" y="29"/>
              </a:cxn>
              <a:cxn ang="0">
                <a:pos x="29" y="33"/>
              </a:cxn>
              <a:cxn ang="0">
                <a:pos x="21" y="36"/>
              </a:cxn>
              <a:cxn ang="0">
                <a:pos x="13" y="37"/>
              </a:cxn>
              <a:cxn ang="0">
                <a:pos x="9" y="36"/>
              </a:cxn>
              <a:cxn ang="0">
                <a:pos x="7" y="33"/>
              </a:cxn>
              <a:cxn ang="0">
                <a:pos x="5" y="29"/>
              </a:cxn>
              <a:cxn ang="0">
                <a:pos x="3" y="23"/>
              </a:cxn>
              <a:cxn ang="0">
                <a:pos x="1" y="12"/>
              </a:cxn>
              <a:cxn ang="0">
                <a:pos x="0" y="0"/>
              </a:cxn>
            </a:cxnLst>
            <a:rect l="0" t="0" r="r" b="b"/>
            <a:pathLst>
              <a:path w="46" h="37">
                <a:moveTo>
                  <a:pt x="0" y="0"/>
                </a:moveTo>
                <a:lnTo>
                  <a:pt x="9" y="9"/>
                </a:lnTo>
                <a:lnTo>
                  <a:pt x="20" y="15"/>
                </a:lnTo>
                <a:lnTo>
                  <a:pt x="31" y="20"/>
                </a:lnTo>
                <a:lnTo>
                  <a:pt x="46" y="25"/>
                </a:lnTo>
                <a:lnTo>
                  <a:pt x="37" y="29"/>
                </a:lnTo>
                <a:lnTo>
                  <a:pt x="29" y="33"/>
                </a:lnTo>
                <a:lnTo>
                  <a:pt x="21" y="36"/>
                </a:lnTo>
                <a:lnTo>
                  <a:pt x="13" y="37"/>
                </a:lnTo>
                <a:lnTo>
                  <a:pt x="9" y="36"/>
                </a:lnTo>
                <a:lnTo>
                  <a:pt x="7" y="33"/>
                </a:lnTo>
                <a:lnTo>
                  <a:pt x="5" y="29"/>
                </a:lnTo>
                <a:lnTo>
                  <a:pt x="3" y="23"/>
                </a:lnTo>
                <a:lnTo>
                  <a:pt x="1" y="12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362" name="Freeform 314"/>
          <p:cNvSpPr>
            <a:spLocks/>
          </p:cNvSpPr>
          <p:nvPr>
            <p:custDataLst>
              <p:tags r:id="rId217"/>
            </p:custDataLst>
          </p:nvPr>
        </p:nvSpPr>
        <p:spPr bwMode="auto">
          <a:xfrm>
            <a:off x="7261232" y="2778918"/>
            <a:ext cx="11113" cy="4286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6" y="19"/>
              </a:cxn>
              <a:cxn ang="0">
                <a:pos x="26" y="9"/>
              </a:cxn>
              <a:cxn ang="0">
                <a:pos x="26" y="0"/>
              </a:cxn>
              <a:cxn ang="0">
                <a:pos x="15" y="0"/>
              </a:cxn>
              <a:cxn ang="0">
                <a:pos x="0" y="0"/>
              </a:cxn>
            </a:cxnLst>
            <a:rect l="0" t="0" r="r" b="b"/>
            <a:pathLst>
              <a:path w="26" h="19">
                <a:moveTo>
                  <a:pt x="0" y="0"/>
                </a:moveTo>
                <a:lnTo>
                  <a:pt x="26" y="19"/>
                </a:lnTo>
                <a:lnTo>
                  <a:pt x="26" y="9"/>
                </a:lnTo>
                <a:lnTo>
                  <a:pt x="26" y="0"/>
                </a:lnTo>
                <a:lnTo>
                  <a:pt x="15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363" name="Freeform 315"/>
          <p:cNvSpPr>
            <a:spLocks/>
          </p:cNvSpPr>
          <p:nvPr>
            <p:custDataLst>
              <p:tags r:id="rId218"/>
            </p:custDataLst>
          </p:nvPr>
        </p:nvSpPr>
        <p:spPr bwMode="auto">
          <a:xfrm>
            <a:off x="7121525" y="2775354"/>
            <a:ext cx="19050" cy="44053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1" y="12"/>
              </a:cxn>
              <a:cxn ang="0">
                <a:pos x="0" y="23"/>
              </a:cxn>
              <a:cxn ang="0">
                <a:pos x="0" y="26"/>
              </a:cxn>
              <a:cxn ang="0">
                <a:pos x="0" y="29"/>
              </a:cxn>
              <a:cxn ang="0">
                <a:pos x="0" y="31"/>
              </a:cxn>
              <a:cxn ang="0">
                <a:pos x="2" y="31"/>
              </a:cxn>
              <a:cxn ang="0">
                <a:pos x="13" y="22"/>
              </a:cxn>
              <a:cxn ang="0">
                <a:pos x="25" y="13"/>
              </a:cxn>
              <a:cxn ang="0">
                <a:pos x="35" y="5"/>
              </a:cxn>
              <a:cxn ang="0">
                <a:pos x="43" y="0"/>
              </a:cxn>
              <a:cxn ang="0">
                <a:pos x="2" y="0"/>
              </a:cxn>
            </a:cxnLst>
            <a:rect l="0" t="0" r="r" b="b"/>
            <a:pathLst>
              <a:path w="43" h="31">
                <a:moveTo>
                  <a:pt x="2" y="0"/>
                </a:moveTo>
                <a:lnTo>
                  <a:pt x="1" y="12"/>
                </a:lnTo>
                <a:lnTo>
                  <a:pt x="0" y="23"/>
                </a:lnTo>
                <a:lnTo>
                  <a:pt x="0" y="26"/>
                </a:lnTo>
                <a:lnTo>
                  <a:pt x="0" y="29"/>
                </a:lnTo>
                <a:lnTo>
                  <a:pt x="0" y="31"/>
                </a:lnTo>
                <a:lnTo>
                  <a:pt x="2" y="31"/>
                </a:lnTo>
                <a:lnTo>
                  <a:pt x="13" y="22"/>
                </a:lnTo>
                <a:lnTo>
                  <a:pt x="25" y="13"/>
                </a:lnTo>
                <a:lnTo>
                  <a:pt x="35" y="5"/>
                </a:lnTo>
                <a:lnTo>
                  <a:pt x="43" y="0"/>
                </a:lnTo>
                <a:lnTo>
                  <a:pt x="2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364" name="Freeform 316"/>
          <p:cNvSpPr>
            <a:spLocks/>
          </p:cNvSpPr>
          <p:nvPr>
            <p:custDataLst>
              <p:tags r:id="rId219"/>
            </p:custDataLst>
          </p:nvPr>
        </p:nvSpPr>
        <p:spPr bwMode="auto">
          <a:xfrm>
            <a:off x="7165982" y="2811070"/>
            <a:ext cx="30163" cy="42863"/>
          </a:xfrm>
          <a:custGeom>
            <a:avLst/>
            <a:gdLst/>
            <a:ahLst/>
            <a:cxnLst>
              <a:cxn ang="0">
                <a:pos x="4" y="12"/>
              </a:cxn>
              <a:cxn ang="0">
                <a:pos x="4" y="18"/>
              </a:cxn>
              <a:cxn ang="0">
                <a:pos x="5" y="25"/>
              </a:cxn>
              <a:cxn ang="0">
                <a:pos x="7" y="31"/>
              </a:cxn>
              <a:cxn ang="0">
                <a:pos x="9" y="37"/>
              </a:cxn>
              <a:cxn ang="0">
                <a:pos x="14" y="41"/>
              </a:cxn>
              <a:cxn ang="0">
                <a:pos x="18" y="46"/>
              </a:cxn>
              <a:cxn ang="0">
                <a:pos x="23" y="48"/>
              </a:cxn>
              <a:cxn ang="0">
                <a:pos x="30" y="49"/>
              </a:cxn>
              <a:cxn ang="0">
                <a:pos x="35" y="48"/>
              </a:cxn>
              <a:cxn ang="0">
                <a:pos x="40" y="46"/>
              </a:cxn>
              <a:cxn ang="0">
                <a:pos x="45" y="42"/>
              </a:cxn>
              <a:cxn ang="0">
                <a:pos x="50" y="37"/>
              </a:cxn>
              <a:cxn ang="0">
                <a:pos x="60" y="28"/>
              </a:cxn>
              <a:cxn ang="0">
                <a:pos x="71" y="18"/>
              </a:cxn>
              <a:cxn ang="0">
                <a:pos x="61" y="12"/>
              </a:cxn>
              <a:cxn ang="0">
                <a:pos x="52" y="9"/>
              </a:cxn>
              <a:cxn ang="0">
                <a:pos x="44" y="7"/>
              </a:cxn>
              <a:cxn ang="0">
                <a:pos x="37" y="6"/>
              </a:cxn>
              <a:cxn ang="0">
                <a:pos x="29" y="6"/>
              </a:cxn>
              <a:cxn ang="0">
                <a:pos x="21" y="5"/>
              </a:cxn>
              <a:cxn ang="0">
                <a:pos x="14" y="3"/>
              </a:cxn>
              <a:cxn ang="0">
                <a:pos x="4" y="0"/>
              </a:cxn>
              <a:cxn ang="0">
                <a:pos x="3" y="1"/>
              </a:cxn>
              <a:cxn ang="0">
                <a:pos x="1" y="6"/>
              </a:cxn>
              <a:cxn ang="0">
                <a:pos x="0" y="8"/>
              </a:cxn>
              <a:cxn ang="0">
                <a:pos x="0" y="10"/>
              </a:cxn>
              <a:cxn ang="0">
                <a:pos x="1" y="11"/>
              </a:cxn>
              <a:cxn ang="0">
                <a:pos x="4" y="12"/>
              </a:cxn>
            </a:cxnLst>
            <a:rect l="0" t="0" r="r" b="b"/>
            <a:pathLst>
              <a:path w="71" h="49">
                <a:moveTo>
                  <a:pt x="4" y="12"/>
                </a:moveTo>
                <a:lnTo>
                  <a:pt x="4" y="18"/>
                </a:lnTo>
                <a:lnTo>
                  <a:pt x="5" y="25"/>
                </a:lnTo>
                <a:lnTo>
                  <a:pt x="7" y="31"/>
                </a:lnTo>
                <a:lnTo>
                  <a:pt x="9" y="37"/>
                </a:lnTo>
                <a:lnTo>
                  <a:pt x="14" y="41"/>
                </a:lnTo>
                <a:lnTo>
                  <a:pt x="18" y="46"/>
                </a:lnTo>
                <a:lnTo>
                  <a:pt x="23" y="48"/>
                </a:lnTo>
                <a:lnTo>
                  <a:pt x="30" y="49"/>
                </a:lnTo>
                <a:lnTo>
                  <a:pt x="35" y="48"/>
                </a:lnTo>
                <a:lnTo>
                  <a:pt x="40" y="46"/>
                </a:lnTo>
                <a:lnTo>
                  <a:pt x="45" y="42"/>
                </a:lnTo>
                <a:lnTo>
                  <a:pt x="50" y="37"/>
                </a:lnTo>
                <a:lnTo>
                  <a:pt x="60" y="28"/>
                </a:lnTo>
                <a:lnTo>
                  <a:pt x="71" y="18"/>
                </a:lnTo>
                <a:lnTo>
                  <a:pt x="61" y="12"/>
                </a:lnTo>
                <a:lnTo>
                  <a:pt x="52" y="9"/>
                </a:lnTo>
                <a:lnTo>
                  <a:pt x="44" y="7"/>
                </a:lnTo>
                <a:lnTo>
                  <a:pt x="37" y="6"/>
                </a:lnTo>
                <a:lnTo>
                  <a:pt x="29" y="6"/>
                </a:lnTo>
                <a:lnTo>
                  <a:pt x="21" y="5"/>
                </a:lnTo>
                <a:lnTo>
                  <a:pt x="14" y="3"/>
                </a:lnTo>
                <a:lnTo>
                  <a:pt x="4" y="0"/>
                </a:lnTo>
                <a:lnTo>
                  <a:pt x="3" y="1"/>
                </a:lnTo>
                <a:lnTo>
                  <a:pt x="1" y="6"/>
                </a:lnTo>
                <a:lnTo>
                  <a:pt x="0" y="8"/>
                </a:lnTo>
                <a:lnTo>
                  <a:pt x="0" y="10"/>
                </a:lnTo>
                <a:lnTo>
                  <a:pt x="1" y="11"/>
                </a:lnTo>
                <a:lnTo>
                  <a:pt x="4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365" name="Freeform 317"/>
          <p:cNvSpPr>
            <a:spLocks/>
          </p:cNvSpPr>
          <p:nvPr>
            <p:custDataLst>
              <p:tags r:id="rId220"/>
            </p:custDataLst>
          </p:nvPr>
        </p:nvSpPr>
        <p:spPr bwMode="auto">
          <a:xfrm>
            <a:off x="6967545" y="2963474"/>
            <a:ext cx="46037" cy="44053"/>
          </a:xfrm>
          <a:custGeom>
            <a:avLst/>
            <a:gdLst/>
            <a:ahLst/>
            <a:cxnLst>
              <a:cxn ang="0">
                <a:pos x="46" y="2"/>
              </a:cxn>
              <a:cxn ang="0">
                <a:pos x="56" y="2"/>
              </a:cxn>
              <a:cxn ang="0">
                <a:pos x="66" y="3"/>
              </a:cxn>
              <a:cxn ang="0">
                <a:pos x="74" y="4"/>
              </a:cxn>
              <a:cxn ang="0">
                <a:pos x="84" y="6"/>
              </a:cxn>
              <a:cxn ang="0">
                <a:pos x="92" y="9"/>
              </a:cxn>
              <a:cxn ang="0">
                <a:pos x="100" y="12"/>
              </a:cxn>
              <a:cxn ang="0">
                <a:pos x="106" y="16"/>
              </a:cxn>
              <a:cxn ang="0">
                <a:pos x="112" y="20"/>
              </a:cxn>
              <a:cxn ang="0">
                <a:pos x="110" y="22"/>
              </a:cxn>
              <a:cxn ang="0">
                <a:pos x="105" y="23"/>
              </a:cxn>
              <a:cxn ang="0">
                <a:pos x="101" y="25"/>
              </a:cxn>
              <a:cxn ang="0">
                <a:pos x="95" y="25"/>
              </a:cxn>
              <a:cxn ang="0">
                <a:pos x="87" y="26"/>
              </a:cxn>
              <a:cxn ang="0">
                <a:pos x="79" y="26"/>
              </a:cxn>
              <a:cxn ang="0">
                <a:pos x="66" y="24"/>
              </a:cxn>
              <a:cxn ang="0">
                <a:pos x="41" y="19"/>
              </a:cxn>
              <a:cxn ang="0">
                <a:pos x="16" y="13"/>
              </a:cxn>
              <a:cxn ang="0">
                <a:pos x="0" y="8"/>
              </a:cxn>
              <a:cxn ang="0">
                <a:pos x="5" y="4"/>
              </a:cxn>
              <a:cxn ang="0">
                <a:pos x="11" y="2"/>
              </a:cxn>
              <a:cxn ang="0">
                <a:pos x="18" y="1"/>
              </a:cxn>
              <a:cxn ang="0">
                <a:pos x="25" y="0"/>
              </a:cxn>
              <a:cxn ang="0">
                <a:pos x="37" y="1"/>
              </a:cxn>
              <a:cxn ang="0">
                <a:pos x="46" y="2"/>
              </a:cxn>
            </a:cxnLst>
            <a:rect l="0" t="0" r="r" b="b"/>
            <a:pathLst>
              <a:path w="112" h="26">
                <a:moveTo>
                  <a:pt x="46" y="2"/>
                </a:moveTo>
                <a:lnTo>
                  <a:pt x="56" y="2"/>
                </a:lnTo>
                <a:lnTo>
                  <a:pt x="66" y="3"/>
                </a:lnTo>
                <a:lnTo>
                  <a:pt x="74" y="4"/>
                </a:lnTo>
                <a:lnTo>
                  <a:pt x="84" y="6"/>
                </a:lnTo>
                <a:lnTo>
                  <a:pt x="92" y="9"/>
                </a:lnTo>
                <a:lnTo>
                  <a:pt x="100" y="12"/>
                </a:lnTo>
                <a:lnTo>
                  <a:pt x="106" y="16"/>
                </a:lnTo>
                <a:lnTo>
                  <a:pt x="112" y="20"/>
                </a:lnTo>
                <a:lnTo>
                  <a:pt x="110" y="22"/>
                </a:lnTo>
                <a:lnTo>
                  <a:pt x="105" y="23"/>
                </a:lnTo>
                <a:lnTo>
                  <a:pt x="101" y="25"/>
                </a:lnTo>
                <a:lnTo>
                  <a:pt x="95" y="25"/>
                </a:lnTo>
                <a:lnTo>
                  <a:pt x="87" y="26"/>
                </a:lnTo>
                <a:lnTo>
                  <a:pt x="79" y="26"/>
                </a:lnTo>
                <a:lnTo>
                  <a:pt x="66" y="24"/>
                </a:lnTo>
                <a:lnTo>
                  <a:pt x="41" y="19"/>
                </a:lnTo>
                <a:lnTo>
                  <a:pt x="16" y="13"/>
                </a:lnTo>
                <a:lnTo>
                  <a:pt x="0" y="8"/>
                </a:lnTo>
                <a:lnTo>
                  <a:pt x="5" y="4"/>
                </a:lnTo>
                <a:lnTo>
                  <a:pt x="11" y="2"/>
                </a:lnTo>
                <a:lnTo>
                  <a:pt x="18" y="1"/>
                </a:lnTo>
                <a:lnTo>
                  <a:pt x="25" y="0"/>
                </a:lnTo>
                <a:lnTo>
                  <a:pt x="37" y="1"/>
                </a:lnTo>
                <a:lnTo>
                  <a:pt x="46" y="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366" name="Freeform 318"/>
          <p:cNvSpPr>
            <a:spLocks/>
          </p:cNvSpPr>
          <p:nvPr>
            <p:custDataLst>
              <p:tags r:id="rId221"/>
            </p:custDataLst>
          </p:nvPr>
        </p:nvSpPr>
        <p:spPr bwMode="auto">
          <a:xfrm>
            <a:off x="7065969" y="2992043"/>
            <a:ext cx="14287" cy="4405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41" y="0"/>
              </a:cxn>
              <a:cxn ang="0">
                <a:pos x="28" y="8"/>
              </a:cxn>
              <a:cxn ang="0">
                <a:pos x="18" y="15"/>
              </a:cxn>
              <a:cxn ang="0">
                <a:pos x="9" y="20"/>
              </a:cxn>
              <a:cxn ang="0">
                <a:pos x="0" y="25"/>
              </a:cxn>
              <a:cxn ang="0">
                <a:pos x="0" y="0"/>
              </a:cxn>
            </a:cxnLst>
            <a:rect l="0" t="0" r="r" b="b"/>
            <a:pathLst>
              <a:path w="41" h="25">
                <a:moveTo>
                  <a:pt x="0" y="0"/>
                </a:moveTo>
                <a:lnTo>
                  <a:pt x="41" y="0"/>
                </a:lnTo>
                <a:lnTo>
                  <a:pt x="28" y="8"/>
                </a:lnTo>
                <a:lnTo>
                  <a:pt x="18" y="15"/>
                </a:lnTo>
                <a:lnTo>
                  <a:pt x="9" y="20"/>
                </a:lnTo>
                <a:lnTo>
                  <a:pt x="0" y="25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367" name="Freeform 319"/>
          <p:cNvSpPr>
            <a:spLocks/>
          </p:cNvSpPr>
          <p:nvPr>
            <p:custDataLst>
              <p:tags r:id="rId222"/>
            </p:custDataLst>
          </p:nvPr>
        </p:nvSpPr>
        <p:spPr bwMode="auto">
          <a:xfrm>
            <a:off x="6899276" y="2940846"/>
            <a:ext cx="36513" cy="41672"/>
          </a:xfrm>
          <a:custGeom>
            <a:avLst/>
            <a:gdLst/>
            <a:ahLst/>
            <a:cxnLst>
              <a:cxn ang="0">
                <a:pos x="0" y="31"/>
              </a:cxn>
              <a:cxn ang="0">
                <a:pos x="0" y="22"/>
              </a:cxn>
              <a:cxn ang="0">
                <a:pos x="0" y="13"/>
              </a:cxn>
              <a:cxn ang="0">
                <a:pos x="0" y="10"/>
              </a:cxn>
              <a:cxn ang="0">
                <a:pos x="2" y="8"/>
              </a:cxn>
              <a:cxn ang="0">
                <a:pos x="3" y="6"/>
              </a:cxn>
              <a:cxn ang="0">
                <a:pos x="4" y="4"/>
              </a:cxn>
              <a:cxn ang="0">
                <a:pos x="8" y="2"/>
              </a:cxn>
              <a:cxn ang="0">
                <a:pos x="14" y="0"/>
              </a:cxn>
              <a:cxn ang="0">
                <a:pos x="26" y="1"/>
              </a:cxn>
              <a:cxn ang="0">
                <a:pos x="41" y="1"/>
              </a:cxn>
              <a:cxn ang="0">
                <a:pos x="56" y="1"/>
              </a:cxn>
              <a:cxn ang="0">
                <a:pos x="65" y="1"/>
              </a:cxn>
              <a:cxn ang="0">
                <a:pos x="73" y="1"/>
              </a:cxn>
              <a:cxn ang="0">
                <a:pos x="81" y="1"/>
              </a:cxn>
              <a:cxn ang="0">
                <a:pos x="73" y="6"/>
              </a:cxn>
              <a:cxn ang="0">
                <a:pos x="67" y="10"/>
              </a:cxn>
              <a:cxn ang="0">
                <a:pos x="64" y="14"/>
              </a:cxn>
              <a:cxn ang="0">
                <a:pos x="62" y="18"/>
              </a:cxn>
              <a:cxn ang="0">
                <a:pos x="59" y="21"/>
              </a:cxn>
              <a:cxn ang="0">
                <a:pos x="54" y="23"/>
              </a:cxn>
              <a:cxn ang="0">
                <a:pos x="47" y="25"/>
              </a:cxn>
              <a:cxn ang="0">
                <a:pos x="34" y="25"/>
              </a:cxn>
              <a:cxn ang="0">
                <a:pos x="0" y="31"/>
              </a:cxn>
            </a:cxnLst>
            <a:rect l="0" t="0" r="r" b="b"/>
            <a:pathLst>
              <a:path w="81" h="31">
                <a:moveTo>
                  <a:pt x="0" y="31"/>
                </a:moveTo>
                <a:lnTo>
                  <a:pt x="0" y="22"/>
                </a:lnTo>
                <a:lnTo>
                  <a:pt x="0" y="13"/>
                </a:lnTo>
                <a:lnTo>
                  <a:pt x="0" y="10"/>
                </a:lnTo>
                <a:lnTo>
                  <a:pt x="2" y="8"/>
                </a:lnTo>
                <a:lnTo>
                  <a:pt x="3" y="6"/>
                </a:lnTo>
                <a:lnTo>
                  <a:pt x="4" y="4"/>
                </a:lnTo>
                <a:lnTo>
                  <a:pt x="8" y="2"/>
                </a:lnTo>
                <a:lnTo>
                  <a:pt x="14" y="0"/>
                </a:lnTo>
                <a:lnTo>
                  <a:pt x="26" y="1"/>
                </a:lnTo>
                <a:lnTo>
                  <a:pt x="41" y="1"/>
                </a:lnTo>
                <a:lnTo>
                  <a:pt x="56" y="1"/>
                </a:lnTo>
                <a:lnTo>
                  <a:pt x="65" y="1"/>
                </a:lnTo>
                <a:lnTo>
                  <a:pt x="73" y="1"/>
                </a:lnTo>
                <a:lnTo>
                  <a:pt x="81" y="1"/>
                </a:lnTo>
                <a:lnTo>
                  <a:pt x="73" y="6"/>
                </a:lnTo>
                <a:lnTo>
                  <a:pt x="67" y="10"/>
                </a:lnTo>
                <a:lnTo>
                  <a:pt x="64" y="14"/>
                </a:lnTo>
                <a:lnTo>
                  <a:pt x="62" y="18"/>
                </a:lnTo>
                <a:lnTo>
                  <a:pt x="59" y="21"/>
                </a:lnTo>
                <a:lnTo>
                  <a:pt x="54" y="23"/>
                </a:lnTo>
                <a:lnTo>
                  <a:pt x="47" y="25"/>
                </a:lnTo>
                <a:lnTo>
                  <a:pt x="34" y="25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368" name="Freeform 320"/>
          <p:cNvSpPr>
            <a:spLocks/>
          </p:cNvSpPr>
          <p:nvPr>
            <p:custDataLst>
              <p:tags r:id="rId223"/>
            </p:custDataLst>
          </p:nvPr>
        </p:nvSpPr>
        <p:spPr bwMode="auto">
          <a:xfrm>
            <a:off x="6943726" y="2930130"/>
            <a:ext cx="39688" cy="41672"/>
          </a:xfrm>
          <a:custGeom>
            <a:avLst/>
            <a:gdLst/>
            <a:ahLst/>
            <a:cxnLst>
              <a:cxn ang="0">
                <a:pos x="2" y="49"/>
              </a:cxn>
              <a:cxn ang="0">
                <a:pos x="89" y="49"/>
              </a:cxn>
              <a:cxn ang="0">
                <a:pos x="78" y="41"/>
              </a:cxn>
              <a:cxn ang="0">
                <a:pos x="68" y="35"/>
              </a:cxn>
              <a:cxn ang="0">
                <a:pos x="57" y="30"/>
              </a:cxn>
              <a:cxn ang="0">
                <a:pos x="46" y="25"/>
              </a:cxn>
              <a:cxn ang="0">
                <a:pos x="36" y="21"/>
              </a:cxn>
              <a:cxn ang="0">
                <a:pos x="26" y="14"/>
              </a:cxn>
              <a:cxn ang="0">
                <a:pos x="16" y="8"/>
              </a:cxn>
              <a:cxn ang="0">
                <a:pos x="9" y="0"/>
              </a:cxn>
              <a:cxn ang="0">
                <a:pos x="4" y="10"/>
              </a:cxn>
              <a:cxn ang="0">
                <a:pos x="1" y="23"/>
              </a:cxn>
              <a:cxn ang="0">
                <a:pos x="0" y="29"/>
              </a:cxn>
              <a:cxn ang="0">
                <a:pos x="0" y="36"/>
              </a:cxn>
              <a:cxn ang="0">
                <a:pos x="0" y="43"/>
              </a:cxn>
              <a:cxn ang="0">
                <a:pos x="2" y="49"/>
              </a:cxn>
            </a:cxnLst>
            <a:rect l="0" t="0" r="r" b="b"/>
            <a:pathLst>
              <a:path w="89" h="49">
                <a:moveTo>
                  <a:pt x="2" y="49"/>
                </a:moveTo>
                <a:lnTo>
                  <a:pt x="89" y="49"/>
                </a:lnTo>
                <a:lnTo>
                  <a:pt x="78" y="41"/>
                </a:lnTo>
                <a:lnTo>
                  <a:pt x="68" y="35"/>
                </a:lnTo>
                <a:lnTo>
                  <a:pt x="57" y="30"/>
                </a:lnTo>
                <a:lnTo>
                  <a:pt x="46" y="25"/>
                </a:lnTo>
                <a:lnTo>
                  <a:pt x="36" y="21"/>
                </a:lnTo>
                <a:lnTo>
                  <a:pt x="26" y="14"/>
                </a:lnTo>
                <a:lnTo>
                  <a:pt x="16" y="8"/>
                </a:lnTo>
                <a:lnTo>
                  <a:pt x="9" y="0"/>
                </a:lnTo>
                <a:lnTo>
                  <a:pt x="4" y="10"/>
                </a:lnTo>
                <a:lnTo>
                  <a:pt x="1" y="23"/>
                </a:lnTo>
                <a:lnTo>
                  <a:pt x="0" y="29"/>
                </a:lnTo>
                <a:lnTo>
                  <a:pt x="0" y="36"/>
                </a:lnTo>
                <a:lnTo>
                  <a:pt x="0" y="43"/>
                </a:lnTo>
                <a:lnTo>
                  <a:pt x="2" y="4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369" name="Freeform 321"/>
          <p:cNvSpPr>
            <a:spLocks/>
          </p:cNvSpPr>
          <p:nvPr>
            <p:custDataLst>
              <p:tags r:id="rId224"/>
            </p:custDataLst>
          </p:nvPr>
        </p:nvSpPr>
        <p:spPr bwMode="auto">
          <a:xfrm>
            <a:off x="6996113" y="2937272"/>
            <a:ext cx="36512" cy="44053"/>
          </a:xfrm>
          <a:custGeom>
            <a:avLst/>
            <a:gdLst/>
            <a:ahLst/>
            <a:cxnLst>
              <a:cxn ang="0">
                <a:pos x="0" y="21"/>
              </a:cxn>
              <a:cxn ang="0">
                <a:pos x="14" y="26"/>
              </a:cxn>
              <a:cxn ang="0">
                <a:pos x="25" y="29"/>
              </a:cxn>
              <a:cxn ang="0">
                <a:pos x="30" y="30"/>
              </a:cxn>
              <a:cxn ang="0">
                <a:pos x="36" y="30"/>
              </a:cxn>
              <a:cxn ang="0">
                <a:pos x="41" y="29"/>
              </a:cxn>
              <a:cxn ang="0">
                <a:pos x="46" y="27"/>
              </a:cxn>
              <a:cxn ang="0">
                <a:pos x="46" y="36"/>
              </a:cxn>
              <a:cxn ang="0">
                <a:pos x="46" y="46"/>
              </a:cxn>
              <a:cxn ang="0">
                <a:pos x="56" y="45"/>
              </a:cxn>
              <a:cxn ang="0">
                <a:pos x="67" y="43"/>
              </a:cxn>
              <a:cxn ang="0">
                <a:pos x="77" y="40"/>
              </a:cxn>
              <a:cxn ang="0">
                <a:pos x="86" y="40"/>
              </a:cxn>
              <a:cxn ang="0">
                <a:pos x="83" y="32"/>
              </a:cxn>
              <a:cxn ang="0">
                <a:pos x="80" y="25"/>
              </a:cxn>
              <a:cxn ang="0">
                <a:pos x="74" y="19"/>
              </a:cxn>
              <a:cxn ang="0">
                <a:pos x="70" y="14"/>
              </a:cxn>
              <a:cxn ang="0">
                <a:pos x="64" y="9"/>
              </a:cxn>
              <a:cxn ang="0">
                <a:pos x="58" y="6"/>
              </a:cxn>
              <a:cxn ang="0">
                <a:pos x="51" y="3"/>
              </a:cxn>
              <a:cxn ang="0">
                <a:pos x="46" y="1"/>
              </a:cxn>
              <a:cxn ang="0">
                <a:pos x="39" y="0"/>
              </a:cxn>
              <a:cxn ang="0">
                <a:pos x="33" y="0"/>
              </a:cxn>
              <a:cxn ang="0">
                <a:pos x="26" y="1"/>
              </a:cxn>
              <a:cxn ang="0">
                <a:pos x="19" y="3"/>
              </a:cxn>
              <a:cxn ang="0">
                <a:pos x="14" y="6"/>
              </a:cxn>
              <a:cxn ang="0">
                <a:pos x="8" y="10"/>
              </a:cxn>
              <a:cxn ang="0">
                <a:pos x="4" y="15"/>
              </a:cxn>
              <a:cxn ang="0">
                <a:pos x="0" y="21"/>
              </a:cxn>
            </a:cxnLst>
            <a:rect l="0" t="0" r="r" b="b"/>
            <a:pathLst>
              <a:path w="86" h="46">
                <a:moveTo>
                  <a:pt x="0" y="21"/>
                </a:moveTo>
                <a:lnTo>
                  <a:pt x="14" y="26"/>
                </a:lnTo>
                <a:lnTo>
                  <a:pt x="25" y="29"/>
                </a:lnTo>
                <a:lnTo>
                  <a:pt x="30" y="30"/>
                </a:lnTo>
                <a:lnTo>
                  <a:pt x="36" y="30"/>
                </a:lnTo>
                <a:lnTo>
                  <a:pt x="41" y="29"/>
                </a:lnTo>
                <a:lnTo>
                  <a:pt x="46" y="27"/>
                </a:lnTo>
                <a:lnTo>
                  <a:pt x="46" y="36"/>
                </a:lnTo>
                <a:lnTo>
                  <a:pt x="46" y="46"/>
                </a:lnTo>
                <a:lnTo>
                  <a:pt x="56" y="45"/>
                </a:lnTo>
                <a:lnTo>
                  <a:pt x="67" y="43"/>
                </a:lnTo>
                <a:lnTo>
                  <a:pt x="77" y="40"/>
                </a:lnTo>
                <a:lnTo>
                  <a:pt x="86" y="40"/>
                </a:lnTo>
                <a:lnTo>
                  <a:pt x="83" y="32"/>
                </a:lnTo>
                <a:lnTo>
                  <a:pt x="80" y="25"/>
                </a:lnTo>
                <a:lnTo>
                  <a:pt x="74" y="19"/>
                </a:lnTo>
                <a:lnTo>
                  <a:pt x="70" y="14"/>
                </a:lnTo>
                <a:lnTo>
                  <a:pt x="64" y="9"/>
                </a:lnTo>
                <a:lnTo>
                  <a:pt x="58" y="6"/>
                </a:lnTo>
                <a:lnTo>
                  <a:pt x="51" y="3"/>
                </a:lnTo>
                <a:lnTo>
                  <a:pt x="46" y="1"/>
                </a:lnTo>
                <a:lnTo>
                  <a:pt x="39" y="0"/>
                </a:lnTo>
                <a:lnTo>
                  <a:pt x="33" y="0"/>
                </a:lnTo>
                <a:lnTo>
                  <a:pt x="26" y="1"/>
                </a:lnTo>
                <a:lnTo>
                  <a:pt x="19" y="3"/>
                </a:lnTo>
                <a:lnTo>
                  <a:pt x="14" y="6"/>
                </a:lnTo>
                <a:lnTo>
                  <a:pt x="8" y="10"/>
                </a:lnTo>
                <a:lnTo>
                  <a:pt x="4" y="15"/>
                </a:lnTo>
                <a:lnTo>
                  <a:pt x="0" y="2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370" name="Freeform 322"/>
          <p:cNvSpPr>
            <a:spLocks/>
          </p:cNvSpPr>
          <p:nvPr>
            <p:custDataLst>
              <p:tags r:id="rId225"/>
            </p:custDataLst>
          </p:nvPr>
        </p:nvSpPr>
        <p:spPr bwMode="auto">
          <a:xfrm>
            <a:off x="7048502" y="2940846"/>
            <a:ext cx="25400" cy="41672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18"/>
              </a:cxn>
              <a:cxn ang="0">
                <a:pos x="39" y="18"/>
              </a:cxn>
              <a:cxn ang="0">
                <a:pos x="59" y="6"/>
              </a:cxn>
              <a:cxn ang="0">
                <a:pos x="51" y="5"/>
              </a:cxn>
              <a:cxn ang="0">
                <a:pos x="45" y="4"/>
              </a:cxn>
              <a:cxn ang="0">
                <a:pos x="37" y="5"/>
              </a:cxn>
              <a:cxn ang="0">
                <a:pos x="29" y="6"/>
              </a:cxn>
              <a:cxn ang="0">
                <a:pos x="22" y="6"/>
              </a:cxn>
              <a:cxn ang="0">
                <a:pos x="14" y="5"/>
              </a:cxn>
              <a:cxn ang="0">
                <a:pos x="7" y="4"/>
              </a:cxn>
              <a:cxn ang="0">
                <a:pos x="0" y="0"/>
              </a:cxn>
            </a:cxnLst>
            <a:rect l="0" t="0" r="r" b="b"/>
            <a:pathLst>
              <a:path w="59" h="18">
                <a:moveTo>
                  <a:pt x="0" y="0"/>
                </a:moveTo>
                <a:lnTo>
                  <a:pt x="0" y="18"/>
                </a:lnTo>
                <a:lnTo>
                  <a:pt x="39" y="18"/>
                </a:lnTo>
                <a:lnTo>
                  <a:pt x="59" y="6"/>
                </a:lnTo>
                <a:lnTo>
                  <a:pt x="51" y="5"/>
                </a:lnTo>
                <a:lnTo>
                  <a:pt x="45" y="4"/>
                </a:lnTo>
                <a:lnTo>
                  <a:pt x="37" y="5"/>
                </a:lnTo>
                <a:lnTo>
                  <a:pt x="29" y="6"/>
                </a:lnTo>
                <a:lnTo>
                  <a:pt x="22" y="6"/>
                </a:lnTo>
                <a:lnTo>
                  <a:pt x="14" y="5"/>
                </a:lnTo>
                <a:lnTo>
                  <a:pt x="7" y="4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371" name="Freeform 323"/>
          <p:cNvSpPr>
            <a:spLocks/>
          </p:cNvSpPr>
          <p:nvPr>
            <p:custDataLst>
              <p:tags r:id="rId226"/>
            </p:custDataLst>
          </p:nvPr>
        </p:nvSpPr>
        <p:spPr bwMode="auto">
          <a:xfrm>
            <a:off x="7121525" y="2934894"/>
            <a:ext cx="1588" cy="41672"/>
          </a:xfrm>
          <a:custGeom>
            <a:avLst/>
            <a:gdLst/>
            <a:ahLst/>
            <a:cxnLst>
              <a:cxn ang="0">
                <a:pos x="4" y="19"/>
              </a:cxn>
              <a:cxn ang="0">
                <a:pos x="4" y="0"/>
              </a:cxn>
              <a:cxn ang="0">
                <a:pos x="2" y="1"/>
              </a:cxn>
              <a:cxn ang="0">
                <a:pos x="1" y="3"/>
              </a:cxn>
              <a:cxn ang="0">
                <a:pos x="0" y="6"/>
              </a:cxn>
              <a:cxn ang="0">
                <a:pos x="0" y="10"/>
              </a:cxn>
              <a:cxn ang="0">
                <a:pos x="0" y="14"/>
              </a:cxn>
              <a:cxn ang="0">
                <a:pos x="1" y="16"/>
              </a:cxn>
              <a:cxn ang="0">
                <a:pos x="2" y="19"/>
              </a:cxn>
              <a:cxn ang="0">
                <a:pos x="4" y="19"/>
              </a:cxn>
            </a:cxnLst>
            <a:rect l="0" t="0" r="r" b="b"/>
            <a:pathLst>
              <a:path w="4" h="19">
                <a:moveTo>
                  <a:pt x="4" y="19"/>
                </a:moveTo>
                <a:lnTo>
                  <a:pt x="4" y="0"/>
                </a:lnTo>
                <a:lnTo>
                  <a:pt x="2" y="1"/>
                </a:lnTo>
                <a:lnTo>
                  <a:pt x="1" y="3"/>
                </a:lnTo>
                <a:lnTo>
                  <a:pt x="0" y="6"/>
                </a:lnTo>
                <a:lnTo>
                  <a:pt x="0" y="10"/>
                </a:lnTo>
                <a:lnTo>
                  <a:pt x="0" y="14"/>
                </a:lnTo>
                <a:lnTo>
                  <a:pt x="1" y="16"/>
                </a:lnTo>
                <a:lnTo>
                  <a:pt x="2" y="19"/>
                </a:lnTo>
                <a:lnTo>
                  <a:pt x="4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372" name="Freeform 324"/>
          <p:cNvSpPr>
            <a:spLocks/>
          </p:cNvSpPr>
          <p:nvPr>
            <p:custDataLst>
              <p:tags r:id="rId227"/>
            </p:custDataLst>
          </p:nvPr>
        </p:nvSpPr>
        <p:spPr bwMode="auto">
          <a:xfrm>
            <a:off x="6696075" y="2795589"/>
            <a:ext cx="20638" cy="44054"/>
          </a:xfrm>
          <a:custGeom>
            <a:avLst/>
            <a:gdLst/>
            <a:ahLst/>
            <a:cxnLst>
              <a:cxn ang="0">
                <a:pos x="0" y="50"/>
              </a:cxn>
              <a:cxn ang="0">
                <a:pos x="7" y="0"/>
              </a:cxn>
              <a:cxn ang="0">
                <a:pos x="23" y="8"/>
              </a:cxn>
              <a:cxn ang="0">
                <a:pos x="34" y="14"/>
              </a:cxn>
              <a:cxn ang="0">
                <a:pos x="37" y="18"/>
              </a:cxn>
              <a:cxn ang="0">
                <a:pos x="41" y="22"/>
              </a:cxn>
              <a:cxn ang="0">
                <a:pos x="44" y="30"/>
              </a:cxn>
              <a:cxn ang="0">
                <a:pos x="46" y="38"/>
              </a:cxn>
              <a:cxn ang="0">
                <a:pos x="34" y="42"/>
              </a:cxn>
              <a:cxn ang="0">
                <a:pos x="21" y="46"/>
              </a:cxn>
              <a:cxn ang="0">
                <a:pos x="8" y="49"/>
              </a:cxn>
              <a:cxn ang="0">
                <a:pos x="0" y="50"/>
              </a:cxn>
            </a:cxnLst>
            <a:rect l="0" t="0" r="r" b="b"/>
            <a:pathLst>
              <a:path w="46" h="50">
                <a:moveTo>
                  <a:pt x="0" y="50"/>
                </a:moveTo>
                <a:lnTo>
                  <a:pt x="7" y="0"/>
                </a:lnTo>
                <a:lnTo>
                  <a:pt x="23" y="8"/>
                </a:lnTo>
                <a:lnTo>
                  <a:pt x="34" y="14"/>
                </a:lnTo>
                <a:lnTo>
                  <a:pt x="37" y="18"/>
                </a:lnTo>
                <a:lnTo>
                  <a:pt x="41" y="22"/>
                </a:lnTo>
                <a:lnTo>
                  <a:pt x="44" y="30"/>
                </a:lnTo>
                <a:lnTo>
                  <a:pt x="46" y="38"/>
                </a:lnTo>
                <a:lnTo>
                  <a:pt x="34" y="42"/>
                </a:lnTo>
                <a:lnTo>
                  <a:pt x="21" y="46"/>
                </a:lnTo>
                <a:lnTo>
                  <a:pt x="8" y="49"/>
                </a:lnTo>
                <a:lnTo>
                  <a:pt x="0" y="5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373" name="Freeform 325"/>
          <p:cNvSpPr>
            <a:spLocks/>
          </p:cNvSpPr>
          <p:nvPr>
            <p:custDataLst>
              <p:tags r:id="rId228"/>
            </p:custDataLst>
          </p:nvPr>
        </p:nvSpPr>
        <p:spPr bwMode="auto">
          <a:xfrm>
            <a:off x="6642107" y="2775354"/>
            <a:ext cx="30163" cy="4405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0" y="0"/>
              </a:cxn>
              <a:cxn ang="0">
                <a:pos x="18" y="0"/>
              </a:cxn>
              <a:cxn ang="0">
                <a:pos x="26" y="0"/>
              </a:cxn>
              <a:cxn ang="0">
                <a:pos x="33" y="0"/>
              </a:cxn>
              <a:cxn ang="0">
                <a:pos x="33" y="7"/>
              </a:cxn>
              <a:cxn ang="0">
                <a:pos x="34" y="14"/>
              </a:cxn>
              <a:cxn ang="0">
                <a:pos x="36" y="21"/>
              </a:cxn>
              <a:cxn ang="0">
                <a:pos x="38" y="27"/>
              </a:cxn>
              <a:cxn ang="0">
                <a:pos x="44" y="36"/>
              </a:cxn>
              <a:cxn ang="0">
                <a:pos x="49" y="45"/>
              </a:cxn>
              <a:cxn ang="0">
                <a:pos x="56" y="52"/>
              </a:cxn>
              <a:cxn ang="0">
                <a:pos x="61" y="60"/>
              </a:cxn>
              <a:cxn ang="0">
                <a:pos x="62" y="65"/>
              </a:cxn>
              <a:cxn ang="0">
                <a:pos x="65" y="69"/>
              </a:cxn>
              <a:cxn ang="0">
                <a:pos x="66" y="75"/>
              </a:cxn>
              <a:cxn ang="0">
                <a:pos x="66" y="80"/>
              </a:cxn>
              <a:cxn ang="0">
                <a:pos x="0" y="18"/>
              </a:cxn>
              <a:cxn ang="0">
                <a:pos x="0" y="0"/>
              </a:cxn>
            </a:cxnLst>
            <a:rect l="0" t="0" r="r" b="b"/>
            <a:pathLst>
              <a:path w="66" h="80">
                <a:moveTo>
                  <a:pt x="0" y="0"/>
                </a:moveTo>
                <a:lnTo>
                  <a:pt x="10" y="0"/>
                </a:lnTo>
                <a:lnTo>
                  <a:pt x="18" y="0"/>
                </a:lnTo>
                <a:lnTo>
                  <a:pt x="26" y="0"/>
                </a:lnTo>
                <a:lnTo>
                  <a:pt x="33" y="0"/>
                </a:lnTo>
                <a:lnTo>
                  <a:pt x="33" y="7"/>
                </a:lnTo>
                <a:lnTo>
                  <a:pt x="34" y="14"/>
                </a:lnTo>
                <a:lnTo>
                  <a:pt x="36" y="21"/>
                </a:lnTo>
                <a:lnTo>
                  <a:pt x="38" y="27"/>
                </a:lnTo>
                <a:lnTo>
                  <a:pt x="44" y="36"/>
                </a:lnTo>
                <a:lnTo>
                  <a:pt x="49" y="45"/>
                </a:lnTo>
                <a:lnTo>
                  <a:pt x="56" y="52"/>
                </a:lnTo>
                <a:lnTo>
                  <a:pt x="61" y="60"/>
                </a:lnTo>
                <a:lnTo>
                  <a:pt x="62" y="65"/>
                </a:lnTo>
                <a:lnTo>
                  <a:pt x="65" y="69"/>
                </a:lnTo>
                <a:lnTo>
                  <a:pt x="66" y="75"/>
                </a:lnTo>
                <a:lnTo>
                  <a:pt x="66" y="80"/>
                </a:lnTo>
                <a:lnTo>
                  <a:pt x="0" y="18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374" name="Freeform 326"/>
          <p:cNvSpPr>
            <a:spLocks/>
          </p:cNvSpPr>
          <p:nvPr>
            <p:custDataLst>
              <p:tags r:id="rId229"/>
            </p:custDataLst>
          </p:nvPr>
        </p:nvSpPr>
        <p:spPr bwMode="auto">
          <a:xfrm>
            <a:off x="6477000" y="2763444"/>
            <a:ext cx="7938" cy="42863"/>
          </a:xfrm>
          <a:custGeom>
            <a:avLst/>
            <a:gdLst/>
            <a:ahLst/>
            <a:cxnLst>
              <a:cxn ang="0">
                <a:pos x="20" y="48"/>
              </a:cxn>
              <a:cxn ang="0">
                <a:pos x="20" y="39"/>
              </a:cxn>
              <a:cxn ang="0">
                <a:pos x="19" y="32"/>
              </a:cxn>
              <a:cxn ang="0">
                <a:pos x="16" y="25"/>
              </a:cxn>
              <a:cxn ang="0">
                <a:pos x="14" y="19"/>
              </a:cxn>
              <a:cxn ang="0">
                <a:pos x="12" y="14"/>
              </a:cxn>
              <a:cxn ang="0">
                <a:pos x="9" y="9"/>
              </a:cxn>
              <a:cxn ang="0">
                <a:pos x="4" y="4"/>
              </a:cxn>
              <a:cxn ang="0">
                <a:pos x="0" y="0"/>
              </a:cxn>
              <a:cxn ang="0">
                <a:pos x="0" y="8"/>
              </a:cxn>
              <a:cxn ang="0">
                <a:pos x="2" y="17"/>
              </a:cxn>
              <a:cxn ang="0">
                <a:pos x="4" y="24"/>
              </a:cxn>
              <a:cxn ang="0">
                <a:pos x="8" y="31"/>
              </a:cxn>
              <a:cxn ang="0">
                <a:pos x="14" y="41"/>
              </a:cxn>
              <a:cxn ang="0">
                <a:pos x="20" y="48"/>
              </a:cxn>
            </a:cxnLst>
            <a:rect l="0" t="0" r="r" b="b"/>
            <a:pathLst>
              <a:path w="20" h="48">
                <a:moveTo>
                  <a:pt x="20" y="48"/>
                </a:moveTo>
                <a:lnTo>
                  <a:pt x="20" y="39"/>
                </a:lnTo>
                <a:lnTo>
                  <a:pt x="19" y="32"/>
                </a:lnTo>
                <a:lnTo>
                  <a:pt x="16" y="25"/>
                </a:lnTo>
                <a:lnTo>
                  <a:pt x="14" y="19"/>
                </a:lnTo>
                <a:lnTo>
                  <a:pt x="12" y="14"/>
                </a:lnTo>
                <a:lnTo>
                  <a:pt x="9" y="9"/>
                </a:lnTo>
                <a:lnTo>
                  <a:pt x="4" y="4"/>
                </a:lnTo>
                <a:lnTo>
                  <a:pt x="0" y="0"/>
                </a:lnTo>
                <a:lnTo>
                  <a:pt x="0" y="8"/>
                </a:lnTo>
                <a:lnTo>
                  <a:pt x="2" y="17"/>
                </a:lnTo>
                <a:lnTo>
                  <a:pt x="4" y="24"/>
                </a:lnTo>
                <a:lnTo>
                  <a:pt x="8" y="31"/>
                </a:lnTo>
                <a:lnTo>
                  <a:pt x="14" y="41"/>
                </a:lnTo>
                <a:lnTo>
                  <a:pt x="20" y="4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375" name="Line 327" descr="Horizontal dunkel"/>
          <p:cNvSpPr>
            <a:spLocks noChangeShapeType="1"/>
          </p:cNvSpPr>
          <p:nvPr>
            <p:custDataLst>
              <p:tags r:id="rId230"/>
            </p:custDataLst>
          </p:nvPr>
        </p:nvSpPr>
        <p:spPr bwMode="auto">
          <a:xfrm>
            <a:off x="6502400" y="2790825"/>
            <a:ext cx="4763" cy="4763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376" name="Freeform 328"/>
          <p:cNvSpPr>
            <a:spLocks/>
          </p:cNvSpPr>
          <p:nvPr>
            <p:custDataLst>
              <p:tags r:id="rId231"/>
            </p:custDataLst>
          </p:nvPr>
        </p:nvSpPr>
        <p:spPr bwMode="auto">
          <a:xfrm>
            <a:off x="6499225" y="2790829"/>
            <a:ext cx="7938" cy="42863"/>
          </a:xfrm>
          <a:custGeom>
            <a:avLst/>
            <a:gdLst/>
            <a:ahLst/>
            <a:cxnLst>
              <a:cxn ang="0">
                <a:pos x="20" y="12"/>
              </a:cxn>
              <a:cxn ang="0">
                <a:pos x="20" y="8"/>
              </a:cxn>
              <a:cxn ang="0">
                <a:pos x="18" y="5"/>
              </a:cxn>
              <a:cxn ang="0">
                <a:pos x="15" y="3"/>
              </a:cxn>
              <a:cxn ang="0">
                <a:pos x="13" y="2"/>
              </a:cxn>
              <a:cxn ang="0">
                <a:pos x="7" y="0"/>
              </a:cxn>
              <a:cxn ang="0">
                <a:pos x="0" y="0"/>
              </a:cxn>
            </a:cxnLst>
            <a:rect l="0" t="0" r="r" b="b"/>
            <a:pathLst>
              <a:path w="20" h="12">
                <a:moveTo>
                  <a:pt x="20" y="12"/>
                </a:moveTo>
                <a:lnTo>
                  <a:pt x="20" y="8"/>
                </a:lnTo>
                <a:lnTo>
                  <a:pt x="18" y="5"/>
                </a:lnTo>
                <a:lnTo>
                  <a:pt x="15" y="3"/>
                </a:lnTo>
                <a:lnTo>
                  <a:pt x="13" y="2"/>
                </a:lnTo>
                <a:lnTo>
                  <a:pt x="7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377" name="Freeform 329"/>
          <p:cNvSpPr>
            <a:spLocks/>
          </p:cNvSpPr>
          <p:nvPr>
            <p:custDataLst>
              <p:tags r:id="rId232"/>
            </p:custDataLst>
          </p:nvPr>
        </p:nvSpPr>
        <p:spPr bwMode="auto">
          <a:xfrm>
            <a:off x="6400807" y="2674143"/>
            <a:ext cx="22225" cy="42863"/>
          </a:xfrm>
          <a:custGeom>
            <a:avLst/>
            <a:gdLst/>
            <a:ahLst/>
            <a:cxnLst>
              <a:cxn ang="0">
                <a:pos x="7" y="0"/>
              </a:cxn>
              <a:cxn ang="0">
                <a:pos x="11" y="4"/>
              </a:cxn>
              <a:cxn ang="0">
                <a:pos x="23" y="13"/>
              </a:cxn>
              <a:cxn ang="0">
                <a:pos x="37" y="23"/>
              </a:cxn>
              <a:cxn ang="0">
                <a:pos x="46" y="30"/>
              </a:cxn>
              <a:cxn ang="0">
                <a:pos x="49" y="18"/>
              </a:cxn>
              <a:cxn ang="0">
                <a:pos x="53" y="6"/>
              </a:cxn>
              <a:cxn ang="0">
                <a:pos x="37" y="5"/>
              </a:cxn>
              <a:cxn ang="0">
                <a:pos x="26" y="3"/>
              </a:cxn>
              <a:cxn ang="0">
                <a:pos x="21" y="3"/>
              </a:cxn>
              <a:cxn ang="0">
                <a:pos x="15" y="3"/>
              </a:cxn>
              <a:cxn ang="0">
                <a:pos x="9" y="4"/>
              </a:cxn>
              <a:cxn ang="0">
                <a:pos x="0" y="6"/>
              </a:cxn>
              <a:cxn ang="0">
                <a:pos x="7" y="0"/>
              </a:cxn>
            </a:cxnLst>
            <a:rect l="0" t="0" r="r" b="b"/>
            <a:pathLst>
              <a:path w="53" h="30">
                <a:moveTo>
                  <a:pt x="7" y="0"/>
                </a:moveTo>
                <a:lnTo>
                  <a:pt x="11" y="4"/>
                </a:lnTo>
                <a:lnTo>
                  <a:pt x="23" y="13"/>
                </a:lnTo>
                <a:lnTo>
                  <a:pt x="37" y="23"/>
                </a:lnTo>
                <a:lnTo>
                  <a:pt x="46" y="30"/>
                </a:lnTo>
                <a:lnTo>
                  <a:pt x="49" y="18"/>
                </a:lnTo>
                <a:lnTo>
                  <a:pt x="53" y="6"/>
                </a:lnTo>
                <a:lnTo>
                  <a:pt x="37" y="5"/>
                </a:lnTo>
                <a:lnTo>
                  <a:pt x="26" y="3"/>
                </a:lnTo>
                <a:lnTo>
                  <a:pt x="21" y="3"/>
                </a:lnTo>
                <a:lnTo>
                  <a:pt x="15" y="3"/>
                </a:lnTo>
                <a:lnTo>
                  <a:pt x="9" y="4"/>
                </a:lnTo>
                <a:lnTo>
                  <a:pt x="0" y="6"/>
                </a:lnTo>
                <a:lnTo>
                  <a:pt x="7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378" name="Freeform 330"/>
          <p:cNvSpPr>
            <a:spLocks/>
          </p:cNvSpPr>
          <p:nvPr>
            <p:custDataLst>
              <p:tags r:id="rId233"/>
            </p:custDataLst>
          </p:nvPr>
        </p:nvSpPr>
        <p:spPr bwMode="auto">
          <a:xfrm>
            <a:off x="6929438" y="2946802"/>
            <a:ext cx="11112" cy="42863"/>
          </a:xfrm>
          <a:custGeom>
            <a:avLst/>
            <a:gdLst/>
            <a:ahLst/>
            <a:cxnLst>
              <a:cxn ang="0">
                <a:pos x="0" y="6"/>
              </a:cxn>
              <a:cxn ang="0">
                <a:pos x="4" y="21"/>
              </a:cxn>
              <a:cxn ang="0">
                <a:pos x="7" y="31"/>
              </a:cxn>
              <a:cxn ang="0">
                <a:pos x="22" y="31"/>
              </a:cxn>
              <a:cxn ang="0">
                <a:pos x="33" y="31"/>
              </a:cxn>
              <a:cxn ang="0">
                <a:pos x="33" y="0"/>
              </a:cxn>
              <a:cxn ang="0">
                <a:pos x="27" y="0"/>
              </a:cxn>
              <a:cxn ang="0">
                <a:pos x="19" y="0"/>
              </a:cxn>
              <a:cxn ang="0">
                <a:pos x="10" y="0"/>
              </a:cxn>
              <a:cxn ang="0">
                <a:pos x="0" y="0"/>
              </a:cxn>
              <a:cxn ang="0">
                <a:pos x="0" y="6"/>
              </a:cxn>
            </a:cxnLst>
            <a:rect l="0" t="0" r="r" b="b"/>
            <a:pathLst>
              <a:path w="33" h="31">
                <a:moveTo>
                  <a:pt x="0" y="6"/>
                </a:moveTo>
                <a:lnTo>
                  <a:pt x="4" y="21"/>
                </a:lnTo>
                <a:lnTo>
                  <a:pt x="7" y="31"/>
                </a:lnTo>
                <a:lnTo>
                  <a:pt x="22" y="31"/>
                </a:lnTo>
                <a:lnTo>
                  <a:pt x="33" y="31"/>
                </a:lnTo>
                <a:lnTo>
                  <a:pt x="33" y="0"/>
                </a:lnTo>
                <a:lnTo>
                  <a:pt x="27" y="0"/>
                </a:lnTo>
                <a:lnTo>
                  <a:pt x="19" y="0"/>
                </a:lnTo>
                <a:lnTo>
                  <a:pt x="10" y="0"/>
                </a:lnTo>
                <a:lnTo>
                  <a:pt x="0" y="0"/>
                </a:lnTo>
                <a:lnTo>
                  <a:pt x="0" y="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379" name="Freeform 331"/>
          <p:cNvSpPr>
            <a:spLocks/>
          </p:cNvSpPr>
          <p:nvPr>
            <p:custDataLst>
              <p:tags r:id="rId234"/>
            </p:custDataLst>
          </p:nvPr>
        </p:nvSpPr>
        <p:spPr bwMode="auto">
          <a:xfrm>
            <a:off x="7445381" y="2914656"/>
            <a:ext cx="28575" cy="41672"/>
          </a:xfrm>
          <a:custGeom>
            <a:avLst/>
            <a:gdLst/>
            <a:ahLst/>
            <a:cxnLst>
              <a:cxn ang="0">
                <a:pos x="19" y="68"/>
              </a:cxn>
              <a:cxn ang="0">
                <a:pos x="16" y="68"/>
              </a:cxn>
              <a:cxn ang="0">
                <a:pos x="14" y="66"/>
              </a:cxn>
              <a:cxn ang="0">
                <a:pos x="11" y="64"/>
              </a:cxn>
              <a:cxn ang="0">
                <a:pos x="7" y="61"/>
              </a:cxn>
              <a:cxn ang="0">
                <a:pos x="4" y="59"/>
              </a:cxn>
              <a:cxn ang="0">
                <a:pos x="2" y="55"/>
              </a:cxn>
              <a:cxn ang="0">
                <a:pos x="0" y="52"/>
              </a:cxn>
              <a:cxn ang="0">
                <a:pos x="0" y="49"/>
              </a:cxn>
              <a:cxn ang="0">
                <a:pos x="0" y="38"/>
              </a:cxn>
              <a:cxn ang="0">
                <a:pos x="2" y="29"/>
              </a:cxn>
              <a:cxn ang="0">
                <a:pos x="5" y="21"/>
              </a:cxn>
              <a:cxn ang="0">
                <a:pos x="9" y="14"/>
              </a:cxn>
              <a:cxn ang="0">
                <a:pos x="15" y="8"/>
              </a:cxn>
              <a:cxn ang="0">
                <a:pos x="22" y="4"/>
              </a:cxn>
              <a:cxn ang="0">
                <a:pos x="30" y="2"/>
              </a:cxn>
              <a:cxn ang="0">
                <a:pos x="39" y="0"/>
              </a:cxn>
              <a:cxn ang="0">
                <a:pos x="52" y="0"/>
              </a:cxn>
              <a:cxn ang="0">
                <a:pos x="65" y="0"/>
              </a:cxn>
              <a:cxn ang="0">
                <a:pos x="65" y="43"/>
              </a:cxn>
              <a:cxn ang="0">
                <a:pos x="56" y="52"/>
              </a:cxn>
              <a:cxn ang="0">
                <a:pos x="45" y="61"/>
              </a:cxn>
              <a:cxn ang="0">
                <a:pos x="39" y="64"/>
              </a:cxn>
              <a:cxn ang="0">
                <a:pos x="34" y="66"/>
              </a:cxn>
              <a:cxn ang="0">
                <a:pos x="27" y="68"/>
              </a:cxn>
              <a:cxn ang="0">
                <a:pos x="19" y="68"/>
              </a:cxn>
            </a:cxnLst>
            <a:rect l="0" t="0" r="r" b="b"/>
            <a:pathLst>
              <a:path w="65" h="68">
                <a:moveTo>
                  <a:pt x="19" y="68"/>
                </a:moveTo>
                <a:lnTo>
                  <a:pt x="16" y="68"/>
                </a:lnTo>
                <a:lnTo>
                  <a:pt x="14" y="66"/>
                </a:lnTo>
                <a:lnTo>
                  <a:pt x="11" y="64"/>
                </a:lnTo>
                <a:lnTo>
                  <a:pt x="7" y="61"/>
                </a:lnTo>
                <a:lnTo>
                  <a:pt x="4" y="59"/>
                </a:lnTo>
                <a:lnTo>
                  <a:pt x="2" y="55"/>
                </a:lnTo>
                <a:lnTo>
                  <a:pt x="0" y="52"/>
                </a:lnTo>
                <a:lnTo>
                  <a:pt x="0" y="49"/>
                </a:lnTo>
                <a:lnTo>
                  <a:pt x="0" y="38"/>
                </a:lnTo>
                <a:lnTo>
                  <a:pt x="2" y="29"/>
                </a:lnTo>
                <a:lnTo>
                  <a:pt x="5" y="21"/>
                </a:lnTo>
                <a:lnTo>
                  <a:pt x="9" y="14"/>
                </a:lnTo>
                <a:lnTo>
                  <a:pt x="15" y="8"/>
                </a:lnTo>
                <a:lnTo>
                  <a:pt x="22" y="4"/>
                </a:lnTo>
                <a:lnTo>
                  <a:pt x="30" y="2"/>
                </a:lnTo>
                <a:lnTo>
                  <a:pt x="39" y="0"/>
                </a:lnTo>
                <a:lnTo>
                  <a:pt x="52" y="0"/>
                </a:lnTo>
                <a:lnTo>
                  <a:pt x="65" y="0"/>
                </a:lnTo>
                <a:lnTo>
                  <a:pt x="65" y="43"/>
                </a:lnTo>
                <a:lnTo>
                  <a:pt x="56" y="52"/>
                </a:lnTo>
                <a:lnTo>
                  <a:pt x="45" y="61"/>
                </a:lnTo>
                <a:lnTo>
                  <a:pt x="39" y="64"/>
                </a:lnTo>
                <a:lnTo>
                  <a:pt x="34" y="66"/>
                </a:lnTo>
                <a:lnTo>
                  <a:pt x="27" y="68"/>
                </a:lnTo>
                <a:lnTo>
                  <a:pt x="19" y="6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380" name="Freeform 332"/>
          <p:cNvSpPr>
            <a:spLocks/>
          </p:cNvSpPr>
          <p:nvPr>
            <p:custDataLst>
              <p:tags r:id="rId235"/>
            </p:custDataLst>
          </p:nvPr>
        </p:nvSpPr>
        <p:spPr bwMode="auto">
          <a:xfrm>
            <a:off x="6383345" y="2601518"/>
            <a:ext cx="274637" cy="276225"/>
          </a:xfrm>
          <a:custGeom>
            <a:avLst/>
            <a:gdLst/>
            <a:ahLst/>
            <a:cxnLst>
              <a:cxn ang="0">
                <a:pos x="502" y="337"/>
              </a:cxn>
              <a:cxn ang="0">
                <a:pos x="484" y="341"/>
              </a:cxn>
              <a:cxn ang="0">
                <a:pos x="479" y="382"/>
              </a:cxn>
              <a:cxn ang="0">
                <a:pos x="515" y="404"/>
              </a:cxn>
              <a:cxn ang="0">
                <a:pos x="534" y="405"/>
              </a:cxn>
              <a:cxn ang="0">
                <a:pos x="550" y="424"/>
              </a:cxn>
              <a:cxn ang="0">
                <a:pos x="560" y="459"/>
              </a:cxn>
              <a:cxn ang="0">
                <a:pos x="572" y="474"/>
              </a:cxn>
              <a:cxn ang="0">
                <a:pos x="588" y="483"/>
              </a:cxn>
              <a:cxn ang="0">
                <a:pos x="614" y="487"/>
              </a:cxn>
              <a:cxn ang="0">
                <a:pos x="625" y="505"/>
              </a:cxn>
              <a:cxn ang="0">
                <a:pos x="625" y="539"/>
              </a:cxn>
              <a:cxn ang="0">
                <a:pos x="618" y="603"/>
              </a:cxn>
              <a:cxn ang="0">
                <a:pos x="611" y="672"/>
              </a:cxn>
              <a:cxn ang="0">
                <a:pos x="562" y="693"/>
              </a:cxn>
              <a:cxn ang="0">
                <a:pos x="539" y="693"/>
              </a:cxn>
              <a:cxn ang="0">
                <a:pos x="394" y="564"/>
              </a:cxn>
              <a:cxn ang="0">
                <a:pos x="397" y="552"/>
              </a:cxn>
              <a:cxn ang="0">
                <a:pos x="394" y="539"/>
              </a:cxn>
              <a:cxn ang="0">
                <a:pos x="338" y="488"/>
              </a:cxn>
              <a:cxn ang="0">
                <a:pos x="305" y="453"/>
              </a:cxn>
              <a:cxn ang="0">
                <a:pos x="293" y="419"/>
              </a:cxn>
              <a:cxn ang="0">
                <a:pos x="291" y="381"/>
              </a:cxn>
              <a:cxn ang="0">
                <a:pos x="285" y="360"/>
              </a:cxn>
              <a:cxn ang="0">
                <a:pos x="268" y="342"/>
              </a:cxn>
              <a:cxn ang="0">
                <a:pos x="241" y="310"/>
              </a:cxn>
              <a:cxn ang="0">
                <a:pos x="224" y="269"/>
              </a:cxn>
              <a:cxn ang="0">
                <a:pos x="213" y="238"/>
              </a:cxn>
              <a:cxn ang="0">
                <a:pos x="190" y="212"/>
              </a:cxn>
              <a:cxn ang="0">
                <a:pos x="150" y="171"/>
              </a:cxn>
              <a:cxn ang="0">
                <a:pos x="136" y="146"/>
              </a:cxn>
              <a:cxn ang="0">
                <a:pos x="112" y="132"/>
              </a:cxn>
              <a:cxn ang="0">
                <a:pos x="80" y="113"/>
              </a:cxn>
              <a:cxn ang="0">
                <a:pos x="49" y="85"/>
              </a:cxn>
              <a:cxn ang="0">
                <a:pos x="23" y="51"/>
              </a:cxn>
              <a:cxn ang="0">
                <a:pos x="5" y="19"/>
              </a:cxn>
              <a:cxn ang="0">
                <a:pos x="10" y="4"/>
              </a:cxn>
              <a:cxn ang="0">
                <a:pos x="37" y="13"/>
              </a:cxn>
              <a:cxn ang="0">
                <a:pos x="84" y="16"/>
              </a:cxn>
              <a:cxn ang="0">
                <a:pos x="116" y="20"/>
              </a:cxn>
              <a:cxn ang="0">
                <a:pos x="138" y="27"/>
              </a:cxn>
              <a:cxn ang="0">
                <a:pos x="156" y="42"/>
              </a:cxn>
              <a:cxn ang="0">
                <a:pos x="204" y="109"/>
              </a:cxn>
              <a:cxn ang="0">
                <a:pos x="254" y="163"/>
              </a:cxn>
              <a:cxn ang="0">
                <a:pos x="299" y="202"/>
              </a:cxn>
              <a:cxn ang="0">
                <a:pos x="329" y="219"/>
              </a:cxn>
              <a:cxn ang="0">
                <a:pos x="366" y="227"/>
              </a:cxn>
              <a:cxn ang="0">
                <a:pos x="388" y="230"/>
              </a:cxn>
              <a:cxn ang="0">
                <a:pos x="401" y="241"/>
              </a:cxn>
              <a:cxn ang="0">
                <a:pos x="416" y="260"/>
              </a:cxn>
              <a:cxn ang="0">
                <a:pos x="427" y="265"/>
              </a:cxn>
            </a:cxnLst>
            <a:rect l="0" t="0" r="r" b="b"/>
            <a:pathLst>
              <a:path w="625" h="694">
                <a:moveTo>
                  <a:pt x="433" y="265"/>
                </a:moveTo>
                <a:lnTo>
                  <a:pt x="512" y="333"/>
                </a:lnTo>
                <a:lnTo>
                  <a:pt x="502" y="337"/>
                </a:lnTo>
                <a:lnTo>
                  <a:pt x="493" y="341"/>
                </a:lnTo>
                <a:lnTo>
                  <a:pt x="489" y="341"/>
                </a:lnTo>
                <a:lnTo>
                  <a:pt x="484" y="341"/>
                </a:lnTo>
                <a:lnTo>
                  <a:pt x="481" y="341"/>
                </a:lnTo>
                <a:lnTo>
                  <a:pt x="479" y="339"/>
                </a:lnTo>
                <a:lnTo>
                  <a:pt x="479" y="382"/>
                </a:lnTo>
                <a:lnTo>
                  <a:pt x="493" y="392"/>
                </a:lnTo>
                <a:lnTo>
                  <a:pt x="507" y="402"/>
                </a:lnTo>
                <a:lnTo>
                  <a:pt x="515" y="404"/>
                </a:lnTo>
                <a:lnTo>
                  <a:pt x="524" y="406"/>
                </a:lnTo>
                <a:lnTo>
                  <a:pt x="528" y="405"/>
                </a:lnTo>
                <a:lnTo>
                  <a:pt x="534" y="405"/>
                </a:lnTo>
                <a:lnTo>
                  <a:pt x="539" y="403"/>
                </a:lnTo>
                <a:lnTo>
                  <a:pt x="545" y="402"/>
                </a:lnTo>
                <a:lnTo>
                  <a:pt x="550" y="424"/>
                </a:lnTo>
                <a:lnTo>
                  <a:pt x="554" y="443"/>
                </a:lnTo>
                <a:lnTo>
                  <a:pt x="558" y="451"/>
                </a:lnTo>
                <a:lnTo>
                  <a:pt x="560" y="459"/>
                </a:lnTo>
                <a:lnTo>
                  <a:pt x="563" y="465"/>
                </a:lnTo>
                <a:lnTo>
                  <a:pt x="568" y="470"/>
                </a:lnTo>
                <a:lnTo>
                  <a:pt x="572" y="474"/>
                </a:lnTo>
                <a:lnTo>
                  <a:pt x="576" y="478"/>
                </a:lnTo>
                <a:lnTo>
                  <a:pt x="582" y="481"/>
                </a:lnTo>
                <a:lnTo>
                  <a:pt x="588" y="483"/>
                </a:lnTo>
                <a:lnTo>
                  <a:pt x="596" y="485"/>
                </a:lnTo>
                <a:lnTo>
                  <a:pt x="605" y="486"/>
                </a:lnTo>
                <a:lnTo>
                  <a:pt x="614" y="487"/>
                </a:lnTo>
                <a:lnTo>
                  <a:pt x="625" y="487"/>
                </a:lnTo>
                <a:lnTo>
                  <a:pt x="625" y="496"/>
                </a:lnTo>
                <a:lnTo>
                  <a:pt x="625" y="505"/>
                </a:lnTo>
                <a:lnTo>
                  <a:pt x="625" y="515"/>
                </a:lnTo>
                <a:lnTo>
                  <a:pt x="625" y="525"/>
                </a:lnTo>
                <a:lnTo>
                  <a:pt x="625" y="539"/>
                </a:lnTo>
                <a:lnTo>
                  <a:pt x="622" y="557"/>
                </a:lnTo>
                <a:lnTo>
                  <a:pt x="620" y="579"/>
                </a:lnTo>
                <a:lnTo>
                  <a:pt x="618" y="603"/>
                </a:lnTo>
                <a:lnTo>
                  <a:pt x="616" y="628"/>
                </a:lnTo>
                <a:lnTo>
                  <a:pt x="614" y="651"/>
                </a:lnTo>
                <a:lnTo>
                  <a:pt x="611" y="672"/>
                </a:lnTo>
                <a:lnTo>
                  <a:pt x="611" y="691"/>
                </a:lnTo>
                <a:lnTo>
                  <a:pt x="582" y="692"/>
                </a:lnTo>
                <a:lnTo>
                  <a:pt x="562" y="693"/>
                </a:lnTo>
                <a:lnTo>
                  <a:pt x="553" y="694"/>
                </a:lnTo>
                <a:lnTo>
                  <a:pt x="546" y="693"/>
                </a:lnTo>
                <a:lnTo>
                  <a:pt x="539" y="693"/>
                </a:lnTo>
                <a:lnTo>
                  <a:pt x="531" y="691"/>
                </a:lnTo>
                <a:lnTo>
                  <a:pt x="392" y="567"/>
                </a:lnTo>
                <a:lnTo>
                  <a:pt x="394" y="564"/>
                </a:lnTo>
                <a:lnTo>
                  <a:pt x="396" y="560"/>
                </a:lnTo>
                <a:lnTo>
                  <a:pt x="397" y="556"/>
                </a:lnTo>
                <a:lnTo>
                  <a:pt x="397" y="552"/>
                </a:lnTo>
                <a:lnTo>
                  <a:pt x="397" y="547"/>
                </a:lnTo>
                <a:lnTo>
                  <a:pt x="396" y="543"/>
                </a:lnTo>
                <a:lnTo>
                  <a:pt x="394" y="539"/>
                </a:lnTo>
                <a:lnTo>
                  <a:pt x="392" y="537"/>
                </a:lnTo>
                <a:lnTo>
                  <a:pt x="366" y="513"/>
                </a:lnTo>
                <a:lnTo>
                  <a:pt x="338" y="488"/>
                </a:lnTo>
                <a:lnTo>
                  <a:pt x="326" y="476"/>
                </a:lnTo>
                <a:lnTo>
                  <a:pt x="315" y="465"/>
                </a:lnTo>
                <a:lnTo>
                  <a:pt x="305" y="453"/>
                </a:lnTo>
                <a:lnTo>
                  <a:pt x="300" y="444"/>
                </a:lnTo>
                <a:lnTo>
                  <a:pt x="295" y="432"/>
                </a:lnTo>
                <a:lnTo>
                  <a:pt x="293" y="419"/>
                </a:lnTo>
                <a:lnTo>
                  <a:pt x="292" y="407"/>
                </a:lnTo>
                <a:lnTo>
                  <a:pt x="292" y="393"/>
                </a:lnTo>
                <a:lnTo>
                  <a:pt x="291" y="381"/>
                </a:lnTo>
                <a:lnTo>
                  <a:pt x="289" y="370"/>
                </a:lnTo>
                <a:lnTo>
                  <a:pt x="288" y="365"/>
                </a:lnTo>
                <a:lnTo>
                  <a:pt x="285" y="360"/>
                </a:lnTo>
                <a:lnTo>
                  <a:pt x="282" y="356"/>
                </a:lnTo>
                <a:lnTo>
                  <a:pt x="279" y="352"/>
                </a:lnTo>
                <a:lnTo>
                  <a:pt x="268" y="342"/>
                </a:lnTo>
                <a:lnTo>
                  <a:pt x="258" y="332"/>
                </a:lnTo>
                <a:lnTo>
                  <a:pt x="249" y="321"/>
                </a:lnTo>
                <a:lnTo>
                  <a:pt x="241" y="310"/>
                </a:lnTo>
                <a:lnTo>
                  <a:pt x="235" y="297"/>
                </a:lnTo>
                <a:lnTo>
                  <a:pt x="229" y="283"/>
                </a:lnTo>
                <a:lnTo>
                  <a:pt x="224" y="269"/>
                </a:lnTo>
                <a:lnTo>
                  <a:pt x="220" y="253"/>
                </a:lnTo>
                <a:lnTo>
                  <a:pt x="216" y="246"/>
                </a:lnTo>
                <a:lnTo>
                  <a:pt x="213" y="238"/>
                </a:lnTo>
                <a:lnTo>
                  <a:pt x="207" y="231"/>
                </a:lnTo>
                <a:lnTo>
                  <a:pt x="202" y="224"/>
                </a:lnTo>
                <a:lnTo>
                  <a:pt x="190" y="212"/>
                </a:lnTo>
                <a:lnTo>
                  <a:pt x="177" y="199"/>
                </a:lnTo>
                <a:lnTo>
                  <a:pt x="162" y="187"/>
                </a:lnTo>
                <a:lnTo>
                  <a:pt x="150" y="171"/>
                </a:lnTo>
                <a:lnTo>
                  <a:pt x="145" y="164"/>
                </a:lnTo>
                <a:lnTo>
                  <a:pt x="140" y="155"/>
                </a:lnTo>
                <a:lnTo>
                  <a:pt x="136" y="146"/>
                </a:lnTo>
                <a:lnTo>
                  <a:pt x="133" y="136"/>
                </a:lnTo>
                <a:lnTo>
                  <a:pt x="123" y="135"/>
                </a:lnTo>
                <a:lnTo>
                  <a:pt x="112" y="132"/>
                </a:lnTo>
                <a:lnTo>
                  <a:pt x="102" y="128"/>
                </a:lnTo>
                <a:lnTo>
                  <a:pt x="91" y="121"/>
                </a:lnTo>
                <a:lnTo>
                  <a:pt x="80" y="113"/>
                </a:lnTo>
                <a:lnTo>
                  <a:pt x="69" y="104"/>
                </a:lnTo>
                <a:lnTo>
                  <a:pt x="59" y="95"/>
                </a:lnTo>
                <a:lnTo>
                  <a:pt x="49" y="85"/>
                </a:lnTo>
                <a:lnTo>
                  <a:pt x="39" y="74"/>
                </a:lnTo>
                <a:lnTo>
                  <a:pt x="31" y="62"/>
                </a:lnTo>
                <a:lnTo>
                  <a:pt x="23" y="51"/>
                </a:lnTo>
                <a:lnTo>
                  <a:pt x="16" y="40"/>
                </a:lnTo>
                <a:lnTo>
                  <a:pt x="10" y="29"/>
                </a:lnTo>
                <a:lnTo>
                  <a:pt x="5" y="19"/>
                </a:lnTo>
                <a:lnTo>
                  <a:pt x="2" y="9"/>
                </a:lnTo>
                <a:lnTo>
                  <a:pt x="0" y="0"/>
                </a:lnTo>
                <a:lnTo>
                  <a:pt x="10" y="4"/>
                </a:lnTo>
                <a:lnTo>
                  <a:pt x="20" y="7"/>
                </a:lnTo>
                <a:lnTo>
                  <a:pt x="28" y="10"/>
                </a:lnTo>
                <a:lnTo>
                  <a:pt x="37" y="13"/>
                </a:lnTo>
                <a:lnTo>
                  <a:pt x="54" y="15"/>
                </a:lnTo>
                <a:lnTo>
                  <a:pt x="69" y="16"/>
                </a:lnTo>
                <a:lnTo>
                  <a:pt x="84" y="16"/>
                </a:lnTo>
                <a:lnTo>
                  <a:pt x="100" y="17"/>
                </a:lnTo>
                <a:lnTo>
                  <a:pt x="108" y="19"/>
                </a:lnTo>
                <a:lnTo>
                  <a:pt x="116" y="20"/>
                </a:lnTo>
                <a:lnTo>
                  <a:pt x="124" y="22"/>
                </a:lnTo>
                <a:lnTo>
                  <a:pt x="133" y="25"/>
                </a:lnTo>
                <a:lnTo>
                  <a:pt x="138" y="27"/>
                </a:lnTo>
                <a:lnTo>
                  <a:pt x="144" y="31"/>
                </a:lnTo>
                <a:lnTo>
                  <a:pt x="149" y="36"/>
                </a:lnTo>
                <a:lnTo>
                  <a:pt x="156" y="42"/>
                </a:lnTo>
                <a:lnTo>
                  <a:pt x="169" y="57"/>
                </a:lnTo>
                <a:lnTo>
                  <a:pt x="181" y="76"/>
                </a:lnTo>
                <a:lnTo>
                  <a:pt x="204" y="109"/>
                </a:lnTo>
                <a:lnTo>
                  <a:pt x="220" y="130"/>
                </a:lnTo>
                <a:lnTo>
                  <a:pt x="237" y="147"/>
                </a:lnTo>
                <a:lnTo>
                  <a:pt x="254" y="163"/>
                </a:lnTo>
                <a:lnTo>
                  <a:pt x="271" y="181"/>
                </a:lnTo>
                <a:lnTo>
                  <a:pt x="289" y="196"/>
                </a:lnTo>
                <a:lnTo>
                  <a:pt x="299" y="202"/>
                </a:lnTo>
                <a:lnTo>
                  <a:pt x="308" y="209"/>
                </a:lnTo>
                <a:lnTo>
                  <a:pt x="318" y="214"/>
                </a:lnTo>
                <a:lnTo>
                  <a:pt x="329" y="219"/>
                </a:lnTo>
                <a:lnTo>
                  <a:pt x="341" y="223"/>
                </a:lnTo>
                <a:lnTo>
                  <a:pt x="353" y="226"/>
                </a:lnTo>
                <a:lnTo>
                  <a:pt x="366" y="227"/>
                </a:lnTo>
                <a:lnTo>
                  <a:pt x="379" y="228"/>
                </a:lnTo>
                <a:lnTo>
                  <a:pt x="383" y="229"/>
                </a:lnTo>
                <a:lnTo>
                  <a:pt x="388" y="230"/>
                </a:lnTo>
                <a:lnTo>
                  <a:pt x="392" y="231"/>
                </a:lnTo>
                <a:lnTo>
                  <a:pt x="395" y="235"/>
                </a:lnTo>
                <a:lnTo>
                  <a:pt x="401" y="241"/>
                </a:lnTo>
                <a:lnTo>
                  <a:pt x="405" y="247"/>
                </a:lnTo>
                <a:lnTo>
                  <a:pt x="411" y="254"/>
                </a:lnTo>
                <a:lnTo>
                  <a:pt x="416" y="260"/>
                </a:lnTo>
                <a:lnTo>
                  <a:pt x="419" y="262"/>
                </a:lnTo>
                <a:lnTo>
                  <a:pt x="423" y="264"/>
                </a:lnTo>
                <a:lnTo>
                  <a:pt x="427" y="265"/>
                </a:lnTo>
                <a:lnTo>
                  <a:pt x="433" y="26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381" name="Freeform 333"/>
          <p:cNvSpPr>
            <a:spLocks/>
          </p:cNvSpPr>
          <p:nvPr>
            <p:custDataLst>
              <p:tags r:id="rId236"/>
            </p:custDataLst>
          </p:nvPr>
        </p:nvSpPr>
        <p:spPr bwMode="auto">
          <a:xfrm>
            <a:off x="6724650" y="2638434"/>
            <a:ext cx="254000" cy="192881"/>
          </a:xfrm>
          <a:custGeom>
            <a:avLst/>
            <a:gdLst/>
            <a:ahLst/>
            <a:cxnLst>
              <a:cxn ang="0">
                <a:pos x="516" y="28"/>
              </a:cxn>
              <a:cxn ang="0">
                <a:pos x="495" y="55"/>
              </a:cxn>
              <a:cxn ang="0">
                <a:pos x="512" y="93"/>
              </a:cxn>
              <a:cxn ang="0">
                <a:pos x="534" y="130"/>
              </a:cxn>
              <a:cxn ang="0">
                <a:pos x="573" y="177"/>
              </a:cxn>
              <a:cxn ang="0">
                <a:pos x="580" y="205"/>
              </a:cxn>
              <a:cxn ang="0">
                <a:pos x="547" y="204"/>
              </a:cxn>
              <a:cxn ang="0">
                <a:pos x="516" y="233"/>
              </a:cxn>
              <a:cxn ang="0">
                <a:pos x="506" y="246"/>
              </a:cxn>
              <a:cxn ang="0">
                <a:pos x="518" y="271"/>
              </a:cxn>
              <a:cxn ang="0">
                <a:pos x="525" y="294"/>
              </a:cxn>
              <a:cxn ang="0">
                <a:pos x="505" y="308"/>
              </a:cxn>
              <a:cxn ang="0">
                <a:pos x="459" y="323"/>
              </a:cxn>
              <a:cxn ang="0">
                <a:pos x="443" y="354"/>
              </a:cxn>
              <a:cxn ang="0">
                <a:pos x="445" y="415"/>
              </a:cxn>
              <a:cxn ang="0">
                <a:pos x="430" y="454"/>
              </a:cxn>
              <a:cxn ang="0">
                <a:pos x="400" y="472"/>
              </a:cxn>
              <a:cxn ang="0">
                <a:pos x="370" y="488"/>
              </a:cxn>
              <a:cxn ang="0">
                <a:pos x="341" y="493"/>
              </a:cxn>
              <a:cxn ang="0">
                <a:pos x="329" y="487"/>
              </a:cxn>
              <a:cxn ang="0">
                <a:pos x="327" y="471"/>
              </a:cxn>
              <a:cxn ang="0">
                <a:pos x="304" y="451"/>
              </a:cxn>
              <a:cxn ang="0">
                <a:pos x="251" y="454"/>
              </a:cxn>
              <a:cxn ang="0">
                <a:pos x="219" y="462"/>
              </a:cxn>
              <a:cxn ang="0">
                <a:pos x="176" y="440"/>
              </a:cxn>
              <a:cxn ang="0">
                <a:pos x="122" y="436"/>
              </a:cxn>
              <a:cxn ang="0">
                <a:pos x="95" y="429"/>
              </a:cxn>
              <a:cxn ang="0">
                <a:pos x="81" y="366"/>
              </a:cxn>
              <a:cxn ang="0">
                <a:pos x="58" y="310"/>
              </a:cxn>
              <a:cxn ang="0">
                <a:pos x="35" y="292"/>
              </a:cxn>
              <a:cxn ang="0">
                <a:pos x="12" y="260"/>
              </a:cxn>
              <a:cxn ang="0">
                <a:pos x="5" y="204"/>
              </a:cxn>
              <a:cxn ang="0">
                <a:pos x="31" y="153"/>
              </a:cxn>
              <a:cxn ang="0">
                <a:pos x="54" y="141"/>
              </a:cxn>
              <a:cxn ang="0">
                <a:pos x="75" y="152"/>
              </a:cxn>
              <a:cxn ang="0">
                <a:pos x="97" y="187"/>
              </a:cxn>
              <a:cxn ang="0">
                <a:pos x="129" y="214"/>
              </a:cxn>
              <a:cxn ang="0">
                <a:pos x="170" y="213"/>
              </a:cxn>
              <a:cxn ang="0">
                <a:pos x="221" y="189"/>
              </a:cxn>
              <a:cxn ang="0">
                <a:pos x="233" y="172"/>
              </a:cxn>
              <a:cxn ang="0">
                <a:pos x="288" y="178"/>
              </a:cxn>
              <a:cxn ang="0">
                <a:pos x="326" y="181"/>
              </a:cxn>
              <a:cxn ang="0">
                <a:pos x="337" y="170"/>
              </a:cxn>
              <a:cxn ang="0">
                <a:pos x="362" y="158"/>
              </a:cxn>
              <a:cxn ang="0">
                <a:pos x="383" y="136"/>
              </a:cxn>
              <a:cxn ang="0">
                <a:pos x="415" y="79"/>
              </a:cxn>
              <a:cxn ang="0">
                <a:pos x="427" y="25"/>
              </a:cxn>
              <a:cxn ang="0">
                <a:pos x="447" y="6"/>
              </a:cxn>
              <a:cxn ang="0">
                <a:pos x="479" y="2"/>
              </a:cxn>
            </a:cxnLst>
            <a:rect l="0" t="0" r="r" b="b"/>
            <a:pathLst>
              <a:path w="585" h="493">
                <a:moveTo>
                  <a:pt x="525" y="12"/>
                </a:moveTo>
                <a:lnTo>
                  <a:pt x="524" y="17"/>
                </a:lnTo>
                <a:lnTo>
                  <a:pt x="520" y="22"/>
                </a:lnTo>
                <a:lnTo>
                  <a:pt x="516" y="28"/>
                </a:lnTo>
                <a:lnTo>
                  <a:pt x="510" y="33"/>
                </a:lnTo>
                <a:lnTo>
                  <a:pt x="497" y="45"/>
                </a:lnTo>
                <a:lnTo>
                  <a:pt x="485" y="55"/>
                </a:lnTo>
                <a:lnTo>
                  <a:pt x="495" y="55"/>
                </a:lnTo>
                <a:lnTo>
                  <a:pt x="505" y="55"/>
                </a:lnTo>
                <a:lnTo>
                  <a:pt x="506" y="68"/>
                </a:lnTo>
                <a:lnTo>
                  <a:pt x="508" y="81"/>
                </a:lnTo>
                <a:lnTo>
                  <a:pt x="512" y="93"/>
                </a:lnTo>
                <a:lnTo>
                  <a:pt x="516" y="103"/>
                </a:lnTo>
                <a:lnTo>
                  <a:pt x="520" y="112"/>
                </a:lnTo>
                <a:lnTo>
                  <a:pt x="527" y="121"/>
                </a:lnTo>
                <a:lnTo>
                  <a:pt x="534" y="130"/>
                </a:lnTo>
                <a:lnTo>
                  <a:pt x="540" y="138"/>
                </a:lnTo>
                <a:lnTo>
                  <a:pt x="553" y="155"/>
                </a:lnTo>
                <a:lnTo>
                  <a:pt x="566" y="170"/>
                </a:lnTo>
                <a:lnTo>
                  <a:pt x="573" y="177"/>
                </a:lnTo>
                <a:lnTo>
                  <a:pt x="577" y="185"/>
                </a:lnTo>
                <a:lnTo>
                  <a:pt x="582" y="194"/>
                </a:lnTo>
                <a:lnTo>
                  <a:pt x="585" y="204"/>
                </a:lnTo>
                <a:lnTo>
                  <a:pt x="580" y="205"/>
                </a:lnTo>
                <a:lnTo>
                  <a:pt x="574" y="206"/>
                </a:lnTo>
                <a:lnTo>
                  <a:pt x="568" y="206"/>
                </a:lnTo>
                <a:lnTo>
                  <a:pt x="561" y="206"/>
                </a:lnTo>
                <a:lnTo>
                  <a:pt x="547" y="204"/>
                </a:lnTo>
                <a:lnTo>
                  <a:pt x="531" y="204"/>
                </a:lnTo>
                <a:lnTo>
                  <a:pt x="524" y="217"/>
                </a:lnTo>
                <a:lnTo>
                  <a:pt x="518" y="229"/>
                </a:lnTo>
                <a:lnTo>
                  <a:pt x="516" y="233"/>
                </a:lnTo>
                <a:lnTo>
                  <a:pt x="513" y="237"/>
                </a:lnTo>
                <a:lnTo>
                  <a:pt x="509" y="239"/>
                </a:lnTo>
                <a:lnTo>
                  <a:pt x="505" y="240"/>
                </a:lnTo>
                <a:lnTo>
                  <a:pt x="506" y="246"/>
                </a:lnTo>
                <a:lnTo>
                  <a:pt x="508" y="253"/>
                </a:lnTo>
                <a:lnTo>
                  <a:pt x="512" y="259"/>
                </a:lnTo>
                <a:lnTo>
                  <a:pt x="515" y="265"/>
                </a:lnTo>
                <a:lnTo>
                  <a:pt x="518" y="271"/>
                </a:lnTo>
                <a:lnTo>
                  <a:pt x="521" y="277"/>
                </a:lnTo>
                <a:lnTo>
                  <a:pt x="524" y="283"/>
                </a:lnTo>
                <a:lnTo>
                  <a:pt x="525" y="289"/>
                </a:lnTo>
                <a:lnTo>
                  <a:pt x="525" y="294"/>
                </a:lnTo>
                <a:lnTo>
                  <a:pt x="523" y="297"/>
                </a:lnTo>
                <a:lnTo>
                  <a:pt x="519" y="301"/>
                </a:lnTo>
                <a:lnTo>
                  <a:pt x="516" y="304"/>
                </a:lnTo>
                <a:lnTo>
                  <a:pt x="505" y="308"/>
                </a:lnTo>
                <a:lnTo>
                  <a:pt x="494" y="312"/>
                </a:lnTo>
                <a:lnTo>
                  <a:pt x="481" y="316"/>
                </a:lnTo>
                <a:lnTo>
                  <a:pt x="469" y="319"/>
                </a:lnTo>
                <a:lnTo>
                  <a:pt x="459" y="323"/>
                </a:lnTo>
                <a:lnTo>
                  <a:pt x="452" y="327"/>
                </a:lnTo>
                <a:lnTo>
                  <a:pt x="448" y="334"/>
                </a:lnTo>
                <a:lnTo>
                  <a:pt x="446" y="344"/>
                </a:lnTo>
                <a:lnTo>
                  <a:pt x="443" y="354"/>
                </a:lnTo>
                <a:lnTo>
                  <a:pt x="443" y="365"/>
                </a:lnTo>
                <a:lnTo>
                  <a:pt x="445" y="386"/>
                </a:lnTo>
                <a:lnTo>
                  <a:pt x="446" y="400"/>
                </a:lnTo>
                <a:lnTo>
                  <a:pt x="445" y="415"/>
                </a:lnTo>
                <a:lnTo>
                  <a:pt x="442" y="428"/>
                </a:lnTo>
                <a:lnTo>
                  <a:pt x="439" y="439"/>
                </a:lnTo>
                <a:lnTo>
                  <a:pt x="436" y="447"/>
                </a:lnTo>
                <a:lnTo>
                  <a:pt x="430" y="454"/>
                </a:lnTo>
                <a:lnTo>
                  <a:pt x="425" y="459"/>
                </a:lnTo>
                <a:lnTo>
                  <a:pt x="419" y="464"/>
                </a:lnTo>
                <a:lnTo>
                  <a:pt x="413" y="467"/>
                </a:lnTo>
                <a:lnTo>
                  <a:pt x="400" y="472"/>
                </a:lnTo>
                <a:lnTo>
                  <a:pt x="386" y="477"/>
                </a:lnTo>
                <a:lnTo>
                  <a:pt x="380" y="480"/>
                </a:lnTo>
                <a:lnTo>
                  <a:pt x="374" y="484"/>
                </a:lnTo>
                <a:lnTo>
                  <a:pt x="370" y="488"/>
                </a:lnTo>
                <a:lnTo>
                  <a:pt x="366" y="493"/>
                </a:lnTo>
                <a:lnTo>
                  <a:pt x="356" y="493"/>
                </a:lnTo>
                <a:lnTo>
                  <a:pt x="346" y="493"/>
                </a:lnTo>
                <a:lnTo>
                  <a:pt x="341" y="493"/>
                </a:lnTo>
                <a:lnTo>
                  <a:pt x="337" y="492"/>
                </a:lnTo>
                <a:lnTo>
                  <a:pt x="334" y="491"/>
                </a:lnTo>
                <a:lnTo>
                  <a:pt x="331" y="489"/>
                </a:lnTo>
                <a:lnTo>
                  <a:pt x="329" y="487"/>
                </a:lnTo>
                <a:lnTo>
                  <a:pt x="328" y="484"/>
                </a:lnTo>
                <a:lnTo>
                  <a:pt x="327" y="482"/>
                </a:lnTo>
                <a:lnTo>
                  <a:pt x="326" y="478"/>
                </a:lnTo>
                <a:lnTo>
                  <a:pt x="327" y="471"/>
                </a:lnTo>
                <a:lnTo>
                  <a:pt x="328" y="464"/>
                </a:lnTo>
                <a:lnTo>
                  <a:pt x="330" y="457"/>
                </a:lnTo>
                <a:lnTo>
                  <a:pt x="333" y="450"/>
                </a:lnTo>
                <a:lnTo>
                  <a:pt x="304" y="451"/>
                </a:lnTo>
                <a:lnTo>
                  <a:pt x="279" y="454"/>
                </a:lnTo>
                <a:lnTo>
                  <a:pt x="267" y="455"/>
                </a:lnTo>
                <a:lnTo>
                  <a:pt x="257" y="455"/>
                </a:lnTo>
                <a:lnTo>
                  <a:pt x="251" y="454"/>
                </a:lnTo>
                <a:lnTo>
                  <a:pt x="247" y="453"/>
                </a:lnTo>
                <a:lnTo>
                  <a:pt x="244" y="452"/>
                </a:lnTo>
                <a:lnTo>
                  <a:pt x="239" y="450"/>
                </a:lnTo>
                <a:lnTo>
                  <a:pt x="219" y="462"/>
                </a:lnTo>
                <a:lnTo>
                  <a:pt x="207" y="455"/>
                </a:lnTo>
                <a:lnTo>
                  <a:pt x="192" y="447"/>
                </a:lnTo>
                <a:lnTo>
                  <a:pt x="183" y="444"/>
                </a:lnTo>
                <a:lnTo>
                  <a:pt x="176" y="440"/>
                </a:lnTo>
                <a:lnTo>
                  <a:pt x="168" y="438"/>
                </a:lnTo>
                <a:lnTo>
                  <a:pt x="159" y="438"/>
                </a:lnTo>
                <a:lnTo>
                  <a:pt x="144" y="437"/>
                </a:lnTo>
                <a:lnTo>
                  <a:pt x="122" y="436"/>
                </a:lnTo>
                <a:lnTo>
                  <a:pt x="111" y="435"/>
                </a:lnTo>
                <a:lnTo>
                  <a:pt x="102" y="432"/>
                </a:lnTo>
                <a:lnTo>
                  <a:pt x="98" y="431"/>
                </a:lnTo>
                <a:lnTo>
                  <a:pt x="95" y="429"/>
                </a:lnTo>
                <a:lnTo>
                  <a:pt x="93" y="428"/>
                </a:lnTo>
                <a:lnTo>
                  <a:pt x="93" y="424"/>
                </a:lnTo>
                <a:lnTo>
                  <a:pt x="87" y="393"/>
                </a:lnTo>
                <a:lnTo>
                  <a:pt x="81" y="366"/>
                </a:lnTo>
                <a:lnTo>
                  <a:pt x="75" y="346"/>
                </a:lnTo>
                <a:lnTo>
                  <a:pt x="69" y="331"/>
                </a:lnTo>
                <a:lnTo>
                  <a:pt x="64" y="320"/>
                </a:lnTo>
                <a:lnTo>
                  <a:pt x="58" y="310"/>
                </a:lnTo>
                <a:lnTo>
                  <a:pt x="53" y="304"/>
                </a:lnTo>
                <a:lnTo>
                  <a:pt x="47" y="300"/>
                </a:lnTo>
                <a:lnTo>
                  <a:pt x="41" y="296"/>
                </a:lnTo>
                <a:lnTo>
                  <a:pt x="35" y="292"/>
                </a:lnTo>
                <a:lnTo>
                  <a:pt x="30" y="288"/>
                </a:lnTo>
                <a:lnTo>
                  <a:pt x="24" y="281"/>
                </a:lnTo>
                <a:lnTo>
                  <a:pt x="19" y="272"/>
                </a:lnTo>
                <a:lnTo>
                  <a:pt x="12" y="260"/>
                </a:lnTo>
                <a:lnTo>
                  <a:pt x="6" y="243"/>
                </a:lnTo>
                <a:lnTo>
                  <a:pt x="0" y="222"/>
                </a:lnTo>
                <a:lnTo>
                  <a:pt x="2" y="215"/>
                </a:lnTo>
                <a:lnTo>
                  <a:pt x="5" y="204"/>
                </a:lnTo>
                <a:lnTo>
                  <a:pt x="11" y="191"/>
                </a:lnTo>
                <a:lnTo>
                  <a:pt x="17" y="177"/>
                </a:lnTo>
                <a:lnTo>
                  <a:pt x="24" y="164"/>
                </a:lnTo>
                <a:lnTo>
                  <a:pt x="31" y="153"/>
                </a:lnTo>
                <a:lnTo>
                  <a:pt x="36" y="144"/>
                </a:lnTo>
                <a:lnTo>
                  <a:pt x="41" y="141"/>
                </a:lnTo>
                <a:lnTo>
                  <a:pt x="46" y="141"/>
                </a:lnTo>
                <a:lnTo>
                  <a:pt x="54" y="141"/>
                </a:lnTo>
                <a:lnTo>
                  <a:pt x="64" y="141"/>
                </a:lnTo>
                <a:lnTo>
                  <a:pt x="73" y="141"/>
                </a:lnTo>
                <a:lnTo>
                  <a:pt x="73" y="146"/>
                </a:lnTo>
                <a:lnTo>
                  <a:pt x="75" y="152"/>
                </a:lnTo>
                <a:lnTo>
                  <a:pt x="77" y="158"/>
                </a:lnTo>
                <a:lnTo>
                  <a:pt x="80" y="164"/>
                </a:lnTo>
                <a:lnTo>
                  <a:pt x="88" y="176"/>
                </a:lnTo>
                <a:lnTo>
                  <a:pt x="97" y="187"/>
                </a:lnTo>
                <a:lnTo>
                  <a:pt x="107" y="198"/>
                </a:lnTo>
                <a:lnTo>
                  <a:pt x="118" y="208"/>
                </a:lnTo>
                <a:lnTo>
                  <a:pt x="124" y="211"/>
                </a:lnTo>
                <a:lnTo>
                  <a:pt x="129" y="214"/>
                </a:lnTo>
                <a:lnTo>
                  <a:pt x="135" y="215"/>
                </a:lnTo>
                <a:lnTo>
                  <a:pt x="139" y="216"/>
                </a:lnTo>
                <a:lnTo>
                  <a:pt x="155" y="215"/>
                </a:lnTo>
                <a:lnTo>
                  <a:pt x="170" y="213"/>
                </a:lnTo>
                <a:lnTo>
                  <a:pt x="184" y="209"/>
                </a:lnTo>
                <a:lnTo>
                  <a:pt x="199" y="204"/>
                </a:lnTo>
                <a:lnTo>
                  <a:pt x="211" y="196"/>
                </a:lnTo>
                <a:lnTo>
                  <a:pt x="221" y="189"/>
                </a:lnTo>
                <a:lnTo>
                  <a:pt x="225" y="185"/>
                </a:lnTo>
                <a:lnTo>
                  <a:pt x="228" y="181"/>
                </a:lnTo>
                <a:lnTo>
                  <a:pt x="230" y="177"/>
                </a:lnTo>
                <a:lnTo>
                  <a:pt x="233" y="172"/>
                </a:lnTo>
                <a:lnTo>
                  <a:pt x="256" y="175"/>
                </a:lnTo>
                <a:lnTo>
                  <a:pt x="273" y="176"/>
                </a:lnTo>
                <a:lnTo>
                  <a:pt x="281" y="177"/>
                </a:lnTo>
                <a:lnTo>
                  <a:pt x="288" y="178"/>
                </a:lnTo>
                <a:lnTo>
                  <a:pt x="294" y="181"/>
                </a:lnTo>
                <a:lnTo>
                  <a:pt x="300" y="184"/>
                </a:lnTo>
                <a:lnTo>
                  <a:pt x="326" y="184"/>
                </a:lnTo>
                <a:lnTo>
                  <a:pt x="326" y="181"/>
                </a:lnTo>
                <a:lnTo>
                  <a:pt x="327" y="178"/>
                </a:lnTo>
                <a:lnTo>
                  <a:pt x="329" y="176"/>
                </a:lnTo>
                <a:lnTo>
                  <a:pt x="331" y="174"/>
                </a:lnTo>
                <a:lnTo>
                  <a:pt x="337" y="170"/>
                </a:lnTo>
                <a:lnTo>
                  <a:pt x="344" y="167"/>
                </a:lnTo>
                <a:lnTo>
                  <a:pt x="350" y="164"/>
                </a:lnTo>
                <a:lnTo>
                  <a:pt x="357" y="162"/>
                </a:lnTo>
                <a:lnTo>
                  <a:pt x="362" y="158"/>
                </a:lnTo>
                <a:lnTo>
                  <a:pt x="366" y="154"/>
                </a:lnTo>
                <a:lnTo>
                  <a:pt x="372" y="149"/>
                </a:lnTo>
                <a:lnTo>
                  <a:pt x="378" y="143"/>
                </a:lnTo>
                <a:lnTo>
                  <a:pt x="383" y="136"/>
                </a:lnTo>
                <a:lnTo>
                  <a:pt x="389" y="129"/>
                </a:lnTo>
                <a:lnTo>
                  <a:pt x="400" y="114"/>
                </a:lnTo>
                <a:lnTo>
                  <a:pt x="408" y="97"/>
                </a:lnTo>
                <a:lnTo>
                  <a:pt x="415" y="79"/>
                </a:lnTo>
                <a:lnTo>
                  <a:pt x="420" y="62"/>
                </a:lnTo>
                <a:lnTo>
                  <a:pt x="424" y="46"/>
                </a:lnTo>
                <a:lnTo>
                  <a:pt x="426" y="30"/>
                </a:lnTo>
                <a:lnTo>
                  <a:pt x="427" y="25"/>
                </a:lnTo>
                <a:lnTo>
                  <a:pt x="429" y="20"/>
                </a:lnTo>
                <a:lnTo>
                  <a:pt x="435" y="15"/>
                </a:lnTo>
                <a:lnTo>
                  <a:pt x="440" y="11"/>
                </a:lnTo>
                <a:lnTo>
                  <a:pt x="447" y="6"/>
                </a:lnTo>
                <a:lnTo>
                  <a:pt x="453" y="3"/>
                </a:lnTo>
                <a:lnTo>
                  <a:pt x="460" y="1"/>
                </a:lnTo>
                <a:lnTo>
                  <a:pt x="465" y="0"/>
                </a:lnTo>
                <a:lnTo>
                  <a:pt x="479" y="2"/>
                </a:lnTo>
                <a:lnTo>
                  <a:pt x="495" y="6"/>
                </a:lnTo>
                <a:lnTo>
                  <a:pt x="512" y="10"/>
                </a:lnTo>
                <a:lnTo>
                  <a:pt x="525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382" name="Freeform 334"/>
          <p:cNvSpPr>
            <a:spLocks/>
          </p:cNvSpPr>
          <p:nvPr>
            <p:custDataLst>
              <p:tags r:id="rId237"/>
            </p:custDataLst>
          </p:nvPr>
        </p:nvSpPr>
        <p:spPr bwMode="auto">
          <a:xfrm>
            <a:off x="7080250" y="2943229"/>
            <a:ext cx="92075" cy="42863"/>
          </a:xfrm>
          <a:custGeom>
            <a:avLst/>
            <a:gdLst/>
            <a:ahLst/>
            <a:cxnLst>
              <a:cxn ang="0">
                <a:pos x="0" y="105"/>
              </a:cxn>
              <a:cxn ang="0">
                <a:pos x="16" y="85"/>
              </a:cxn>
              <a:cxn ang="0">
                <a:pos x="35" y="68"/>
              </a:cxn>
              <a:cxn ang="0">
                <a:pos x="44" y="60"/>
              </a:cxn>
              <a:cxn ang="0">
                <a:pos x="54" y="53"/>
              </a:cxn>
              <a:cxn ang="0">
                <a:pos x="64" y="46"/>
              </a:cxn>
              <a:cxn ang="0">
                <a:pos x="73" y="38"/>
              </a:cxn>
              <a:cxn ang="0">
                <a:pos x="83" y="32"/>
              </a:cxn>
              <a:cxn ang="0">
                <a:pos x="94" y="27"/>
              </a:cxn>
              <a:cxn ang="0">
                <a:pos x="106" y="21"/>
              </a:cxn>
              <a:cxn ang="0">
                <a:pos x="118" y="16"/>
              </a:cxn>
              <a:cxn ang="0">
                <a:pos x="144" y="8"/>
              </a:cxn>
              <a:cxn ang="0">
                <a:pos x="172" y="0"/>
              </a:cxn>
              <a:cxn ang="0">
                <a:pos x="212" y="0"/>
              </a:cxn>
              <a:cxn ang="0">
                <a:pos x="202" y="9"/>
              </a:cxn>
              <a:cxn ang="0">
                <a:pos x="190" y="18"/>
              </a:cxn>
              <a:cxn ang="0">
                <a:pos x="178" y="27"/>
              </a:cxn>
              <a:cxn ang="0">
                <a:pos x="165" y="35"/>
              </a:cxn>
              <a:cxn ang="0">
                <a:pos x="137" y="52"/>
              </a:cxn>
              <a:cxn ang="0">
                <a:pos x="109" y="66"/>
              </a:cxn>
              <a:cxn ang="0">
                <a:pos x="79" y="79"/>
              </a:cxn>
              <a:cxn ang="0">
                <a:pos x="50" y="90"/>
              </a:cxn>
              <a:cxn ang="0">
                <a:pos x="23" y="99"/>
              </a:cxn>
              <a:cxn ang="0">
                <a:pos x="0" y="105"/>
              </a:cxn>
            </a:cxnLst>
            <a:rect l="0" t="0" r="r" b="b"/>
            <a:pathLst>
              <a:path w="212" h="105">
                <a:moveTo>
                  <a:pt x="0" y="105"/>
                </a:moveTo>
                <a:lnTo>
                  <a:pt x="16" y="85"/>
                </a:lnTo>
                <a:lnTo>
                  <a:pt x="35" y="68"/>
                </a:lnTo>
                <a:lnTo>
                  <a:pt x="44" y="60"/>
                </a:lnTo>
                <a:lnTo>
                  <a:pt x="54" y="53"/>
                </a:lnTo>
                <a:lnTo>
                  <a:pt x="64" y="46"/>
                </a:lnTo>
                <a:lnTo>
                  <a:pt x="73" y="38"/>
                </a:lnTo>
                <a:lnTo>
                  <a:pt x="83" y="32"/>
                </a:lnTo>
                <a:lnTo>
                  <a:pt x="94" y="27"/>
                </a:lnTo>
                <a:lnTo>
                  <a:pt x="106" y="21"/>
                </a:lnTo>
                <a:lnTo>
                  <a:pt x="118" y="16"/>
                </a:lnTo>
                <a:lnTo>
                  <a:pt x="144" y="8"/>
                </a:lnTo>
                <a:lnTo>
                  <a:pt x="172" y="0"/>
                </a:lnTo>
                <a:lnTo>
                  <a:pt x="212" y="0"/>
                </a:lnTo>
                <a:lnTo>
                  <a:pt x="202" y="9"/>
                </a:lnTo>
                <a:lnTo>
                  <a:pt x="190" y="18"/>
                </a:lnTo>
                <a:lnTo>
                  <a:pt x="178" y="27"/>
                </a:lnTo>
                <a:lnTo>
                  <a:pt x="165" y="35"/>
                </a:lnTo>
                <a:lnTo>
                  <a:pt x="137" y="52"/>
                </a:lnTo>
                <a:lnTo>
                  <a:pt x="109" y="66"/>
                </a:lnTo>
                <a:lnTo>
                  <a:pt x="79" y="79"/>
                </a:lnTo>
                <a:lnTo>
                  <a:pt x="50" y="90"/>
                </a:lnTo>
                <a:lnTo>
                  <a:pt x="23" y="99"/>
                </a:lnTo>
                <a:lnTo>
                  <a:pt x="0" y="10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383" name="Freeform 335"/>
          <p:cNvSpPr>
            <a:spLocks/>
          </p:cNvSpPr>
          <p:nvPr>
            <p:custDataLst>
              <p:tags r:id="rId238"/>
            </p:custDataLst>
          </p:nvPr>
        </p:nvSpPr>
        <p:spPr bwMode="auto">
          <a:xfrm>
            <a:off x="7196138" y="2693195"/>
            <a:ext cx="42862" cy="66675"/>
          </a:xfrm>
          <a:custGeom>
            <a:avLst/>
            <a:gdLst/>
            <a:ahLst/>
            <a:cxnLst>
              <a:cxn ang="0">
                <a:pos x="0" y="81"/>
              </a:cxn>
              <a:cxn ang="0">
                <a:pos x="0" y="148"/>
              </a:cxn>
              <a:cxn ang="0">
                <a:pos x="5" y="144"/>
              </a:cxn>
              <a:cxn ang="0">
                <a:pos x="12" y="139"/>
              </a:cxn>
              <a:cxn ang="0">
                <a:pos x="14" y="137"/>
              </a:cxn>
              <a:cxn ang="0">
                <a:pos x="17" y="135"/>
              </a:cxn>
              <a:cxn ang="0">
                <a:pos x="18" y="132"/>
              </a:cxn>
              <a:cxn ang="0">
                <a:pos x="19" y="130"/>
              </a:cxn>
              <a:cxn ang="0">
                <a:pos x="20" y="138"/>
              </a:cxn>
              <a:cxn ang="0">
                <a:pos x="24" y="148"/>
              </a:cxn>
              <a:cxn ang="0">
                <a:pos x="27" y="154"/>
              </a:cxn>
              <a:cxn ang="0">
                <a:pos x="30" y="159"/>
              </a:cxn>
              <a:cxn ang="0">
                <a:pos x="35" y="163"/>
              </a:cxn>
              <a:cxn ang="0">
                <a:pos x="39" y="166"/>
              </a:cxn>
              <a:cxn ang="0">
                <a:pos x="41" y="158"/>
              </a:cxn>
              <a:cxn ang="0">
                <a:pos x="41" y="148"/>
              </a:cxn>
              <a:cxn ang="0">
                <a:pos x="41" y="137"/>
              </a:cxn>
              <a:cxn ang="0">
                <a:pos x="41" y="126"/>
              </a:cxn>
              <a:cxn ang="0">
                <a:pos x="40" y="107"/>
              </a:cxn>
              <a:cxn ang="0">
                <a:pos x="39" y="99"/>
              </a:cxn>
              <a:cxn ang="0">
                <a:pos x="48" y="100"/>
              </a:cxn>
              <a:cxn ang="0">
                <a:pos x="57" y="102"/>
              </a:cxn>
              <a:cxn ang="0">
                <a:pos x="64" y="105"/>
              </a:cxn>
              <a:cxn ang="0">
                <a:pos x="71" y="108"/>
              </a:cxn>
              <a:cxn ang="0">
                <a:pos x="76" y="111"/>
              </a:cxn>
              <a:cxn ang="0">
                <a:pos x="82" y="114"/>
              </a:cxn>
              <a:cxn ang="0">
                <a:pos x="87" y="116"/>
              </a:cxn>
              <a:cxn ang="0">
                <a:pos x="92" y="118"/>
              </a:cxn>
              <a:cxn ang="0">
                <a:pos x="85" y="103"/>
              </a:cxn>
              <a:cxn ang="0">
                <a:pos x="81" y="89"/>
              </a:cxn>
              <a:cxn ang="0">
                <a:pos x="76" y="75"/>
              </a:cxn>
              <a:cxn ang="0">
                <a:pos x="73" y="60"/>
              </a:cxn>
              <a:cxn ang="0">
                <a:pos x="70" y="47"/>
              </a:cxn>
              <a:cxn ang="0">
                <a:pos x="67" y="34"/>
              </a:cxn>
              <a:cxn ang="0">
                <a:pos x="63" y="23"/>
              </a:cxn>
              <a:cxn ang="0">
                <a:pos x="59" y="13"/>
              </a:cxn>
              <a:cxn ang="0">
                <a:pos x="59" y="19"/>
              </a:cxn>
              <a:cxn ang="0">
                <a:pos x="59" y="25"/>
              </a:cxn>
              <a:cxn ang="0">
                <a:pos x="50" y="23"/>
              </a:cxn>
              <a:cxn ang="0">
                <a:pos x="42" y="19"/>
              </a:cxn>
              <a:cxn ang="0">
                <a:pos x="35" y="15"/>
              </a:cxn>
              <a:cxn ang="0">
                <a:pos x="29" y="11"/>
              </a:cxn>
              <a:cxn ang="0">
                <a:pos x="23" y="7"/>
              </a:cxn>
              <a:cxn ang="0">
                <a:pos x="16" y="3"/>
              </a:cxn>
              <a:cxn ang="0">
                <a:pos x="8" y="1"/>
              </a:cxn>
              <a:cxn ang="0">
                <a:pos x="0" y="0"/>
              </a:cxn>
              <a:cxn ang="0">
                <a:pos x="0" y="10"/>
              </a:cxn>
              <a:cxn ang="0">
                <a:pos x="0" y="19"/>
              </a:cxn>
              <a:cxn ang="0">
                <a:pos x="0" y="33"/>
              </a:cxn>
              <a:cxn ang="0">
                <a:pos x="0" y="52"/>
              </a:cxn>
              <a:cxn ang="0">
                <a:pos x="0" y="70"/>
              </a:cxn>
              <a:cxn ang="0">
                <a:pos x="0" y="81"/>
              </a:cxn>
            </a:cxnLst>
            <a:rect l="0" t="0" r="r" b="b"/>
            <a:pathLst>
              <a:path w="92" h="166">
                <a:moveTo>
                  <a:pt x="0" y="81"/>
                </a:moveTo>
                <a:lnTo>
                  <a:pt x="0" y="148"/>
                </a:lnTo>
                <a:lnTo>
                  <a:pt x="5" y="144"/>
                </a:lnTo>
                <a:lnTo>
                  <a:pt x="12" y="139"/>
                </a:lnTo>
                <a:lnTo>
                  <a:pt x="14" y="137"/>
                </a:lnTo>
                <a:lnTo>
                  <a:pt x="17" y="135"/>
                </a:lnTo>
                <a:lnTo>
                  <a:pt x="18" y="132"/>
                </a:lnTo>
                <a:lnTo>
                  <a:pt x="19" y="130"/>
                </a:lnTo>
                <a:lnTo>
                  <a:pt x="20" y="138"/>
                </a:lnTo>
                <a:lnTo>
                  <a:pt x="24" y="148"/>
                </a:lnTo>
                <a:lnTo>
                  <a:pt x="27" y="154"/>
                </a:lnTo>
                <a:lnTo>
                  <a:pt x="30" y="159"/>
                </a:lnTo>
                <a:lnTo>
                  <a:pt x="35" y="163"/>
                </a:lnTo>
                <a:lnTo>
                  <a:pt x="39" y="166"/>
                </a:lnTo>
                <a:lnTo>
                  <a:pt x="41" y="158"/>
                </a:lnTo>
                <a:lnTo>
                  <a:pt x="41" y="148"/>
                </a:lnTo>
                <a:lnTo>
                  <a:pt x="41" y="137"/>
                </a:lnTo>
                <a:lnTo>
                  <a:pt x="41" y="126"/>
                </a:lnTo>
                <a:lnTo>
                  <a:pt x="40" y="107"/>
                </a:lnTo>
                <a:lnTo>
                  <a:pt x="39" y="99"/>
                </a:lnTo>
                <a:lnTo>
                  <a:pt x="48" y="100"/>
                </a:lnTo>
                <a:lnTo>
                  <a:pt x="57" y="102"/>
                </a:lnTo>
                <a:lnTo>
                  <a:pt x="64" y="105"/>
                </a:lnTo>
                <a:lnTo>
                  <a:pt x="71" y="108"/>
                </a:lnTo>
                <a:lnTo>
                  <a:pt x="76" y="111"/>
                </a:lnTo>
                <a:lnTo>
                  <a:pt x="82" y="114"/>
                </a:lnTo>
                <a:lnTo>
                  <a:pt x="87" y="116"/>
                </a:lnTo>
                <a:lnTo>
                  <a:pt x="92" y="118"/>
                </a:lnTo>
                <a:lnTo>
                  <a:pt x="85" y="103"/>
                </a:lnTo>
                <a:lnTo>
                  <a:pt x="81" y="89"/>
                </a:lnTo>
                <a:lnTo>
                  <a:pt x="76" y="75"/>
                </a:lnTo>
                <a:lnTo>
                  <a:pt x="73" y="60"/>
                </a:lnTo>
                <a:lnTo>
                  <a:pt x="70" y="47"/>
                </a:lnTo>
                <a:lnTo>
                  <a:pt x="67" y="34"/>
                </a:lnTo>
                <a:lnTo>
                  <a:pt x="63" y="23"/>
                </a:lnTo>
                <a:lnTo>
                  <a:pt x="59" y="13"/>
                </a:lnTo>
                <a:lnTo>
                  <a:pt x="59" y="19"/>
                </a:lnTo>
                <a:lnTo>
                  <a:pt x="59" y="25"/>
                </a:lnTo>
                <a:lnTo>
                  <a:pt x="50" y="23"/>
                </a:lnTo>
                <a:lnTo>
                  <a:pt x="42" y="19"/>
                </a:lnTo>
                <a:lnTo>
                  <a:pt x="35" y="15"/>
                </a:lnTo>
                <a:lnTo>
                  <a:pt x="29" y="11"/>
                </a:lnTo>
                <a:lnTo>
                  <a:pt x="23" y="7"/>
                </a:lnTo>
                <a:lnTo>
                  <a:pt x="16" y="3"/>
                </a:lnTo>
                <a:lnTo>
                  <a:pt x="8" y="1"/>
                </a:lnTo>
                <a:lnTo>
                  <a:pt x="0" y="0"/>
                </a:lnTo>
                <a:lnTo>
                  <a:pt x="0" y="10"/>
                </a:lnTo>
                <a:lnTo>
                  <a:pt x="0" y="19"/>
                </a:lnTo>
                <a:lnTo>
                  <a:pt x="0" y="33"/>
                </a:lnTo>
                <a:lnTo>
                  <a:pt x="0" y="52"/>
                </a:lnTo>
                <a:lnTo>
                  <a:pt x="0" y="70"/>
                </a:lnTo>
                <a:lnTo>
                  <a:pt x="0" y="8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384" name="Freeform 336"/>
          <p:cNvSpPr>
            <a:spLocks/>
          </p:cNvSpPr>
          <p:nvPr>
            <p:custDataLst>
              <p:tags r:id="rId239"/>
            </p:custDataLst>
          </p:nvPr>
        </p:nvSpPr>
        <p:spPr bwMode="auto">
          <a:xfrm>
            <a:off x="7208838" y="2801542"/>
            <a:ext cx="71437" cy="41672"/>
          </a:xfrm>
          <a:custGeom>
            <a:avLst/>
            <a:gdLst/>
            <a:ahLst/>
            <a:cxnLst>
              <a:cxn ang="0">
                <a:pos x="7" y="0"/>
              </a:cxn>
              <a:cxn ang="0">
                <a:pos x="14" y="3"/>
              </a:cxn>
              <a:cxn ang="0">
                <a:pos x="22" y="6"/>
              </a:cxn>
              <a:cxn ang="0">
                <a:pos x="30" y="7"/>
              </a:cxn>
              <a:cxn ang="0">
                <a:pos x="36" y="8"/>
              </a:cxn>
              <a:cxn ang="0">
                <a:pos x="48" y="8"/>
              </a:cxn>
              <a:cxn ang="0">
                <a:pos x="58" y="7"/>
              </a:cxn>
              <a:cxn ang="0">
                <a:pos x="69" y="5"/>
              </a:cxn>
              <a:cxn ang="0">
                <a:pos x="80" y="3"/>
              </a:cxn>
              <a:cxn ang="0">
                <a:pos x="92" y="1"/>
              </a:cxn>
              <a:cxn ang="0">
                <a:pos x="106" y="0"/>
              </a:cxn>
              <a:cxn ang="0">
                <a:pos x="111" y="1"/>
              </a:cxn>
              <a:cxn ang="0">
                <a:pos x="115" y="2"/>
              </a:cxn>
              <a:cxn ang="0">
                <a:pos x="120" y="5"/>
              </a:cxn>
              <a:cxn ang="0">
                <a:pos x="124" y="8"/>
              </a:cxn>
              <a:cxn ang="0">
                <a:pos x="132" y="17"/>
              </a:cxn>
              <a:cxn ang="0">
                <a:pos x="138" y="26"/>
              </a:cxn>
              <a:cxn ang="0">
                <a:pos x="145" y="36"/>
              </a:cxn>
              <a:cxn ang="0">
                <a:pos x="151" y="45"/>
              </a:cxn>
              <a:cxn ang="0">
                <a:pos x="155" y="49"/>
              </a:cxn>
              <a:cxn ang="0">
                <a:pos x="158" y="52"/>
              </a:cxn>
              <a:cxn ang="0">
                <a:pos x="162" y="54"/>
              </a:cxn>
              <a:cxn ang="0">
                <a:pos x="166" y="56"/>
              </a:cxn>
              <a:cxn ang="0">
                <a:pos x="159" y="57"/>
              </a:cxn>
              <a:cxn ang="0">
                <a:pos x="151" y="59"/>
              </a:cxn>
              <a:cxn ang="0">
                <a:pos x="143" y="61"/>
              </a:cxn>
              <a:cxn ang="0">
                <a:pos x="133" y="62"/>
              </a:cxn>
              <a:cxn ang="0">
                <a:pos x="125" y="61"/>
              </a:cxn>
              <a:cxn ang="0">
                <a:pos x="119" y="58"/>
              </a:cxn>
              <a:cxn ang="0">
                <a:pos x="112" y="54"/>
              </a:cxn>
              <a:cxn ang="0">
                <a:pos x="106" y="50"/>
              </a:cxn>
              <a:cxn ang="0">
                <a:pos x="100" y="45"/>
              </a:cxn>
              <a:cxn ang="0">
                <a:pos x="93" y="41"/>
              </a:cxn>
              <a:cxn ang="0">
                <a:pos x="87" y="39"/>
              </a:cxn>
              <a:cxn ang="0">
                <a:pos x="79" y="38"/>
              </a:cxn>
              <a:cxn ang="0">
                <a:pos x="56" y="38"/>
              </a:cxn>
              <a:cxn ang="0">
                <a:pos x="35" y="39"/>
              </a:cxn>
              <a:cxn ang="0">
                <a:pos x="26" y="41"/>
              </a:cxn>
              <a:cxn ang="0">
                <a:pos x="19" y="43"/>
              </a:cxn>
              <a:cxn ang="0">
                <a:pos x="12" y="46"/>
              </a:cxn>
              <a:cxn ang="0">
                <a:pos x="7" y="50"/>
              </a:cxn>
              <a:cxn ang="0">
                <a:pos x="2" y="45"/>
              </a:cxn>
              <a:cxn ang="0">
                <a:pos x="1" y="40"/>
              </a:cxn>
              <a:cxn ang="0">
                <a:pos x="0" y="34"/>
              </a:cxn>
              <a:cxn ang="0">
                <a:pos x="1" y="28"/>
              </a:cxn>
              <a:cxn ang="0">
                <a:pos x="4" y="15"/>
              </a:cxn>
              <a:cxn ang="0">
                <a:pos x="7" y="0"/>
              </a:cxn>
            </a:cxnLst>
            <a:rect l="0" t="0" r="r" b="b"/>
            <a:pathLst>
              <a:path w="166" h="62">
                <a:moveTo>
                  <a:pt x="7" y="0"/>
                </a:moveTo>
                <a:lnTo>
                  <a:pt x="14" y="3"/>
                </a:lnTo>
                <a:lnTo>
                  <a:pt x="22" y="6"/>
                </a:lnTo>
                <a:lnTo>
                  <a:pt x="30" y="7"/>
                </a:lnTo>
                <a:lnTo>
                  <a:pt x="36" y="8"/>
                </a:lnTo>
                <a:lnTo>
                  <a:pt x="48" y="8"/>
                </a:lnTo>
                <a:lnTo>
                  <a:pt x="58" y="7"/>
                </a:lnTo>
                <a:lnTo>
                  <a:pt x="69" y="5"/>
                </a:lnTo>
                <a:lnTo>
                  <a:pt x="80" y="3"/>
                </a:lnTo>
                <a:lnTo>
                  <a:pt x="92" y="1"/>
                </a:lnTo>
                <a:lnTo>
                  <a:pt x="106" y="0"/>
                </a:lnTo>
                <a:lnTo>
                  <a:pt x="111" y="1"/>
                </a:lnTo>
                <a:lnTo>
                  <a:pt x="115" y="2"/>
                </a:lnTo>
                <a:lnTo>
                  <a:pt x="120" y="5"/>
                </a:lnTo>
                <a:lnTo>
                  <a:pt x="124" y="8"/>
                </a:lnTo>
                <a:lnTo>
                  <a:pt x="132" y="17"/>
                </a:lnTo>
                <a:lnTo>
                  <a:pt x="138" y="26"/>
                </a:lnTo>
                <a:lnTo>
                  <a:pt x="145" y="36"/>
                </a:lnTo>
                <a:lnTo>
                  <a:pt x="151" y="45"/>
                </a:lnTo>
                <a:lnTo>
                  <a:pt x="155" y="49"/>
                </a:lnTo>
                <a:lnTo>
                  <a:pt x="158" y="52"/>
                </a:lnTo>
                <a:lnTo>
                  <a:pt x="162" y="54"/>
                </a:lnTo>
                <a:lnTo>
                  <a:pt x="166" y="56"/>
                </a:lnTo>
                <a:lnTo>
                  <a:pt x="159" y="57"/>
                </a:lnTo>
                <a:lnTo>
                  <a:pt x="151" y="59"/>
                </a:lnTo>
                <a:lnTo>
                  <a:pt x="143" y="61"/>
                </a:lnTo>
                <a:lnTo>
                  <a:pt x="133" y="62"/>
                </a:lnTo>
                <a:lnTo>
                  <a:pt x="125" y="61"/>
                </a:lnTo>
                <a:lnTo>
                  <a:pt x="119" y="58"/>
                </a:lnTo>
                <a:lnTo>
                  <a:pt x="112" y="54"/>
                </a:lnTo>
                <a:lnTo>
                  <a:pt x="106" y="50"/>
                </a:lnTo>
                <a:lnTo>
                  <a:pt x="100" y="45"/>
                </a:lnTo>
                <a:lnTo>
                  <a:pt x="93" y="41"/>
                </a:lnTo>
                <a:lnTo>
                  <a:pt x="87" y="39"/>
                </a:lnTo>
                <a:lnTo>
                  <a:pt x="79" y="38"/>
                </a:lnTo>
                <a:lnTo>
                  <a:pt x="56" y="38"/>
                </a:lnTo>
                <a:lnTo>
                  <a:pt x="35" y="39"/>
                </a:lnTo>
                <a:lnTo>
                  <a:pt x="26" y="41"/>
                </a:lnTo>
                <a:lnTo>
                  <a:pt x="19" y="43"/>
                </a:lnTo>
                <a:lnTo>
                  <a:pt x="12" y="46"/>
                </a:lnTo>
                <a:lnTo>
                  <a:pt x="7" y="50"/>
                </a:lnTo>
                <a:lnTo>
                  <a:pt x="2" y="45"/>
                </a:lnTo>
                <a:lnTo>
                  <a:pt x="1" y="40"/>
                </a:lnTo>
                <a:lnTo>
                  <a:pt x="0" y="34"/>
                </a:lnTo>
                <a:lnTo>
                  <a:pt x="1" y="28"/>
                </a:lnTo>
                <a:lnTo>
                  <a:pt x="4" y="15"/>
                </a:lnTo>
                <a:lnTo>
                  <a:pt x="7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385" name="Freeform 337"/>
          <p:cNvSpPr>
            <a:spLocks/>
          </p:cNvSpPr>
          <p:nvPr>
            <p:custDataLst>
              <p:tags r:id="rId240"/>
            </p:custDataLst>
          </p:nvPr>
        </p:nvSpPr>
        <p:spPr bwMode="auto">
          <a:xfrm>
            <a:off x="7285045" y="2744392"/>
            <a:ext cx="85725" cy="47625"/>
          </a:xfrm>
          <a:custGeom>
            <a:avLst/>
            <a:gdLst/>
            <a:ahLst/>
            <a:cxnLst>
              <a:cxn ang="0">
                <a:pos x="33" y="35"/>
              </a:cxn>
              <a:cxn ang="0">
                <a:pos x="48" y="25"/>
              </a:cxn>
              <a:cxn ang="0">
                <a:pos x="68" y="12"/>
              </a:cxn>
              <a:cxn ang="0">
                <a:pos x="84" y="4"/>
              </a:cxn>
              <a:cxn ang="0">
                <a:pos x="94" y="1"/>
              </a:cxn>
              <a:cxn ang="0">
                <a:pos x="105" y="1"/>
              </a:cxn>
              <a:cxn ang="0">
                <a:pos x="116" y="3"/>
              </a:cxn>
              <a:cxn ang="0">
                <a:pos x="131" y="10"/>
              </a:cxn>
              <a:cxn ang="0">
                <a:pos x="148" y="21"/>
              </a:cxn>
              <a:cxn ang="0">
                <a:pos x="162" y="28"/>
              </a:cxn>
              <a:cxn ang="0">
                <a:pos x="173" y="30"/>
              </a:cxn>
              <a:cxn ang="0">
                <a:pos x="179" y="48"/>
              </a:cxn>
              <a:cxn ang="0">
                <a:pos x="178" y="66"/>
              </a:cxn>
              <a:cxn ang="0">
                <a:pos x="182" y="75"/>
              </a:cxn>
              <a:cxn ang="0">
                <a:pos x="187" y="89"/>
              </a:cxn>
              <a:cxn ang="0">
                <a:pos x="188" y="102"/>
              </a:cxn>
              <a:cxn ang="0">
                <a:pos x="191" y="109"/>
              </a:cxn>
              <a:cxn ang="0">
                <a:pos x="188" y="114"/>
              </a:cxn>
              <a:cxn ang="0">
                <a:pos x="177" y="118"/>
              </a:cxn>
              <a:cxn ang="0">
                <a:pos x="159" y="121"/>
              </a:cxn>
              <a:cxn ang="0">
                <a:pos x="116" y="119"/>
              </a:cxn>
              <a:cxn ang="0">
                <a:pos x="72" y="116"/>
              </a:cxn>
              <a:cxn ang="0">
                <a:pos x="63" y="110"/>
              </a:cxn>
              <a:cxn ang="0">
                <a:pos x="56" y="100"/>
              </a:cxn>
              <a:cxn ang="0">
                <a:pos x="54" y="87"/>
              </a:cxn>
              <a:cxn ang="0">
                <a:pos x="47" y="79"/>
              </a:cxn>
              <a:cxn ang="0">
                <a:pos x="31" y="75"/>
              </a:cxn>
              <a:cxn ang="0">
                <a:pos x="13" y="69"/>
              </a:cxn>
              <a:cxn ang="0">
                <a:pos x="3" y="62"/>
              </a:cxn>
              <a:cxn ang="0">
                <a:pos x="0" y="58"/>
              </a:cxn>
              <a:cxn ang="0">
                <a:pos x="1" y="51"/>
              </a:cxn>
              <a:cxn ang="0">
                <a:pos x="7" y="45"/>
              </a:cxn>
              <a:cxn ang="0">
                <a:pos x="20" y="38"/>
              </a:cxn>
            </a:cxnLst>
            <a:rect l="0" t="0" r="r" b="b"/>
            <a:pathLst>
              <a:path w="193" h="121">
                <a:moveTo>
                  <a:pt x="26" y="36"/>
                </a:moveTo>
                <a:lnTo>
                  <a:pt x="33" y="35"/>
                </a:lnTo>
                <a:lnTo>
                  <a:pt x="39" y="31"/>
                </a:lnTo>
                <a:lnTo>
                  <a:pt x="48" y="25"/>
                </a:lnTo>
                <a:lnTo>
                  <a:pt x="58" y="18"/>
                </a:lnTo>
                <a:lnTo>
                  <a:pt x="68" y="12"/>
                </a:lnTo>
                <a:lnTo>
                  <a:pt x="79" y="6"/>
                </a:lnTo>
                <a:lnTo>
                  <a:pt x="84" y="4"/>
                </a:lnTo>
                <a:lnTo>
                  <a:pt x="90" y="2"/>
                </a:lnTo>
                <a:lnTo>
                  <a:pt x="94" y="1"/>
                </a:lnTo>
                <a:lnTo>
                  <a:pt x="100" y="0"/>
                </a:lnTo>
                <a:lnTo>
                  <a:pt x="105" y="1"/>
                </a:lnTo>
                <a:lnTo>
                  <a:pt x="111" y="1"/>
                </a:lnTo>
                <a:lnTo>
                  <a:pt x="116" y="3"/>
                </a:lnTo>
                <a:lnTo>
                  <a:pt x="122" y="5"/>
                </a:lnTo>
                <a:lnTo>
                  <a:pt x="131" y="10"/>
                </a:lnTo>
                <a:lnTo>
                  <a:pt x="139" y="15"/>
                </a:lnTo>
                <a:lnTo>
                  <a:pt x="148" y="21"/>
                </a:lnTo>
                <a:lnTo>
                  <a:pt x="158" y="26"/>
                </a:lnTo>
                <a:lnTo>
                  <a:pt x="162" y="28"/>
                </a:lnTo>
                <a:lnTo>
                  <a:pt x="168" y="29"/>
                </a:lnTo>
                <a:lnTo>
                  <a:pt x="173" y="30"/>
                </a:lnTo>
                <a:lnTo>
                  <a:pt x="179" y="30"/>
                </a:lnTo>
                <a:lnTo>
                  <a:pt x="179" y="48"/>
                </a:lnTo>
                <a:lnTo>
                  <a:pt x="178" y="60"/>
                </a:lnTo>
                <a:lnTo>
                  <a:pt x="178" y="66"/>
                </a:lnTo>
                <a:lnTo>
                  <a:pt x="179" y="71"/>
                </a:lnTo>
                <a:lnTo>
                  <a:pt x="182" y="75"/>
                </a:lnTo>
                <a:lnTo>
                  <a:pt x="187" y="80"/>
                </a:lnTo>
                <a:lnTo>
                  <a:pt x="187" y="89"/>
                </a:lnTo>
                <a:lnTo>
                  <a:pt x="187" y="97"/>
                </a:lnTo>
                <a:lnTo>
                  <a:pt x="188" y="102"/>
                </a:lnTo>
                <a:lnTo>
                  <a:pt x="189" y="106"/>
                </a:lnTo>
                <a:lnTo>
                  <a:pt x="191" y="109"/>
                </a:lnTo>
                <a:lnTo>
                  <a:pt x="193" y="111"/>
                </a:lnTo>
                <a:lnTo>
                  <a:pt x="188" y="114"/>
                </a:lnTo>
                <a:lnTo>
                  <a:pt x="182" y="117"/>
                </a:lnTo>
                <a:lnTo>
                  <a:pt x="177" y="118"/>
                </a:lnTo>
                <a:lnTo>
                  <a:pt x="171" y="120"/>
                </a:lnTo>
                <a:lnTo>
                  <a:pt x="159" y="121"/>
                </a:lnTo>
                <a:lnTo>
                  <a:pt x="146" y="121"/>
                </a:lnTo>
                <a:lnTo>
                  <a:pt x="116" y="119"/>
                </a:lnTo>
                <a:lnTo>
                  <a:pt x="80" y="117"/>
                </a:lnTo>
                <a:lnTo>
                  <a:pt x="72" y="116"/>
                </a:lnTo>
                <a:lnTo>
                  <a:pt x="67" y="114"/>
                </a:lnTo>
                <a:lnTo>
                  <a:pt x="63" y="110"/>
                </a:lnTo>
                <a:lnTo>
                  <a:pt x="59" y="106"/>
                </a:lnTo>
                <a:lnTo>
                  <a:pt x="56" y="100"/>
                </a:lnTo>
                <a:lnTo>
                  <a:pt x="55" y="93"/>
                </a:lnTo>
                <a:lnTo>
                  <a:pt x="54" y="87"/>
                </a:lnTo>
                <a:lnTo>
                  <a:pt x="54" y="80"/>
                </a:lnTo>
                <a:lnTo>
                  <a:pt x="47" y="79"/>
                </a:lnTo>
                <a:lnTo>
                  <a:pt x="39" y="78"/>
                </a:lnTo>
                <a:lnTo>
                  <a:pt x="31" y="75"/>
                </a:lnTo>
                <a:lnTo>
                  <a:pt x="22" y="72"/>
                </a:lnTo>
                <a:lnTo>
                  <a:pt x="13" y="69"/>
                </a:lnTo>
                <a:lnTo>
                  <a:pt x="7" y="65"/>
                </a:lnTo>
                <a:lnTo>
                  <a:pt x="3" y="62"/>
                </a:lnTo>
                <a:lnTo>
                  <a:pt x="2" y="60"/>
                </a:lnTo>
                <a:lnTo>
                  <a:pt x="0" y="58"/>
                </a:lnTo>
                <a:lnTo>
                  <a:pt x="0" y="56"/>
                </a:lnTo>
                <a:lnTo>
                  <a:pt x="1" y="51"/>
                </a:lnTo>
                <a:lnTo>
                  <a:pt x="3" y="48"/>
                </a:lnTo>
                <a:lnTo>
                  <a:pt x="7" y="45"/>
                </a:lnTo>
                <a:lnTo>
                  <a:pt x="11" y="41"/>
                </a:lnTo>
                <a:lnTo>
                  <a:pt x="20" y="38"/>
                </a:lnTo>
                <a:lnTo>
                  <a:pt x="26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386" name="Freeform 338"/>
          <p:cNvSpPr>
            <a:spLocks/>
          </p:cNvSpPr>
          <p:nvPr>
            <p:custDataLst>
              <p:tags r:id="rId241"/>
            </p:custDataLst>
          </p:nvPr>
        </p:nvSpPr>
        <p:spPr bwMode="auto">
          <a:xfrm>
            <a:off x="6973893" y="2697956"/>
            <a:ext cx="166687" cy="172641"/>
          </a:xfrm>
          <a:custGeom>
            <a:avLst/>
            <a:gdLst/>
            <a:ahLst/>
            <a:cxnLst>
              <a:cxn ang="0">
                <a:pos x="37" y="419"/>
              </a:cxn>
              <a:cxn ang="0">
                <a:pos x="46" y="407"/>
              </a:cxn>
              <a:cxn ang="0">
                <a:pos x="24" y="311"/>
              </a:cxn>
              <a:cxn ang="0">
                <a:pos x="2" y="294"/>
              </a:cxn>
              <a:cxn ang="0">
                <a:pos x="15" y="270"/>
              </a:cxn>
              <a:cxn ang="0">
                <a:pos x="31" y="221"/>
              </a:cxn>
              <a:cxn ang="0">
                <a:pos x="39" y="172"/>
              </a:cxn>
              <a:cxn ang="0">
                <a:pos x="57" y="159"/>
              </a:cxn>
              <a:cxn ang="0">
                <a:pos x="65" y="130"/>
              </a:cxn>
              <a:cxn ang="0">
                <a:pos x="76" y="78"/>
              </a:cxn>
              <a:cxn ang="0">
                <a:pos x="90" y="51"/>
              </a:cxn>
              <a:cxn ang="0">
                <a:pos x="115" y="31"/>
              </a:cxn>
              <a:cxn ang="0">
                <a:pos x="153" y="25"/>
              </a:cxn>
              <a:cxn ang="0">
                <a:pos x="217" y="38"/>
              </a:cxn>
              <a:cxn ang="0">
                <a:pos x="262" y="48"/>
              </a:cxn>
              <a:cxn ang="0">
                <a:pos x="303" y="45"/>
              </a:cxn>
              <a:cxn ang="0">
                <a:pos x="329" y="31"/>
              </a:cxn>
              <a:cxn ang="0">
                <a:pos x="356" y="7"/>
              </a:cxn>
              <a:cxn ang="0">
                <a:pos x="374" y="9"/>
              </a:cxn>
              <a:cxn ang="0">
                <a:pos x="372" y="35"/>
              </a:cxn>
              <a:cxn ang="0">
                <a:pos x="329" y="80"/>
              </a:cxn>
              <a:cxn ang="0">
                <a:pos x="292" y="97"/>
              </a:cxn>
              <a:cxn ang="0">
                <a:pos x="271" y="94"/>
              </a:cxn>
              <a:cxn ang="0">
                <a:pos x="238" y="69"/>
              </a:cxn>
              <a:cxn ang="0">
                <a:pos x="212" y="56"/>
              </a:cxn>
              <a:cxn ang="0">
                <a:pos x="177" y="56"/>
              </a:cxn>
              <a:cxn ang="0">
                <a:pos x="138" y="61"/>
              </a:cxn>
              <a:cxn ang="0">
                <a:pos x="114" y="79"/>
              </a:cxn>
              <a:cxn ang="0">
                <a:pos x="79" y="161"/>
              </a:cxn>
              <a:cxn ang="0">
                <a:pos x="119" y="169"/>
              </a:cxn>
              <a:cxn ang="0">
                <a:pos x="133" y="191"/>
              </a:cxn>
              <a:cxn ang="0">
                <a:pos x="155" y="168"/>
              </a:cxn>
              <a:cxn ang="0">
                <a:pos x="172" y="153"/>
              </a:cxn>
              <a:cxn ang="0">
                <a:pos x="221" y="150"/>
              </a:cxn>
              <a:cxn ang="0">
                <a:pos x="250" y="147"/>
              </a:cxn>
              <a:cxn ang="0">
                <a:pos x="273" y="173"/>
              </a:cxn>
              <a:cxn ang="0">
                <a:pos x="279" y="203"/>
              </a:cxn>
              <a:cxn ang="0">
                <a:pos x="246" y="192"/>
              </a:cxn>
              <a:cxn ang="0">
                <a:pos x="218" y="185"/>
              </a:cxn>
              <a:cxn ang="0">
                <a:pos x="192" y="195"/>
              </a:cxn>
              <a:cxn ang="0">
                <a:pos x="186" y="209"/>
              </a:cxn>
              <a:cxn ang="0">
                <a:pos x="192" y="233"/>
              </a:cxn>
              <a:cxn ang="0">
                <a:pos x="220" y="272"/>
              </a:cxn>
              <a:cxn ang="0">
                <a:pos x="225" y="296"/>
              </a:cxn>
              <a:cxn ang="0">
                <a:pos x="215" y="322"/>
              </a:cxn>
              <a:cxn ang="0">
                <a:pos x="205" y="345"/>
              </a:cxn>
              <a:cxn ang="0">
                <a:pos x="210" y="356"/>
              </a:cxn>
              <a:cxn ang="0">
                <a:pos x="236" y="368"/>
              </a:cxn>
              <a:cxn ang="0">
                <a:pos x="252" y="400"/>
              </a:cxn>
              <a:cxn ang="0">
                <a:pos x="239" y="429"/>
              </a:cxn>
              <a:cxn ang="0">
                <a:pos x="221" y="421"/>
              </a:cxn>
              <a:cxn ang="0">
                <a:pos x="202" y="417"/>
              </a:cxn>
              <a:cxn ang="0">
                <a:pos x="177" y="400"/>
              </a:cxn>
              <a:cxn ang="0">
                <a:pos x="153" y="356"/>
              </a:cxn>
              <a:cxn ang="0">
                <a:pos x="137" y="304"/>
              </a:cxn>
              <a:cxn ang="0">
                <a:pos x="114" y="263"/>
              </a:cxn>
              <a:cxn ang="0">
                <a:pos x="97" y="259"/>
              </a:cxn>
              <a:cxn ang="0">
                <a:pos x="105" y="381"/>
              </a:cxn>
              <a:cxn ang="0">
                <a:pos x="93" y="404"/>
              </a:cxn>
              <a:cxn ang="0">
                <a:pos x="57" y="426"/>
              </a:cxn>
              <a:cxn ang="0">
                <a:pos x="59" y="437"/>
              </a:cxn>
            </a:cxnLst>
            <a:rect l="0" t="0" r="r" b="b"/>
            <a:pathLst>
              <a:path w="379" h="437">
                <a:moveTo>
                  <a:pt x="59" y="437"/>
                </a:moveTo>
                <a:lnTo>
                  <a:pt x="33" y="437"/>
                </a:lnTo>
                <a:lnTo>
                  <a:pt x="34" y="430"/>
                </a:lnTo>
                <a:lnTo>
                  <a:pt x="37" y="419"/>
                </a:lnTo>
                <a:lnTo>
                  <a:pt x="38" y="415"/>
                </a:lnTo>
                <a:lnTo>
                  <a:pt x="41" y="410"/>
                </a:lnTo>
                <a:lnTo>
                  <a:pt x="44" y="408"/>
                </a:lnTo>
                <a:lnTo>
                  <a:pt x="46" y="407"/>
                </a:lnTo>
                <a:lnTo>
                  <a:pt x="46" y="320"/>
                </a:lnTo>
                <a:lnTo>
                  <a:pt x="38" y="317"/>
                </a:lnTo>
                <a:lnTo>
                  <a:pt x="32" y="314"/>
                </a:lnTo>
                <a:lnTo>
                  <a:pt x="24" y="311"/>
                </a:lnTo>
                <a:lnTo>
                  <a:pt x="18" y="307"/>
                </a:lnTo>
                <a:lnTo>
                  <a:pt x="12" y="303"/>
                </a:lnTo>
                <a:lnTo>
                  <a:pt x="7" y="299"/>
                </a:lnTo>
                <a:lnTo>
                  <a:pt x="2" y="294"/>
                </a:lnTo>
                <a:lnTo>
                  <a:pt x="0" y="290"/>
                </a:lnTo>
                <a:lnTo>
                  <a:pt x="5" y="284"/>
                </a:lnTo>
                <a:lnTo>
                  <a:pt x="11" y="278"/>
                </a:lnTo>
                <a:lnTo>
                  <a:pt x="15" y="270"/>
                </a:lnTo>
                <a:lnTo>
                  <a:pt x="19" y="264"/>
                </a:lnTo>
                <a:lnTo>
                  <a:pt x="24" y="250"/>
                </a:lnTo>
                <a:lnTo>
                  <a:pt x="28" y="236"/>
                </a:lnTo>
                <a:lnTo>
                  <a:pt x="31" y="221"/>
                </a:lnTo>
                <a:lnTo>
                  <a:pt x="32" y="204"/>
                </a:lnTo>
                <a:lnTo>
                  <a:pt x="33" y="189"/>
                </a:lnTo>
                <a:lnTo>
                  <a:pt x="33" y="173"/>
                </a:lnTo>
                <a:lnTo>
                  <a:pt x="39" y="172"/>
                </a:lnTo>
                <a:lnTo>
                  <a:pt x="45" y="170"/>
                </a:lnTo>
                <a:lnTo>
                  <a:pt x="50" y="168"/>
                </a:lnTo>
                <a:lnTo>
                  <a:pt x="54" y="164"/>
                </a:lnTo>
                <a:lnTo>
                  <a:pt x="57" y="159"/>
                </a:lnTo>
                <a:lnTo>
                  <a:pt x="59" y="154"/>
                </a:lnTo>
                <a:lnTo>
                  <a:pt x="61" y="149"/>
                </a:lnTo>
                <a:lnTo>
                  <a:pt x="63" y="143"/>
                </a:lnTo>
                <a:lnTo>
                  <a:pt x="65" y="130"/>
                </a:lnTo>
                <a:lnTo>
                  <a:pt x="66" y="115"/>
                </a:lnTo>
                <a:lnTo>
                  <a:pt x="69" y="100"/>
                </a:lnTo>
                <a:lnTo>
                  <a:pt x="72" y="86"/>
                </a:lnTo>
                <a:lnTo>
                  <a:pt x="76" y="78"/>
                </a:lnTo>
                <a:lnTo>
                  <a:pt x="78" y="71"/>
                </a:lnTo>
                <a:lnTo>
                  <a:pt x="81" y="64"/>
                </a:lnTo>
                <a:lnTo>
                  <a:pt x="86" y="57"/>
                </a:lnTo>
                <a:lnTo>
                  <a:pt x="90" y="51"/>
                </a:lnTo>
                <a:lnTo>
                  <a:pt x="95" y="44"/>
                </a:lnTo>
                <a:lnTo>
                  <a:pt x="101" y="39"/>
                </a:lnTo>
                <a:lnTo>
                  <a:pt x="108" y="35"/>
                </a:lnTo>
                <a:lnTo>
                  <a:pt x="115" y="31"/>
                </a:lnTo>
                <a:lnTo>
                  <a:pt x="123" y="29"/>
                </a:lnTo>
                <a:lnTo>
                  <a:pt x="132" y="27"/>
                </a:lnTo>
                <a:lnTo>
                  <a:pt x="142" y="25"/>
                </a:lnTo>
                <a:lnTo>
                  <a:pt x="153" y="25"/>
                </a:lnTo>
                <a:lnTo>
                  <a:pt x="165" y="26"/>
                </a:lnTo>
                <a:lnTo>
                  <a:pt x="178" y="28"/>
                </a:lnTo>
                <a:lnTo>
                  <a:pt x="192" y="30"/>
                </a:lnTo>
                <a:lnTo>
                  <a:pt x="217" y="38"/>
                </a:lnTo>
                <a:lnTo>
                  <a:pt x="237" y="44"/>
                </a:lnTo>
                <a:lnTo>
                  <a:pt x="246" y="46"/>
                </a:lnTo>
                <a:lnTo>
                  <a:pt x="254" y="47"/>
                </a:lnTo>
                <a:lnTo>
                  <a:pt x="262" y="48"/>
                </a:lnTo>
                <a:lnTo>
                  <a:pt x="272" y="50"/>
                </a:lnTo>
                <a:lnTo>
                  <a:pt x="283" y="48"/>
                </a:lnTo>
                <a:lnTo>
                  <a:pt x="294" y="47"/>
                </a:lnTo>
                <a:lnTo>
                  <a:pt x="303" y="45"/>
                </a:lnTo>
                <a:lnTo>
                  <a:pt x="311" y="42"/>
                </a:lnTo>
                <a:lnTo>
                  <a:pt x="317" y="39"/>
                </a:lnTo>
                <a:lnTo>
                  <a:pt x="324" y="35"/>
                </a:lnTo>
                <a:lnTo>
                  <a:pt x="329" y="31"/>
                </a:lnTo>
                <a:lnTo>
                  <a:pt x="334" y="27"/>
                </a:lnTo>
                <a:lnTo>
                  <a:pt x="343" y="18"/>
                </a:lnTo>
                <a:lnTo>
                  <a:pt x="351" y="10"/>
                </a:lnTo>
                <a:lnTo>
                  <a:pt x="356" y="7"/>
                </a:lnTo>
                <a:lnTo>
                  <a:pt x="360" y="4"/>
                </a:lnTo>
                <a:lnTo>
                  <a:pt x="366" y="2"/>
                </a:lnTo>
                <a:lnTo>
                  <a:pt x="371" y="0"/>
                </a:lnTo>
                <a:lnTo>
                  <a:pt x="374" y="9"/>
                </a:lnTo>
                <a:lnTo>
                  <a:pt x="379" y="18"/>
                </a:lnTo>
                <a:lnTo>
                  <a:pt x="378" y="23"/>
                </a:lnTo>
                <a:lnTo>
                  <a:pt x="375" y="29"/>
                </a:lnTo>
                <a:lnTo>
                  <a:pt x="372" y="35"/>
                </a:lnTo>
                <a:lnTo>
                  <a:pt x="369" y="41"/>
                </a:lnTo>
                <a:lnTo>
                  <a:pt x="358" y="55"/>
                </a:lnTo>
                <a:lnTo>
                  <a:pt x="344" y="68"/>
                </a:lnTo>
                <a:lnTo>
                  <a:pt x="329" y="80"/>
                </a:lnTo>
                <a:lnTo>
                  <a:pt x="314" y="89"/>
                </a:lnTo>
                <a:lnTo>
                  <a:pt x="306" y="93"/>
                </a:lnTo>
                <a:lnTo>
                  <a:pt x="299" y="96"/>
                </a:lnTo>
                <a:lnTo>
                  <a:pt x="292" y="97"/>
                </a:lnTo>
                <a:lnTo>
                  <a:pt x="285" y="98"/>
                </a:lnTo>
                <a:lnTo>
                  <a:pt x="280" y="98"/>
                </a:lnTo>
                <a:lnTo>
                  <a:pt x="276" y="96"/>
                </a:lnTo>
                <a:lnTo>
                  <a:pt x="271" y="94"/>
                </a:lnTo>
                <a:lnTo>
                  <a:pt x="266" y="91"/>
                </a:lnTo>
                <a:lnTo>
                  <a:pt x="257" y="85"/>
                </a:lnTo>
                <a:lnTo>
                  <a:pt x="248" y="77"/>
                </a:lnTo>
                <a:lnTo>
                  <a:pt x="238" y="69"/>
                </a:lnTo>
                <a:lnTo>
                  <a:pt x="228" y="62"/>
                </a:lnTo>
                <a:lnTo>
                  <a:pt x="223" y="60"/>
                </a:lnTo>
                <a:lnTo>
                  <a:pt x="217" y="57"/>
                </a:lnTo>
                <a:lnTo>
                  <a:pt x="212" y="56"/>
                </a:lnTo>
                <a:lnTo>
                  <a:pt x="205" y="56"/>
                </a:lnTo>
                <a:lnTo>
                  <a:pt x="199" y="56"/>
                </a:lnTo>
                <a:lnTo>
                  <a:pt x="190" y="56"/>
                </a:lnTo>
                <a:lnTo>
                  <a:pt x="177" y="56"/>
                </a:lnTo>
                <a:lnTo>
                  <a:pt x="159" y="56"/>
                </a:lnTo>
                <a:lnTo>
                  <a:pt x="151" y="56"/>
                </a:lnTo>
                <a:lnTo>
                  <a:pt x="145" y="58"/>
                </a:lnTo>
                <a:lnTo>
                  <a:pt x="138" y="61"/>
                </a:lnTo>
                <a:lnTo>
                  <a:pt x="132" y="64"/>
                </a:lnTo>
                <a:lnTo>
                  <a:pt x="125" y="69"/>
                </a:lnTo>
                <a:lnTo>
                  <a:pt x="120" y="74"/>
                </a:lnTo>
                <a:lnTo>
                  <a:pt x="114" y="79"/>
                </a:lnTo>
                <a:lnTo>
                  <a:pt x="109" y="85"/>
                </a:lnTo>
                <a:lnTo>
                  <a:pt x="92" y="110"/>
                </a:lnTo>
                <a:lnTo>
                  <a:pt x="79" y="129"/>
                </a:lnTo>
                <a:lnTo>
                  <a:pt x="79" y="161"/>
                </a:lnTo>
                <a:lnTo>
                  <a:pt x="91" y="161"/>
                </a:lnTo>
                <a:lnTo>
                  <a:pt x="102" y="163"/>
                </a:lnTo>
                <a:lnTo>
                  <a:pt x="111" y="165"/>
                </a:lnTo>
                <a:lnTo>
                  <a:pt x="119" y="169"/>
                </a:lnTo>
                <a:lnTo>
                  <a:pt x="124" y="173"/>
                </a:lnTo>
                <a:lnTo>
                  <a:pt x="128" y="178"/>
                </a:lnTo>
                <a:lnTo>
                  <a:pt x="132" y="184"/>
                </a:lnTo>
                <a:lnTo>
                  <a:pt x="133" y="191"/>
                </a:lnTo>
                <a:lnTo>
                  <a:pt x="139" y="186"/>
                </a:lnTo>
                <a:lnTo>
                  <a:pt x="145" y="180"/>
                </a:lnTo>
                <a:lnTo>
                  <a:pt x="150" y="174"/>
                </a:lnTo>
                <a:lnTo>
                  <a:pt x="155" y="168"/>
                </a:lnTo>
                <a:lnTo>
                  <a:pt x="159" y="163"/>
                </a:lnTo>
                <a:lnTo>
                  <a:pt x="164" y="157"/>
                </a:lnTo>
                <a:lnTo>
                  <a:pt x="168" y="155"/>
                </a:lnTo>
                <a:lnTo>
                  <a:pt x="172" y="153"/>
                </a:lnTo>
                <a:lnTo>
                  <a:pt x="184" y="150"/>
                </a:lnTo>
                <a:lnTo>
                  <a:pt x="196" y="149"/>
                </a:lnTo>
                <a:lnTo>
                  <a:pt x="209" y="149"/>
                </a:lnTo>
                <a:lnTo>
                  <a:pt x="221" y="150"/>
                </a:lnTo>
                <a:lnTo>
                  <a:pt x="232" y="150"/>
                </a:lnTo>
                <a:lnTo>
                  <a:pt x="242" y="149"/>
                </a:lnTo>
                <a:lnTo>
                  <a:pt x="246" y="148"/>
                </a:lnTo>
                <a:lnTo>
                  <a:pt x="250" y="147"/>
                </a:lnTo>
                <a:lnTo>
                  <a:pt x="255" y="144"/>
                </a:lnTo>
                <a:lnTo>
                  <a:pt x="259" y="141"/>
                </a:lnTo>
                <a:lnTo>
                  <a:pt x="268" y="158"/>
                </a:lnTo>
                <a:lnTo>
                  <a:pt x="273" y="173"/>
                </a:lnTo>
                <a:lnTo>
                  <a:pt x="276" y="179"/>
                </a:lnTo>
                <a:lnTo>
                  <a:pt x="278" y="187"/>
                </a:lnTo>
                <a:lnTo>
                  <a:pt x="278" y="194"/>
                </a:lnTo>
                <a:lnTo>
                  <a:pt x="279" y="203"/>
                </a:lnTo>
                <a:lnTo>
                  <a:pt x="268" y="200"/>
                </a:lnTo>
                <a:lnTo>
                  <a:pt x="259" y="198"/>
                </a:lnTo>
                <a:lnTo>
                  <a:pt x="252" y="195"/>
                </a:lnTo>
                <a:lnTo>
                  <a:pt x="246" y="192"/>
                </a:lnTo>
                <a:lnTo>
                  <a:pt x="240" y="189"/>
                </a:lnTo>
                <a:lnTo>
                  <a:pt x="235" y="187"/>
                </a:lnTo>
                <a:lnTo>
                  <a:pt x="227" y="185"/>
                </a:lnTo>
                <a:lnTo>
                  <a:pt x="218" y="185"/>
                </a:lnTo>
                <a:lnTo>
                  <a:pt x="210" y="186"/>
                </a:lnTo>
                <a:lnTo>
                  <a:pt x="202" y="188"/>
                </a:lnTo>
                <a:lnTo>
                  <a:pt x="196" y="191"/>
                </a:lnTo>
                <a:lnTo>
                  <a:pt x="192" y="195"/>
                </a:lnTo>
                <a:lnTo>
                  <a:pt x="189" y="199"/>
                </a:lnTo>
                <a:lnTo>
                  <a:pt x="187" y="203"/>
                </a:lnTo>
                <a:lnTo>
                  <a:pt x="186" y="206"/>
                </a:lnTo>
                <a:lnTo>
                  <a:pt x="186" y="209"/>
                </a:lnTo>
                <a:lnTo>
                  <a:pt x="186" y="215"/>
                </a:lnTo>
                <a:lnTo>
                  <a:pt x="188" y="223"/>
                </a:lnTo>
                <a:lnTo>
                  <a:pt x="189" y="228"/>
                </a:lnTo>
                <a:lnTo>
                  <a:pt x="192" y="233"/>
                </a:lnTo>
                <a:lnTo>
                  <a:pt x="198" y="243"/>
                </a:lnTo>
                <a:lnTo>
                  <a:pt x="205" y="252"/>
                </a:lnTo>
                <a:lnTo>
                  <a:pt x="213" y="261"/>
                </a:lnTo>
                <a:lnTo>
                  <a:pt x="220" y="272"/>
                </a:lnTo>
                <a:lnTo>
                  <a:pt x="222" y="277"/>
                </a:lnTo>
                <a:lnTo>
                  <a:pt x="224" y="283"/>
                </a:lnTo>
                <a:lnTo>
                  <a:pt x="225" y="289"/>
                </a:lnTo>
                <a:lnTo>
                  <a:pt x="225" y="296"/>
                </a:lnTo>
                <a:lnTo>
                  <a:pt x="225" y="302"/>
                </a:lnTo>
                <a:lnTo>
                  <a:pt x="222" y="309"/>
                </a:lnTo>
                <a:lnTo>
                  <a:pt x="220" y="316"/>
                </a:lnTo>
                <a:lnTo>
                  <a:pt x="215" y="322"/>
                </a:lnTo>
                <a:lnTo>
                  <a:pt x="212" y="329"/>
                </a:lnTo>
                <a:lnTo>
                  <a:pt x="209" y="335"/>
                </a:lnTo>
                <a:lnTo>
                  <a:pt x="206" y="340"/>
                </a:lnTo>
                <a:lnTo>
                  <a:pt x="205" y="345"/>
                </a:lnTo>
                <a:lnTo>
                  <a:pt x="205" y="348"/>
                </a:lnTo>
                <a:lnTo>
                  <a:pt x="206" y="351"/>
                </a:lnTo>
                <a:lnTo>
                  <a:pt x="209" y="354"/>
                </a:lnTo>
                <a:lnTo>
                  <a:pt x="210" y="356"/>
                </a:lnTo>
                <a:lnTo>
                  <a:pt x="215" y="361"/>
                </a:lnTo>
                <a:lnTo>
                  <a:pt x="222" y="364"/>
                </a:lnTo>
                <a:lnTo>
                  <a:pt x="228" y="366"/>
                </a:lnTo>
                <a:lnTo>
                  <a:pt x="236" y="368"/>
                </a:lnTo>
                <a:lnTo>
                  <a:pt x="244" y="369"/>
                </a:lnTo>
                <a:lnTo>
                  <a:pt x="252" y="369"/>
                </a:lnTo>
                <a:lnTo>
                  <a:pt x="252" y="390"/>
                </a:lnTo>
                <a:lnTo>
                  <a:pt x="252" y="400"/>
                </a:lnTo>
                <a:lnTo>
                  <a:pt x="252" y="411"/>
                </a:lnTo>
                <a:lnTo>
                  <a:pt x="252" y="431"/>
                </a:lnTo>
                <a:lnTo>
                  <a:pt x="245" y="430"/>
                </a:lnTo>
                <a:lnTo>
                  <a:pt x="239" y="429"/>
                </a:lnTo>
                <a:lnTo>
                  <a:pt x="234" y="427"/>
                </a:lnTo>
                <a:lnTo>
                  <a:pt x="229" y="425"/>
                </a:lnTo>
                <a:lnTo>
                  <a:pt x="225" y="423"/>
                </a:lnTo>
                <a:lnTo>
                  <a:pt x="221" y="421"/>
                </a:lnTo>
                <a:lnTo>
                  <a:pt x="217" y="419"/>
                </a:lnTo>
                <a:lnTo>
                  <a:pt x="212" y="419"/>
                </a:lnTo>
                <a:lnTo>
                  <a:pt x="207" y="418"/>
                </a:lnTo>
                <a:lnTo>
                  <a:pt x="202" y="417"/>
                </a:lnTo>
                <a:lnTo>
                  <a:pt x="198" y="416"/>
                </a:lnTo>
                <a:lnTo>
                  <a:pt x="193" y="414"/>
                </a:lnTo>
                <a:lnTo>
                  <a:pt x="186" y="408"/>
                </a:lnTo>
                <a:lnTo>
                  <a:pt x="177" y="400"/>
                </a:lnTo>
                <a:lnTo>
                  <a:pt x="170" y="391"/>
                </a:lnTo>
                <a:lnTo>
                  <a:pt x="164" y="379"/>
                </a:lnTo>
                <a:lnTo>
                  <a:pt x="158" y="368"/>
                </a:lnTo>
                <a:lnTo>
                  <a:pt x="153" y="356"/>
                </a:lnTo>
                <a:lnTo>
                  <a:pt x="148" y="343"/>
                </a:lnTo>
                <a:lnTo>
                  <a:pt x="144" y="330"/>
                </a:lnTo>
                <a:lnTo>
                  <a:pt x="140" y="317"/>
                </a:lnTo>
                <a:lnTo>
                  <a:pt x="137" y="304"/>
                </a:lnTo>
                <a:lnTo>
                  <a:pt x="134" y="282"/>
                </a:lnTo>
                <a:lnTo>
                  <a:pt x="133" y="264"/>
                </a:lnTo>
                <a:lnTo>
                  <a:pt x="122" y="264"/>
                </a:lnTo>
                <a:lnTo>
                  <a:pt x="114" y="263"/>
                </a:lnTo>
                <a:lnTo>
                  <a:pt x="109" y="261"/>
                </a:lnTo>
                <a:lnTo>
                  <a:pt x="104" y="260"/>
                </a:lnTo>
                <a:lnTo>
                  <a:pt x="101" y="259"/>
                </a:lnTo>
                <a:lnTo>
                  <a:pt x="97" y="259"/>
                </a:lnTo>
                <a:lnTo>
                  <a:pt x="92" y="261"/>
                </a:lnTo>
                <a:lnTo>
                  <a:pt x="86" y="264"/>
                </a:lnTo>
                <a:lnTo>
                  <a:pt x="86" y="296"/>
                </a:lnTo>
                <a:lnTo>
                  <a:pt x="105" y="381"/>
                </a:lnTo>
                <a:lnTo>
                  <a:pt x="104" y="389"/>
                </a:lnTo>
                <a:lnTo>
                  <a:pt x="101" y="394"/>
                </a:lnTo>
                <a:lnTo>
                  <a:pt x="98" y="399"/>
                </a:lnTo>
                <a:lnTo>
                  <a:pt x="93" y="404"/>
                </a:lnTo>
                <a:lnTo>
                  <a:pt x="83" y="411"/>
                </a:lnTo>
                <a:lnTo>
                  <a:pt x="72" y="416"/>
                </a:lnTo>
                <a:lnTo>
                  <a:pt x="64" y="421"/>
                </a:lnTo>
                <a:lnTo>
                  <a:pt x="57" y="426"/>
                </a:lnTo>
                <a:lnTo>
                  <a:pt x="56" y="428"/>
                </a:lnTo>
                <a:lnTo>
                  <a:pt x="55" y="431"/>
                </a:lnTo>
                <a:lnTo>
                  <a:pt x="56" y="434"/>
                </a:lnTo>
                <a:lnTo>
                  <a:pt x="59" y="43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387" name="Freeform 339"/>
          <p:cNvSpPr>
            <a:spLocks/>
          </p:cNvSpPr>
          <p:nvPr>
            <p:custDataLst>
              <p:tags r:id="rId242"/>
            </p:custDataLst>
          </p:nvPr>
        </p:nvSpPr>
        <p:spPr bwMode="auto">
          <a:xfrm>
            <a:off x="6638932" y="2878933"/>
            <a:ext cx="250825" cy="71438"/>
          </a:xfrm>
          <a:custGeom>
            <a:avLst/>
            <a:gdLst/>
            <a:ahLst/>
            <a:cxnLst>
              <a:cxn ang="0">
                <a:pos x="11" y="50"/>
              </a:cxn>
              <a:cxn ang="0">
                <a:pos x="24" y="32"/>
              </a:cxn>
              <a:cxn ang="0">
                <a:pos x="41" y="7"/>
              </a:cxn>
              <a:cxn ang="0">
                <a:pos x="54" y="0"/>
              </a:cxn>
              <a:cxn ang="0">
                <a:pos x="79" y="2"/>
              </a:cxn>
              <a:cxn ang="0">
                <a:pos x="95" y="2"/>
              </a:cxn>
              <a:cxn ang="0">
                <a:pos x="101" y="5"/>
              </a:cxn>
              <a:cxn ang="0">
                <a:pos x="115" y="15"/>
              </a:cxn>
              <a:cxn ang="0">
                <a:pos x="147" y="27"/>
              </a:cxn>
              <a:cxn ang="0">
                <a:pos x="168" y="37"/>
              </a:cxn>
              <a:cxn ang="0">
                <a:pos x="178" y="53"/>
              </a:cxn>
              <a:cxn ang="0">
                <a:pos x="192" y="61"/>
              </a:cxn>
              <a:cxn ang="0">
                <a:pos x="231" y="60"/>
              </a:cxn>
              <a:cxn ang="0">
                <a:pos x="277" y="51"/>
              </a:cxn>
              <a:cxn ang="0">
                <a:pos x="299" y="39"/>
              </a:cxn>
              <a:cxn ang="0">
                <a:pos x="314" y="34"/>
              </a:cxn>
              <a:cxn ang="0">
                <a:pos x="327" y="35"/>
              </a:cxn>
              <a:cxn ang="0">
                <a:pos x="339" y="31"/>
              </a:cxn>
              <a:cxn ang="0">
                <a:pos x="366" y="34"/>
              </a:cxn>
              <a:cxn ang="0">
                <a:pos x="399" y="59"/>
              </a:cxn>
              <a:cxn ang="0">
                <a:pos x="428" y="89"/>
              </a:cxn>
              <a:cxn ang="0">
                <a:pos x="456" y="105"/>
              </a:cxn>
              <a:cxn ang="0">
                <a:pos x="479" y="107"/>
              </a:cxn>
              <a:cxn ang="0">
                <a:pos x="493" y="108"/>
              </a:cxn>
              <a:cxn ang="0">
                <a:pos x="505" y="125"/>
              </a:cxn>
              <a:cxn ang="0">
                <a:pos x="522" y="140"/>
              </a:cxn>
              <a:cxn ang="0">
                <a:pos x="534" y="139"/>
              </a:cxn>
              <a:cxn ang="0">
                <a:pos x="546" y="128"/>
              </a:cxn>
              <a:cxn ang="0">
                <a:pos x="558" y="134"/>
              </a:cxn>
              <a:cxn ang="0">
                <a:pos x="571" y="145"/>
              </a:cxn>
              <a:cxn ang="0">
                <a:pos x="578" y="160"/>
              </a:cxn>
              <a:cxn ang="0">
                <a:pos x="575" y="173"/>
              </a:cxn>
              <a:cxn ang="0">
                <a:pos x="567" y="182"/>
              </a:cxn>
              <a:cxn ang="0">
                <a:pos x="551" y="178"/>
              </a:cxn>
              <a:cxn ang="0">
                <a:pos x="526" y="170"/>
              </a:cxn>
              <a:cxn ang="0">
                <a:pos x="491" y="172"/>
              </a:cxn>
              <a:cxn ang="0">
                <a:pos x="462" y="170"/>
              </a:cxn>
              <a:cxn ang="0">
                <a:pos x="451" y="160"/>
              </a:cxn>
              <a:cxn ang="0">
                <a:pos x="438" y="154"/>
              </a:cxn>
              <a:cxn ang="0">
                <a:pos x="426" y="160"/>
              </a:cxn>
              <a:cxn ang="0">
                <a:pos x="416" y="170"/>
              </a:cxn>
              <a:cxn ang="0">
                <a:pos x="398" y="171"/>
              </a:cxn>
              <a:cxn ang="0">
                <a:pos x="328" y="153"/>
              </a:cxn>
              <a:cxn ang="0">
                <a:pos x="277" y="132"/>
              </a:cxn>
              <a:cxn ang="0">
                <a:pos x="266" y="123"/>
              </a:cxn>
              <a:cxn ang="0">
                <a:pos x="230" y="119"/>
              </a:cxn>
              <a:cxn ang="0">
                <a:pos x="201" y="113"/>
              </a:cxn>
              <a:cxn ang="0">
                <a:pos x="168" y="111"/>
              </a:cxn>
              <a:cxn ang="0">
                <a:pos x="146" y="111"/>
              </a:cxn>
              <a:cxn ang="0">
                <a:pos x="124" y="105"/>
              </a:cxn>
              <a:cxn ang="0">
                <a:pos x="120" y="99"/>
              </a:cxn>
              <a:cxn ang="0">
                <a:pos x="69" y="97"/>
              </a:cxn>
              <a:cxn ang="0">
                <a:pos x="46" y="88"/>
              </a:cxn>
              <a:cxn ang="0">
                <a:pos x="0" y="55"/>
              </a:cxn>
            </a:cxnLst>
            <a:rect l="0" t="0" r="r" b="b"/>
            <a:pathLst>
              <a:path w="578" h="184">
                <a:moveTo>
                  <a:pt x="0" y="55"/>
                </a:moveTo>
                <a:lnTo>
                  <a:pt x="6" y="53"/>
                </a:lnTo>
                <a:lnTo>
                  <a:pt x="11" y="50"/>
                </a:lnTo>
                <a:lnTo>
                  <a:pt x="14" y="46"/>
                </a:lnTo>
                <a:lnTo>
                  <a:pt x="19" y="42"/>
                </a:lnTo>
                <a:lnTo>
                  <a:pt x="24" y="32"/>
                </a:lnTo>
                <a:lnTo>
                  <a:pt x="30" y="23"/>
                </a:lnTo>
                <a:lnTo>
                  <a:pt x="35" y="14"/>
                </a:lnTo>
                <a:lnTo>
                  <a:pt x="41" y="7"/>
                </a:lnTo>
                <a:lnTo>
                  <a:pt x="44" y="4"/>
                </a:lnTo>
                <a:lnTo>
                  <a:pt x="48" y="2"/>
                </a:lnTo>
                <a:lnTo>
                  <a:pt x="54" y="0"/>
                </a:lnTo>
                <a:lnTo>
                  <a:pt x="59" y="0"/>
                </a:lnTo>
                <a:lnTo>
                  <a:pt x="69" y="1"/>
                </a:lnTo>
                <a:lnTo>
                  <a:pt x="79" y="2"/>
                </a:lnTo>
                <a:lnTo>
                  <a:pt x="85" y="3"/>
                </a:lnTo>
                <a:lnTo>
                  <a:pt x="89" y="3"/>
                </a:lnTo>
                <a:lnTo>
                  <a:pt x="95" y="2"/>
                </a:lnTo>
                <a:lnTo>
                  <a:pt x="99" y="0"/>
                </a:lnTo>
                <a:lnTo>
                  <a:pt x="100" y="2"/>
                </a:lnTo>
                <a:lnTo>
                  <a:pt x="101" y="5"/>
                </a:lnTo>
                <a:lnTo>
                  <a:pt x="103" y="7"/>
                </a:lnTo>
                <a:lnTo>
                  <a:pt x="107" y="10"/>
                </a:lnTo>
                <a:lnTo>
                  <a:pt x="115" y="15"/>
                </a:lnTo>
                <a:lnTo>
                  <a:pt x="125" y="20"/>
                </a:lnTo>
                <a:lnTo>
                  <a:pt x="136" y="24"/>
                </a:lnTo>
                <a:lnTo>
                  <a:pt x="147" y="27"/>
                </a:lnTo>
                <a:lnTo>
                  <a:pt x="157" y="29"/>
                </a:lnTo>
                <a:lnTo>
                  <a:pt x="166" y="30"/>
                </a:lnTo>
                <a:lnTo>
                  <a:pt x="168" y="37"/>
                </a:lnTo>
                <a:lnTo>
                  <a:pt x="171" y="44"/>
                </a:lnTo>
                <a:lnTo>
                  <a:pt x="174" y="49"/>
                </a:lnTo>
                <a:lnTo>
                  <a:pt x="178" y="53"/>
                </a:lnTo>
                <a:lnTo>
                  <a:pt x="181" y="57"/>
                </a:lnTo>
                <a:lnTo>
                  <a:pt x="187" y="59"/>
                </a:lnTo>
                <a:lnTo>
                  <a:pt x="192" y="61"/>
                </a:lnTo>
                <a:lnTo>
                  <a:pt x="199" y="61"/>
                </a:lnTo>
                <a:lnTo>
                  <a:pt x="214" y="61"/>
                </a:lnTo>
                <a:lnTo>
                  <a:pt x="231" y="60"/>
                </a:lnTo>
                <a:lnTo>
                  <a:pt x="247" y="58"/>
                </a:lnTo>
                <a:lnTo>
                  <a:pt x="263" y="55"/>
                </a:lnTo>
                <a:lnTo>
                  <a:pt x="277" y="51"/>
                </a:lnTo>
                <a:lnTo>
                  <a:pt x="289" y="46"/>
                </a:lnTo>
                <a:lnTo>
                  <a:pt x="294" y="43"/>
                </a:lnTo>
                <a:lnTo>
                  <a:pt x="299" y="39"/>
                </a:lnTo>
                <a:lnTo>
                  <a:pt x="302" y="35"/>
                </a:lnTo>
                <a:lnTo>
                  <a:pt x="305" y="30"/>
                </a:lnTo>
                <a:lnTo>
                  <a:pt x="314" y="34"/>
                </a:lnTo>
                <a:lnTo>
                  <a:pt x="320" y="35"/>
                </a:lnTo>
                <a:lnTo>
                  <a:pt x="324" y="36"/>
                </a:lnTo>
                <a:lnTo>
                  <a:pt x="327" y="35"/>
                </a:lnTo>
                <a:lnTo>
                  <a:pt x="331" y="33"/>
                </a:lnTo>
                <a:lnTo>
                  <a:pt x="334" y="32"/>
                </a:lnTo>
                <a:lnTo>
                  <a:pt x="339" y="31"/>
                </a:lnTo>
                <a:lnTo>
                  <a:pt x="345" y="30"/>
                </a:lnTo>
                <a:lnTo>
                  <a:pt x="356" y="31"/>
                </a:lnTo>
                <a:lnTo>
                  <a:pt x="366" y="34"/>
                </a:lnTo>
                <a:lnTo>
                  <a:pt x="375" y="39"/>
                </a:lnTo>
                <a:lnTo>
                  <a:pt x="383" y="45"/>
                </a:lnTo>
                <a:lnTo>
                  <a:pt x="399" y="59"/>
                </a:lnTo>
                <a:lnTo>
                  <a:pt x="413" y="74"/>
                </a:lnTo>
                <a:lnTo>
                  <a:pt x="421" y="82"/>
                </a:lnTo>
                <a:lnTo>
                  <a:pt x="428" y="89"/>
                </a:lnTo>
                <a:lnTo>
                  <a:pt x="437" y="96"/>
                </a:lnTo>
                <a:lnTo>
                  <a:pt x="446" y="101"/>
                </a:lnTo>
                <a:lnTo>
                  <a:pt x="456" y="105"/>
                </a:lnTo>
                <a:lnTo>
                  <a:pt x="467" y="107"/>
                </a:lnTo>
                <a:lnTo>
                  <a:pt x="472" y="107"/>
                </a:lnTo>
                <a:lnTo>
                  <a:pt x="479" y="107"/>
                </a:lnTo>
                <a:lnTo>
                  <a:pt x="484" y="106"/>
                </a:lnTo>
                <a:lnTo>
                  <a:pt x="491" y="105"/>
                </a:lnTo>
                <a:lnTo>
                  <a:pt x="493" y="108"/>
                </a:lnTo>
                <a:lnTo>
                  <a:pt x="495" y="113"/>
                </a:lnTo>
                <a:lnTo>
                  <a:pt x="500" y="119"/>
                </a:lnTo>
                <a:lnTo>
                  <a:pt x="505" y="125"/>
                </a:lnTo>
                <a:lnTo>
                  <a:pt x="511" y="131"/>
                </a:lnTo>
                <a:lnTo>
                  <a:pt x="516" y="136"/>
                </a:lnTo>
                <a:lnTo>
                  <a:pt x="522" y="140"/>
                </a:lnTo>
                <a:lnTo>
                  <a:pt x="525" y="141"/>
                </a:lnTo>
                <a:lnTo>
                  <a:pt x="529" y="141"/>
                </a:lnTo>
                <a:lnTo>
                  <a:pt x="534" y="139"/>
                </a:lnTo>
                <a:lnTo>
                  <a:pt x="537" y="137"/>
                </a:lnTo>
                <a:lnTo>
                  <a:pt x="540" y="134"/>
                </a:lnTo>
                <a:lnTo>
                  <a:pt x="546" y="128"/>
                </a:lnTo>
                <a:lnTo>
                  <a:pt x="551" y="123"/>
                </a:lnTo>
                <a:lnTo>
                  <a:pt x="555" y="129"/>
                </a:lnTo>
                <a:lnTo>
                  <a:pt x="558" y="134"/>
                </a:lnTo>
                <a:lnTo>
                  <a:pt x="562" y="138"/>
                </a:lnTo>
                <a:lnTo>
                  <a:pt x="567" y="141"/>
                </a:lnTo>
                <a:lnTo>
                  <a:pt x="571" y="145"/>
                </a:lnTo>
                <a:lnTo>
                  <a:pt x="574" y="150"/>
                </a:lnTo>
                <a:lnTo>
                  <a:pt x="577" y="154"/>
                </a:lnTo>
                <a:lnTo>
                  <a:pt x="578" y="160"/>
                </a:lnTo>
                <a:lnTo>
                  <a:pt x="578" y="165"/>
                </a:lnTo>
                <a:lnTo>
                  <a:pt x="577" y="169"/>
                </a:lnTo>
                <a:lnTo>
                  <a:pt x="575" y="173"/>
                </a:lnTo>
                <a:lnTo>
                  <a:pt x="573" y="177"/>
                </a:lnTo>
                <a:lnTo>
                  <a:pt x="570" y="180"/>
                </a:lnTo>
                <a:lnTo>
                  <a:pt x="567" y="182"/>
                </a:lnTo>
                <a:lnTo>
                  <a:pt x="562" y="184"/>
                </a:lnTo>
                <a:lnTo>
                  <a:pt x="558" y="184"/>
                </a:lnTo>
                <a:lnTo>
                  <a:pt x="551" y="178"/>
                </a:lnTo>
                <a:lnTo>
                  <a:pt x="545" y="172"/>
                </a:lnTo>
                <a:lnTo>
                  <a:pt x="535" y="171"/>
                </a:lnTo>
                <a:lnTo>
                  <a:pt x="526" y="170"/>
                </a:lnTo>
                <a:lnTo>
                  <a:pt x="517" y="170"/>
                </a:lnTo>
                <a:lnTo>
                  <a:pt x="509" y="170"/>
                </a:lnTo>
                <a:lnTo>
                  <a:pt x="491" y="172"/>
                </a:lnTo>
                <a:lnTo>
                  <a:pt x="471" y="172"/>
                </a:lnTo>
                <a:lnTo>
                  <a:pt x="467" y="172"/>
                </a:lnTo>
                <a:lnTo>
                  <a:pt x="462" y="170"/>
                </a:lnTo>
                <a:lnTo>
                  <a:pt x="459" y="167"/>
                </a:lnTo>
                <a:lnTo>
                  <a:pt x="455" y="163"/>
                </a:lnTo>
                <a:lnTo>
                  <a:pt x="451" y="160"/>
                </a:lnTo>
                <a:lnTo>
                  <a:pt x="447" y="157"/>
                </a:lnTo>
                <a:lnTo>
                  <a:pt x="443" y="155"/>
                </a:lnTo>
                <a:lnTo>
                  <a:pt x="438" y="154"/>
                </a:lnTo>
                <a:lnTo>
                  <a:pt x="434" y="155"/>
                </a:lnTo>
                <a:lnTo>
                  <a:pt x="429" y="157"/>
                </a:lnTo>
                <a:lnTo>
                  <a:pt x="426" y="160"/>
                </a:lnTo>
                <a:lnTo>
                  <a:pt x="423" y="163"/>
                </a:lnTo>
                <a:lnTo>
                  <a:pt x="420" y="167"/>
                </a:lnTo>
                <a:lnTo>
                  <a:pt x="416" y="170"/>
                </a:lnTo>
                <a:lnTo>
                  <a:pt x="414" y="172"/>
                </a:lnTo>
                <a:lnTo>
                  <a:pt x="412" y="172"/>
                </a:lnTo>
                <a:lnTo>
                  <a:pt x="398" y="171"/>
                </a:lnTo>
                <a:lnTo>
                  <a:pt x="378" y="167"/>
                </a:lnTo>
                <a:lnTo>
                  <a:pt x="354" y="160"/>
                </a:lnTo>
                <a:lnTo>
                  <a:pt x="328" y="153"/>
                </a:lnTo>
                <a:lnTo>
                  <a:pt x="304" y="144"/>
                </a:lnTo>
                <a:lnTo>
                  <a:pt x="285" y="136"/>
                </a:lnTo>
                <a:lnTo>
                  <a:pt x="277" y="132"/>
                </a:lnTo>
                <a:lnTo>
                  <a:pt x="270" y="129"/>
                </a:lnTo>
                <a:lnTo>
                  <a:pt x="267" y="126"/>
                </a:lnTo>
                <a:lnTo>
                  <a:pt x="266" y="123"/>
                </a:lnTo>
                <a:lnTo>
                  <a:pt x="252" y="122"/>
                </a:lnTo>
                <a:lnTo>
                  <a:pt x="240" y="121"/>
                </a:lnTo>
                <a:lnTo>
                  <a:pt x="230" y="119"/>
                </a:lnTo>
                <a:lnTo>
                  <a:pt x="220" y="117"/>
                </a:lnTo>
                <a:lnTo>
                  <a:pt x="211" y="115"/>
                </a:lnTo>
                <a:lnTo>
                  <a:pt x="201" y="113"/>
                </a:lnTo>
                <a:lnTo>
                  <a:pt x="191" y="111"/>
                </a:lnTo>
                <a:lnTo>
                  <a:pt x="179" y="111"/>
                </a:lnTo>
                <a:lnTo>
                  <a:pt x="168" y="111"/>
                </a:lnTo>
                <a:lnTo>
                  <a:pt x="157" y="111"/>
                </a:lnTo>
                <a:lnTo>
                  <a:pt x="149" y="111"/>
                </a:lnTo>
                <a:lnTo>
                  <a:pt x="146" y="111"/>
                </a:lnTo>
                <a:lnTo>
                  <a:pt x="136" y="110"/>
                </a:lnTo>
                <a:lnTo>
                  <a:pt x="128" y="107"/>
                </a:lnTo>
                <a:lnTo>
                  <a:pt x="124" y="105"/>
                </a:lnTo>
                <a:lnTo>
                  <a:pt x="122" y="103"/>
                </a:lnTo>
                <a:lnTo>
                  <a:pt x="120" y="101"/>
                </a:lnTo>
                <a:lnTo>
                  <a:pt x="120" y="99"/>
                </a:lnTo>
                <a:lnTo>
                  <a:pt x="79" y="99"/>
                </a:lnTo>
                <a:lnTo>
                  <a:pt x="75" y="98"/>
                </a:lnTo>
                <a:lnTo>
                  <a:pt x="69" y="97"/>
                </a:lnTo>
                <a:lnTo>
                  <a:pt x="64" y="96"/>
                </a:lnTo>
                <a:lnTo>
                  <a:pt x="57" y="94"/>
                </a:lnTo>
                <a:lnTo>
                  <a:pt x="46" y="88"/>
                </a:lnTo>
                <a:lnTo>
                  <a:pt x="34" y="81"/>
                </a:lnTo>
                <a:lnTo>
                  <a:pt x="14" y="67"/>
                </a:lnTo>
                <a:lnTo>
                  <a:pt x="0" y="5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388" name="Freeform 340"/>
          <p:cNvSpPr>
            <a:spLocks/>
          </p:cNvSpPr>
          <p:nvPr>
            <p:custDataLst>
              <p:tags r:id="rId243"/>
            </p:custDataLst>
          </p:nvPr>
        </p:nvSpPr>
        <p:spPr bwMode="auto">
          <a:xfrm>
            <a:off x="7319963" y="2771778"/>
            <a:ext cx="214312" cy="189310"/>
          </a:xfrm>
          <a:custGeom>
            <a:avLst/>
            <a:gdLst/>
            <a:ahLst/>
            <a:cxnLst>
              <a:cxn ang="0">
                <a:pos x="482" y="479"/>
              </a:cxn>
              <a:cxn ang="0">
                <a:pos x="457" y="465"/>
              </a:cxn>
              <a:cxn ang="0">
                <a:pos x="422" y="434"/>
              </a:cxn>
              <a:cxn ang="0">
                <a:pos x="412" y="417"/>
              </a:cxn>
              <a:cxn ang="0">
                <a:pos x="376" y="410"/>
              </a:cxn>
              <a:cxn ang="0">
                <a:pos x="360" y="406"/>
              </a:cxn>
              <a:cxn ang="0">
                <a:pos x="350" y="396"/>
              </a:cxn>
              <a:cxn ang="0">
                <a:pos x="346" y="374"/>
              </a:cxn>
              <a:cxn ang="0">
                <a:pos x="342" y="332"/>
              </a:cxn>
              <a:cxn ang="0">
                <a:pos x="327" y="303"/>
              </a:cxn>
              <a:cxn ang="0">
                <a:pos x="319" y="277"/>
              </a:cxn>
              <a:cxn ang="0">
                <a:pos x="314" y="244"/>
              </a:cxn>
              <a:cxn ang="0">
                <a:pos x="292" y="223"/>
              </a:cxn>
              <a:cxn ang="0">
                <a:pos x="260" y="205"/>
              </a:cxn>
              <a:cxn ang="0">
                <a:pos x="221" y="190"/>
              </a:cxn>
              <a:cxn ang="0">
                <a:pos x="178" y="181"/>
              </a:cxn>
              <a:cxn ang="0">
                <a:pos x="133" y="178"/>
              </a:cxn>
              <a:cxn ang="0">
                <a:pos x="133" y="156"/>
              </a:cxn>
              <a:cxn ang="0">
                <a:pos x="110" y="145"/>
              </a:cxn>
              <a:cxn ang="0">
                <a:pos x="85" y="130"/>
              </a:cxn>
              <a:cxn ang="0">
                <a:pos x="66" y="111"/>
              </a:cxn>
              <a:cxn ang="0">
                <a:pos x="73" y="133"/>
              </a:cxn>
              <a:cxn ang="0">
                <a:pos x="54" y="147"/>
              </a:cxn>
              <a:cxn ang="0">
                <a:pos x="40" y="178"/>
              </a:cxn>
              <a:cxn ang="0">
                <a:pos x="24" y="220"/>
              </a:cxn>
              <a:cxn ang="0">
                <a:pos x="13" y="265"/>
              </a:cxn>
              <a:cxn ang="0">
                <a:pos x="14" y="237"/>
              </a:cxn>
              <a:cxn ang="0">
                <a:pos x="23" y="209"/>
              </a:cxn>
              <a:cxn ang="0">
                <a:pos x="32" y="181"/>
              </a:cxn>
              <a:cxn ang="0">
                <a:pos x="30" y="143"/>
              </a:cxn>
              <a:cxn ang="0">
                <a:pos x="17" y="111"/>
              </a:cxn>
              <a:cxn ang="0">
                <a:pos x="0" y="73"/>
              </a:cxn>
              <a:cxn ang="0">
                <a:pos x="34" y="59"/>
              </a:cxn>
              <a:cxn ang="0">
                <a:pos x="59" y="55"/>
              </a:cxn>
              <a:cxn ang="0">
                <a:pos x="84" y="58"/>
              </a:cxn>
              <a:cxn ang="0">
                <a:pos x="102" y="66"/>
              </a:cxn>
              <a:cxn ang="0">
                <a:pos x="121" y="82"/>
              </a:cxn>
              <a:cxn ang="0">
                <a:pos x="140" y="111"/>
              </a:cxn>
              <a:cxn ang="0">
                <a:pos x="183" y="103"/>
              </a:cxn>
              <a:cxn ang="0">
                <a:pos x="196" y="96"/>
              </a:cxn>
              <a:cxn ang="0">
                <a:pos x="200" y="90"/>
              </a:cxn>
              <a:cxn ang="0">
                <a:pos x="207" y="73"/>
              </a:cxn>
              <a:cxn ang="0">
                <a:pos x="232" y="54"/>
              </a:cxn>
              <a:cxn ang="0">
                <a:pos x="254" y="49"/>
              </a:cxn>
              <a:cxn ang="0">
                <a:pos x="263" y="30"/>
              </a:cxn>
              <a:cxn ang="0">
                <a:pos x="280" y="9"/>
              </a:cxn>
              <a:cxn ang="0">
                <a:pos x="300" y="1"/>
              </a:cxn>
              <a:cxn ang="0">
                <a:pos x="323" y="0"/>
              </a:cxn>
              <a:cxn ang="0">
                <a:pos x="351" y="8"/>
              </a:cxn>
              <a:cxn ang="0">
                <a:pos x="399" y="38"/>
              </a:cxn>
              <a:cxn ang="0">
                <a:pos x="428" y="53"/>
              </a:cxn>
              <a:cxn ang="0">
                <a:pos x="459" y="60"/>
              </a:cxn>
              <a:cxn ang="0">
                <a:pos x="491" y="67"/>
              </a:cxn>
              <a:cxn ang="0">
                <a:pos x="491" y="326"/>
              </a:cxn>
            </a:cxnLst>
            <a:rect l="0" t="0" r="r" b="b"/>
            <a:pathLst>
              <a:path w="491" h="481">
                <a:moveTo>
                  <a:pt x="491" y="481"/>
                </a:moveTo>
                <a:lnTo>
                  <a:pt x="488" y="480"/>
                </a:lnTo>
                <a:lnTo>
                  <a:pt x="482" y="479"/>
                </a:lnTo>
                <a:lnTo>
                  <a:pt x="477" y="477"/>
                </a:lnTo>
                <a:lnTo>
                  <a:pt x="470" y="473"/>
                </a:lnTo>
                <a:lnTo>
                  <a:pt x="457" y="465"/>
                </a:lnTo>
                <a:lnTo>
                  <a:pt x="444" y="455"/>
                </a:lnTo>
                <a:lnTo>
                  <a:pt x="432" y="445"/>
                </a:lnTo>
                <a:lnTo>
                  <a:pt x="422" y="434"/>
                </a:lnTo>
                <a:lnTo>
                  <a:pt x="417" y="428"/>
                </a:lnTo>
                <a:lnTo>
                  <a:pt x="414" y="423"/>
                </a:lnTo>
                <a:lnTo>
                  <a:pt x="412" y="417"/>
                </a:lnTo>
                <a:lnTo>
                  <a:pt x="412" y="412"/>
                </a:lnTo>
                <a:lnTo>
                  <a:pt x="392" y="412"/>
                </a:lnTo>
                <a:lnTo>
                  <a:pt x="376" y="410"/>
                </a:lnTo>
                <a:lnTo>
                  <a:pt x="370" y="409"/>
                </a:lnTo>
                <a:lnTo>
                  <a:pt x="365" y="408"/>
                </a:lnTo>
                <a:lnTo>
                  <a:pt x="360" y="406"/>
                </a:lnTo>
                <a:lnTo>
                  <a:pt x="356" y="403"/>
                </a:lnTo>
                <a:lnTo>
                  <a:pt x="353" y="400"/>
                </a:lnTo>
                <a:lnTo>
                  <a:pt x="350" y="396"/>
                </a:lnTo>
                <a:lnTo>
                  <a:pt x="348" y="392"/>
                </a:lnTo>
                <a:lnTo>
                  <a:pt x="347" y="387"/>
                </a:lnTo>
                <a:lnTo>
                  <a:pt x="346" y="374"/>
                </a:lnTo>
                <a:lnTo>
                  <a:pt x="345" y="357"/>
                </a:lnTo>
                <a:lnTo>
                  <a:pt x="344" y="344"/>
                </a:lnTo>
                <a:lnTo>
                  <a:pt x="342" y="332"/>
                </a:lnTo>
                <a:lnTo>
                  <a:pt x="337" y="322"/>
                </a:lnTo>
                <a:lnTo>
                  <a:pt x="332" y="313"/>
                </a:lnTo>
                <a:lnTo>
                  <a:pt x="327" y="303"/>
                </a:lnTo>
                <a:lnTo>
                  <a:pt x="323" y="294"/>
                </a:lnTo>
                <a:lnTo>
                  <a:pt x="320" y="286"/>
                </a:lnTo>
                <a:lnTo>
                  <a:pt x="319" y="277"/>
                </a:lnTo>
                <a:lnTo>
                  <a:pt x="319" y="267"/>
                </a:lnTo>
                <a:lnTo>
                  <a:pt x="319" y="252"/>
                </a:lnTo>
                <a:lnTo>
                  <a:pt x="314" y="244"/>
                </a:lnTo>
                <a:lnTo>
                  <a:pt x="309" y="237"/>
                </a:lnTo>
                <a:lnTo>
                  <a:pt x="301" y="229"/>
                </a:lnTo>
                <a:lnTo>
                  <a:pt x="292" y="223"/>
                </a:lnTo>
                <a:lnTo>
                  <a:pt x="282" y="216"/>
                </a:lnTo>
                <a:lnTo>
                  <a:pt x="272" y="210"/>
                </a:lnTo>
                <a:lnTo>
                  <a:pt x="260" y="205"/>
                </a:lnTo>
                <a:lnTo>
                  <a:pt x="248" y="200"/>
                </a:lnTo>
                <a:lnTo>
                  <a:pt x="235" y="194"/>
                </a:lnTo>
                <a:lnTo>
                  <a:pt x="221" y="190"/>
                </a:lnTo>
                <a:lnTo>
                  <a:pt x="208" y="187"/>
                </a:lnTo>
                <a:lnTo>
                  <a:pt x="192" y="184"/>
                </a:lnTo>
                <a:lnTo>
                  <a:pt x="178" y="181"/>
                </a:lnTo>
                <a:lnTo>
                  <a:pt x="163" y="180"/>
                </a:lnTo>
                <a:lnTo>
                  <a:pt x="147" y="179"/>
                </a:lnTo>
                <a:lnTo>
                  <a:pt x="133" y="178"/>
                </a:lnTo>
                <a:lnTo>
                  <a:pt x="133" y="170"/>
                </a:lnTo>
                <a:lnTo>
                  <a:pt x="133" y="163"/>
                </a:lnTo>
                <a:lnTo>
                  <a:pt x="133" y="156"/>
                </a:lnTo>
                <a:lnTo>
                  <a:pt x="133" y="148"/>
                </a:lnTo>
                <a:lnTo>
                  <a:pt x="121" y="147"/>
                </a:lnTo>
                <a:lnTo>
                  <a:pt x="110" y="145"/>
                </a:lnTo>
                <a:lnTo>
                  <a:pt x="100" y="140"/>
                </a:lnTo>
                <a:lnTo>
                  <a:pt x="92" y="136"/>
                </a:lnTo>
                <a:lnTo>
                  <a:pt x="85" y="130"/>
                </a:lnTo>
                <a:lnTo>
                  <a:pt x="77" y="124"/>
                </a:lnTo>
                <a:lnTo>
                  <a:pt x="71" y="117"/>
                </a:lnTo>
                <a:lnTo>
                  <a:pt x="66" y="111"/>
                </a:lnTo>
                <a:lnTo>
                  <a:pt x="92" y="111"/>
                </a:lnTo>
                <a:lnTo>
                  <a:pt x="82" y="121"/>
                </a:lnTo>
                <a:lnTo>
                  <a:pt x="73" y="133"/>
                </a:lnTo>
                <a:lnTo>
                  <a:pt x="66" y="139"/>
                </a:lnTo>
                <a:lnTo>
                  <a:pt x="60" y="144"/>
                </a:lnTo>
                <a:lnTo>
                  <a:pt x="54" y="147"/>
                </a:lnTo>
                <a:lnTo>
                  <a:pt x="46" y="148"/>
                </a:lnTo>
                <a:lnTo>
                  <a:pt x="43" y="163"/>
                </a:lnTo>
                <a:lnTo>
                  <a:pt x="40" y="178"/>
                </a:lnTo>
                <a:lnTo>
                  <a:pt x="34" y="192"/>
                </a:lnTo>
                <a:lnTo>
                  <a:pt x="30" y="206"/>
                </a:lnTo>
                <a:lnTo>
                  <a:pt x="24" y="220"/>
                </a:lnTo>
                <a:lnTo>
                  <a:pt x="20" y="234"/>
                </a:lnTo>
                <a:lnTo>
                  <a:pt x="17" y="249"/>
                </a:lnTo>
                <a:lnTo>
                  <a:pt x="13" y="265"/>
                </a:lnTo>
                <a:lnTo>
                  <a:pt x="13" y="256"/>
                </a:lnTo>
                <a:lnTo>
                  <a:pt x="13" y="246"/>
                </a:lnTo>
                <a:lnTo>
                  <a:pt x="14" y="237"/>
                </a:lnTo>
                <a:lnTo>
                  <a:pt x="17" y="228"/>
                </a:lnTo>
                <a:lnTo>
                  <a:pt x="20" y="219"/>
                </a:lnTo>
                <a:lnTo>
                  <a:pt x="23" y="209"/>
                </a:lnTo>
                <a:lnTo>
                  <a:pt x="26" y="200"/>
                </a:lnTo>
                <a:lnTo>
                  <a:pt x="30" y="190"/>
                </a:lnTo>
                <a:lnTo>
                  <a:pt x="32" y="181"/>
                </a:lnTo>
                <a:lnTo>
                  <a:pt x="33" y="172"/>
                </a:lnTo>
                <a:lnTo>
                  <a:pt x="32" y="156"/>
                </a:lnTo>
                <a:lnTo>
                  <a:pt x="30" y="143"/>
                </a:lnTo>
                <a:lnTo>
                  <a:pt x="26" y="130"/>
                </a:lnTo>
                <a:lnTo>
                  <a:pt x="21" y="120"/>
                </a:lnTo>
                <a:lnTo>
                  <a:pt x="17" y="111"/>
                </a:lnTo>
                <a:lnTo>
                  <a:pt x="11" y="101"/>
                </a:lnTo>
                <a:lnTo>
                  <a:pt x="4" y="89"/>
                </a:lnTo>
                <a:lnTo>
                  <a:pt x="0" y="73"/>
                </a:lnTo>
                <a:lnTo>
                  <a:pt x="13" y="68"/>
                </a:lnTo>
                <a:lnTo>
                  <a:pt x="28" y="62"/>
                </a:lnTo>
                <a:lnTo>
                  <a:pt x="34" y="59"/>
                </a:lnTo>
                <a:lnTo>
                  <a:pt x="42" y="57"/>
                </a:lnTo>
                <a:lnTo>
                  <a:pt x="51" y="56"/>
                </a:lnTo>
                <a:lnTo>
                  <a:pt x="59" y="55"/>
                </a:lnTo>
                <a:lnTo>
                  <a:pt x="68" y="56"/>
                </a:lnTo>
                <a:lnTo>
                  <a:pt x="76" y="57"/>
                </a:lnTo>
                <a:lnTo>
                  <a:pt x="84" y="58"/>
                </a:lnTo>
                <a:lnTo>
                  <a:pt x="90" y="60"/>
                </a:lnTo>
                <a:lnTo>
                  <a:pt x="96" y="63"/>
                </a:lnTo>
                <a:lnTo>
                  <a:pt x="102" y="66"/>
                </a:lnTo>
                <a:lnTo>
                  <a:pt x="107" y="70"/>
                </a:lnTo>
                <a:lnTo>
                  <a:pt x="112" y="73"/>
                </a:lnTo>
                <a:lnTo>
                  <a:pt x="121" y="82"/>
                </a:lnTo>
                <a:lnTo>
                  <a:pt x="127" y="92"/>
                </a:lnTo>
                <a:lnTo>
                  <a:pt x="134" y="101"/>
                </a:lnTo>
                <a:lnTo>
                  <a:pt x="140" y="111"/>
                </a:lnTo>
                <a:lnTo>
                  <a:pt x="179" y="111"/>
                </a:lnTo>
                <a:lnTo>
                  <a:pt x="180" y="107"/>
                </a:lnTo>
                <a:lnTo>
                  <a:pt x="183" y="103"/>
                </a:lnTo>
                <a:lnTo>
                  <a:pt x="187" y="101"/>
                </a:lnTo>
                <a:lnTo>
                  <a:pt x="191" y="99"/>
                </a:lnTo>
                <a:lnTo>
                  <a:pt x="196" y="96"/>
                </a:lnTo>
                <a:lnTo>
                  <a:pt x="199" y="94"/>
                </a:lnTo>
                <a:lnTo>
                  <a:pt x="200" y="92"/>
                </a:lnTo>
                <a:lnTo>
                  <a:pt x="200" y="90"/>
                </a:lnTo>
                <a:lnTo>
                  <a:pt x="200" y="89"/>
                </a:lnTo>
                <a:lnTo>
                  <a:pt x="199" y="85"/>
                </a:lnTo>
                <a:lnTo>
                  <a:pt x="207" y="73"/>
                </a:lnTo>
                <a:lnTo>
                  <a:pt x="215" y="64"/>
                </a:lnTo>
                <a:lnTo>
                  <a:pt x="223" y="58"/>
                </a:lnTo>
                <a:lnTo>
                  <a:pt x="232" y="54"/>
                </a:lnTo>
                <a:lnTo>
                  <a:pt x="239" y="51"/>
                </a:lnTo>
                <a:lnTo>
                  <a:pt x="247" y="50"/>
                </a:lnTo>
                <a:lnTo>
                  <a:pt x="254" y="49"/>
                </a:lnTo>
                <a:lnTo>
                  <a:pt x="259" y="49"/>
                </a:lnTo>
                <a:lnTo>
                  <a:pt x="260" y="40"/>
                </a:lnTo>
                <a:lnTo>
                  <a:pt x="263" y="30"/>
                </a:lnTo>
                <a:lnTo>
                  <a:pt x="267" y="22"/>
                </a:lnTo>
                <a:lnTo>
                  <a:pt x="273" y="15"/>
                </a:lnTo>
                <a:lnTo>
                  <a:pt x="280" y="9"/>
                </a:lnTo>
                <a:lnTo>
                  <a:pt x="290" y="4"/>
                </a:lnTo>
                <a:lnTo>
                  <a:pt x="294" y="2"/>
                </a:lnTo>
                <a:lnTo>
                  <a:pt x="300" y="1"/>
                </a:lnTo>
                <a:lnTo>
                  <a:pt x="306" y="0"/>
                </a:lnTo>
                <a:lnTo>
                  <a:pt x="312" y="0"/>
                </a:lnTo>
                <a:lnTo>
                  <a:pt x="323" y="0"/>
                </a:lnTo>
                <a:lnTo>
                  <a:pt x="333" y="2"/>
                </a:lnTo>
                <a:lnTo>
                  <a:pt x="343" y="5"/>
                </a:lnTo>
                <a:lnTo>
                  <a:pt x="351" y="8"/>
                </a:lnTo>
                <a:lnTo>
                  <a:pt x="368" y="17"/>
                </a:lnTo>
                <a:lnTo>
                  <a:pt x="383" y="27"/>
                </a:lnTo>
                <a:lnTo>
                  <a:pt x="399" y="38"/>
                </a:lnTo>
                <a:lnTo>
                  <a:pt x="413" y="47"/>
                </a:lnTo>
                <a:lnTo>
                  <a:pt x="421" y="50"/>
                </a:lnTo>
                <a:lnTo>
                  <a:pt x="428" y="53"/>
                </a:lnTo>
                <a:lnTo>
                  <a:pt x="436" y="55"/>
                </a:lnTo>
                <a:lnTo>
                  <a:pt x="445" y="55"/>
                </a:lnTo>
                <a:lnTo>
                  <a:pt x="459" y="60"/>
                </a:lnTo>
                <a:lnTo>
                  <a:pt x="471" y="64"/>
                </a:lnTo>
                <a:lnTo>
                  <a:pt x="481" y="66"/>
                </a:lnTo>
                <a:lnTo>
                  <a:pt x="491" y="67"/>
                </a:lnTo>
                <a:lnTo>
                  <a:pt x="491" y="289"/>
                </a:lnTo>
                <a:lnTo>
                  <a:pt x="471" y="301"/>
                </a:lnTo>
                <a:lnTo>
                  <a:pt x="491" y="326"/>
                </a:lnTo>
                <a:lnTo>
                  <a:pt x="491" y="474"/>
                </a:lnTo>
                <a:lnTo>
                  <a:pt x="491" y="48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389" name="Freeform 341"/>
          <p:cNvSpPr>
            <a:spLocks/>
          </p:cNvSpPr>
          <p:nvPr>
            <p:custDataLst>
              <p:tags r:id="rId244"/>
            </p:custDataLst>
          </p:nvPr>
        </p:nvSpPr>
        <p:spPr bwMode="auto">
          <a:xfrm>
            <a:off x="5851532" y="1895483"/>
            <a:ext cx="53975" cy="45244"/>
          </a:xfrm>
          <a:custGeom>
            <a:avLst/>
            <a:gdLst/>
            <a:ahLst/>
            <a:cxnLst>
              <a:cxn ang="0">
                <a:pos x="0" y="19"/>
              </a:cxn>
              <a:cxn ang="0">
                <a:pos x="72" y="0"/>
              </a:cxn>
              <a:cxn ang="0">
                <a:pos x="81" y="6"/>
              </a:cxn>
              <a:cxn ang="0">
                <a:pos x="91" y="14"/>
              </a:cxn>
              <a:cxn ang="0">
                <a:pos x="101" y="25"/>
              </a:cxn>
              <a:cxn ang="0">
                <a:pos x="109" y="37"/>
              </a:cxn>
              <a:cxn ang="0">
                <a:pos x="118" y="49"/>
              </a:cxn>
              <a:cxn ang="0">
                <a:pos x="126" y="62"/>
              </a:cxn>
              <a:cxn ang="0">
                <a:pos x="128" y="68"/>
              </a:cxn>
              <a:cxn ang="0">
                <a:pos x="130" y="74"/>
              </a:cxn>
              <a:cxn ang="0">
                <a:pos x="131" y="80"/>
              </a:cxn>
              <a:cxn ang="0">
                <a:pos x="133" y="86"/>
              </a:cxn>
              <a:cxn ang="0">
                <a:pos x="131" y="92"/>
              </a:cxn>
              <a:cxn ang="0">
                <a:pos x="128" y="97"/>
              </a:cxn>
              <a:cxn ang="0">
                <a:pos x="124" y="102"/>
              </a:cxn>
              <a:cxn ang="0">
                <a:pos x="118" y="107"/>
              </a:cxn>
              <a:cxn ang="0">
                <a:pos x="113" y="111"/>
              </a:cxn>
              <a:cxn ang="0">
                <a:pos x="107" y="114"/>
              </a:cxn>
              <a:cxn ang="0">
                <a:pos x="103" y="117"/>
              </a:cxn>
              <a:cxn ang="0">
                <a:pos x="100" y="117"/>
              </a:cxn>
              <a:cxn ang="0">
                <a:pos x="72" y="95"/>
              </a:cxn>
              <a:cxn ang="0">
                <a:pos x="45" y="70"/>
              </a:cxn>
              <a:cxn ang="0">
                <a:pos x="32" y="58"/>
              </a:cxn>
              <a:cxn ang="0">
                <a:pos x="18" y="46"/>
              </a:cxn>
              <a:cxn ang="0">
                <a:pos x="8" y="33"/>
              </a:cxn>
              <a:cxn ang="0">
                <a:pos x="0" y="19"/>
              </a:cxn>
            </a:cxnLst>
            <a:rect l="0" t="0" r="r" b="b"/>
            <a:pathLst>
              <a:path w="133" h="117">
                <a:moveTo>
                  <a:pt x="0" y="19"/>
                </a:moveTo>
                <a:lnTo>
                  <a:pt x="72" y="0"/>
                </a:lnTo>
                <a:lnTo>
                  <a:pt x="81" y="6"/>
                </a:lnTo>
                <a:lnTo>
                  <a:pt x="91" y="14"/>
                </a:lnTo>
                <a:lnTo>
                  <a:pt x="101" y="25"/>
                </a:lnTo>
                <a:lnTo>
                  <a:pt x="109" y="37"/>
                </a:lnTo>
                <a:lnTo>
                  <a:pt x="118" y="49"/>
                </a:lnTo>
                <a:lnTo>
                  <a:pt x="126" y="62"/>
                </a:lnTo>
                <a:lnTo>
                  <a:pt x="128" y="68"/>
                </a:lnTo>
                <a:lnTo>
                  <a:pt x="130" y="74"/>
                </a:lnTo>
                <a:lnTo>
                  <a:pt x="131" y="80"/>
                </a:lnTo>
                <a:lnTo>
                  <a:pt x="133" y="86"/>
                </a:lnTo>
                <a:lnTo>
                  <a:pt x="131" y="92"/>
                </a:lnTo>
                <a:lnTo>
                  <a:pt x="128" y="97"/>
                </a:lnTo>
                <a:lnTo>
                  <a:pt x="124" y="102"/>
                </a:lnTo>
                <a:lnTo>
                  <a:pt x="118" y="107"/>
                </a:lnTo>
                <a:lnTo>
                  <a:pt x="113" y="111"/>
                </a:lnTo>
                <a:lnTo>
                  <a:pt x="107" y="114"/>
                </a:lnTo>
                <a:lnTo>
                  <a:pt x="103" y="117"/>
                </a:lnTo>
                <a:lnTo>
                  <a:pt x="100" y="117"/>
                </a:lnTo>
                <a:lnTo>
                  <a:pt x="72" y="95"/>
                </a:lnTo>
                <a:lnTo>
                  <a:pt x="45" y="70"/>
                </a:lnTo>
                <a:lnTo>
                  <a:pt x="32" y="58"/>
                </a:lnTo>
                <a:lnTo>
                  <a:pt x="18" y="46"/>
                </a:lnTo>
                <a:lnTo>
                  <a:pt x="8" y="33"/>
                </a:lnTo>
                <a:lnTo>
                  <a:pt x="0" y="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390" name="Freeform 342"/>
          <p:cNvSpPr>
            <a:spLocks/>
          </p:cNvSpPr>
          <p:nvPr>
            <p:custDataLst>
              <p:tags r:id="rId245"/>
            </p:custDataLst>
          </p:nvPr>
        </p:nvSpPr>
        <p:spPr bwMode="auto">
          <a:xfrm>
            <a:off x="4308477" y="1448991"/>
            <a:ext cx="220663" cy="133350"/>
          </a:xfrm>
          <a:custGeom>
            <a:avLst/>
            <a:gdLst/>
            <a:ahLst/>
            <a:cxnLst>
              <a:cxn ang="0">
                <a:pos x="272" y="36"/>
              </a:cxn>
              <a:cxn ang="0">
                <a:pos x="484" y="86"/>
              </a:cxn>
              <a:cxn ang="0">
                <a:pos x="478" y="109"/>
              </a:cxn>
              <a:cxn ang="0">
                <a:pos x="471" y="129"/>
              </a:cxn>
              <a:cxn ang="0">
                <a:pos x="461" y="145"/>
              </a:cxn>
              <a:cxn ang="0">
                <a:pos x="451" y="153"/>
              </a:cxn>
              <a:cxn ang="0">
                <a:pos x="461" y="184"/>
              </a:cxn>
              <a:cxn ang="0">
                <a:pos x="477" y="215"/>
              </a:cxn>
              <a:cxn ang="0">
                <a:pos x="505" y="258"/>
              </a:cxn>
              <a:cxn ang="0">
                <a:pos x="493" y="271"/>
              </a:cxn>
              <a:cxn ang="0">
                <a:pos x="479" y="292"/>
              </a:cxn>
              <a:cxn ang="0">
                <a:pos x="468" y="314"/>
              </a:cxn>
              <a:cxn ang="0">
                <a:pos x="464" y="339"/>
              </a:cxn>
              <a:cxn ang="0">
                <a:pos x="443" y="338"/>
              </a:cxn>
              <a:cxn ang="0">
                <a:pos x="414" y="335"/>
              </a:cxn>
              <a:cxn ang="0">
                <a:pos x="385" y="331"/>
              </a:cxn>
              <a:cxn ang="0">
                <a:pos x="358" y="326"/>
              </a:cxn>
              <a:cxn ang="0">
                <a:pos x="304" y="325"/>
              </a:cxn>
              <a:cxn ang="0">
                <a:pos x="264" y="321"/>
              </a:cxn>
              <a:cxn ang="0">
                <a:pos x="248" y="317"/>
              </a:cxn>
              <a:cxn ang="0">
                <a:pos x="232" y="310"/>
              </a:cxn>
              <a:cxn ang="0">
                <a:pos x="213" y="300"/>
              </a:cxn>
              <a:cxn ang="0">
                <a:pos x="180" y="289"/>
              </a:cxn>
              <a:cxn ang="0">
                <a:pos x="146" y="273"/>
              </a:cxn>
              <a:cxn ang="0">
                <a:pos x="98" y="249"/>
              </a:cxn>
              <a:cxn ang="0">
                <a:pos x="62" y="206"/>
              </a:cxn>
              <a:cxn ang="0">
                <a:pos x="52" y="169"/>
              </a:cxn>
              <a:cxn ang="0">
                <a:pos x="36" y="124"/>
              </a:cxn>
              <a:cxn ang="0">
                <a:pos x="15" y="83"/>
              </a:cxn>
              <a:cxn ang="0">
                <a:pos x="2" y="64"/>
              </a:cxn>
              <a:cxn ang="0">
                <a:pos x="5" y="61"/>
              </a:cxn>
              <a:cxn ang="0">
                <a:pos x="11" y="56"/>
              </a:cxn>
              <a:cxn ang="0">
                <a:pos x="11" y="48"/>
              </a:cxn>
              <a:cxn ang="0">
                <a:pos x="11" y="43"/>
              </a:cxn>
              <a:cxn ang="0">
                <a:pos x="34" y="34"/>
              </a:cxn>
              <a:cxn ang="0">
                <a:pos x="73" y="22"/>
              </a:cxn>
              <a:cxn ang="0">
                <a:pos x="128" y="8"/>
              </a:cxn>
              <a:cxn ang="0">
                <a:pos x="173" y="11"/>
              </a:cxn>
              <a:cxn ang="0">
                <a:pos x="188" y="28"/>
              </a:cxn>
              <a:cxn ang="0">
                <a:pos x="201" y="35"/>
              </a:cxn>
              <a:cxn ang="0">
                <a:pos x="219" y="36"/>
              </a:cxn>
              <a:cxn ang="0">
                <a:pos x="239" y="36"/>
              </a:cxn>
              <a:cxn ang="0">
                <a:pos x="259" y="24"/>
              </a:cxn>
            </a:cxnLst>
            <a:rect l="0" t="0" r="r" b="b"/>
            <a:pathLst>
              <a:path w="505" h="339">
                <a:moveTo>
                  <a:pt x="259" y="24"/>
                </a:moveTo>
                <a:lnTo>
                  <a:pt x="272" y="36"/>
                </a:lnTo>
                <a:lnTo>
                  <a:pt x="444" y="48"/>
                </a:lnTo>
                <a:lnTo>
                  <a:pt x="484" y="86"/>
                </a:lnTo>
                <a:lnTo>
                  <a:pt x="482" y="97"/>
                </a:lnTo>
                <a:lnTo>
                  <a:pt x="478" y="109"/>
                </a:lnTo>
                <a:lnTo>
                  <a:pt x="474" y="120"/>
                </a:lnTo>
                <a:lnTo>
                  <a:pt x="471" y="129"/>
                </a:lnTo>
                <a:lnTo>
                  <a:pt x="465" y="138"/>
                </a:lnTo>
                <a:lnTo>
                  <a:pt x="461" y="145"/>
                </a:lnTo>
                <a:lnTo>
                  <a:pt x="456" y="150"/>
                </a:lnTo>
                <a:lnTo>
                  <a:pt x="451" y="153"/>
                </a:lnTo>
                <a:lnTo>
                  <a:pt x="455" y="169"/>
                </a:lnTo>
                <a:lnTo>
                  <a:pt x="461" y="184"/>
                </a:lnTo>
                <a:lnTo>
                  <a:pt x="470" y="200"/>
                </a:lnTo>
                <a:lnTo>
                  <a:pt x="477" y="215"/>
                </a:lnTo>
                <a:lnTo>
                  <a:pt x="494" y="242"/>
                </a:lnTo>
                <a:lnTo>
                  <a:pt x="505" y="258"/>
                </a:lnTo>
                <a:lnTo>
                  <a:pt x="499" y="264"/>
                </a:lnTo>
                <a:lnTo>
                  <a:pt x="493" y="271"/>
                </a:lnTo>
                <a:lnTo>
                  <a:pt x="486" y="281"/>
                </a:lnTo>
                <a:lnTo>
                  <a:pt x="479" y="292"/>
                </a:lnTo>
                <a:lnTo>
                  <a:pt x="474" y="303"/>
                </a:lnTo>
                <a:lnTo>
                  <a:pt x="468" y="314"/>
                </a:lnTo>
                <a:lnTo>
                  <a:pt x="465" y="326"/>
                </a:lnTo>
                <a:lnTo>
                  <a:pt x="464" y="339"/>
                </a:lnTo>
                <a:lnTo>
                  <a:pt x="457" y="339"/>
                </a:lnTo>
                <a:lnTo>
                  <a:pt x="443" y="338"/>
                </a:lnTo>
                <a:lnTo>
                  <a:pt x="428" y="337"/>
                </a:lnTo>
                <a:lnTo>
                  <a:pt x="414" y="335"/>
                </a:lnTo>
                <a:lnTo>
                  <a:pt x="399" y="333"/>
                </a:lnTo>
                <a:lnTo>
                  <a:pt x="385" y="331"/>
                </a:lnTo>
                <a:lnTo>
                  <a:pt x="371" y="328"/>
                </a:lnTo>
                <a:lnTo>
                  <a:pt x="358" y="326"/>
                </a:lnTo>
                <a:lnTo>
                  <a:pt x="344" y="326"/>
                </a:lnTo>
                <a:lnTo>
                  <a:pt x="304" y="325"/>
                </a:lnTo>
                <a:lnTo>
                  <a:pt x="275" y="323"/>
                </a:lnTo>
                <a:lnTo>
                  <a:pt x="264" y="321"/>
                </a:lnTo>
                <a:lnTo>
                  <a:pt x="255" y="319"/>
                </a:lnTo>
                <a:lnTo>
                  <a:pt x="248" y="317"/>
                </a:lnTo>
                <a:lnTo>
                  <a:pt x="242" y="315"/>
                </a:lnTo>
                <a:lnTo>
                  <a:pt x="232" y="310"/>
                </a:lnTo>
                <a:lnTo>
                  <a:pt x="224" y="305"/>
                </a:lnTo>
                <a:lnTo>
                  <a:pt x="213" y="300"/>
                </a:lnTo>
                <a:lnTo>
                  <a:pt x="198" y="295"/>
                </a:lnTo>
                <a:lnTo>
                  <a:pt x="180" y="289"/>
                </a:lnTo>
                <a:lnTo>
                  <a:pt x="162" y="282"/>
                </a:lnTo>
                <a:lnTo>
                  <a:pt x="146" y="273"/>
                </a:lnTo>
                <a:lnTo>
                  <a:pt x="130" y="266"/>
                </a:lnTo>
                <a:lnTo>
                  <a:pt x="98" y="249"/>
                </a:lnTo>
                <a:lnTo>
                  <a:pt x="65" y="228"/>
                </a:lnTo>
                <a:lnTo>
                  <a:pt x="62" y="206"/>
                </a:lnTo>
                <a:lnTo>
                  <a:pt x="57" y="187"/>
                </a:lnTo>
                <a:lnTo>
                  <a:pt x="52" y="169"/>
                </a:lnTo>
                <a:lnTo>
                  <a:pt x="47" y="152"/>
                </a:lnTo>
                <a:lnTo>
                  <a:pt x="36" y="124"/>
                </a:lnTo>
                <a:lnTo>
                  <a:pt x="25" y="100"/>
                </a:lnTo>
                <a:lnTo>
                  <a:pt x="15" y="83"/>
                </a:lnTo>
                <a:lnTo>
                  <a:pt x="7" y="71"/>
                </a:lnTo>
                <a:lnTo>
                  <a:pt x="2" y="64"/>
                </a:lnTo>
                <a:lnTo>
                  <a:pt x="0" y="62"/>
                </a:lnTo>
                <a:lnTo>
                  <a:pt x="5" y="61"/>
                </a:lnTo>
                <a:lnTo>
                  <a:pt x="8" y="59"/>
                </a:lnTo>
                <a:lnTo>
                  <a:pt x="11" y="56"/>
                </a:lnTo>
                <a:lnTo>
                  <a:pt x="11" y="51"/>
                </a:lnTo>
                <a:lnTo>
                  <a:pt x="11" y="48"/>
                </a:lnTo>
                <a:lnTo>
                  <a:pt x="11" y="45"/>
                </a:lnTo>
                <a:lnTo>
                  <a:pt x="11" y="43"/>
                </a:lnTo>
                <a:lnTo>
                  <a:pt x="13" y="42"/>
                </a:lnTo>
                <a:lnTo>
                  <a:pt x="34" y="34"/>
                </a:lnTo>
                <a:lnTo>
                  <a:pt x="55" y="27"/>
                </a:lnTo>
                <a:lnTo>
                  <a:pt x="73" y="22"/>
                </a:lnTo>
                <a:lnTo>
                  <a:pt x="92" y="17"/>
                </a:lnTo>
                <a:lnTo>
                  <a:pt x="128" y="8"/>
                </a:lnTo>
                <a:lnTo>
                  <a:pt x="165" y="0"/>
                </a:lnTo>
                <a:lnTo>
                  <a:pt x="173" y="11"/>
                </a:lnTo>
                <a:lnTo>
                  <a:pt x="183" y="23"/>
                </a:lnTo>
                <a:lnTo>
                  <a:pt x="188" y="28"/>
                </a:lnTo>
                <a:lnTo>
                  <a:pt x="194" y="32"/>
                </a:lnTo>
                <a:lnTo>
                  <a:pt x="201" y="35"/>
                </a:lnTo>
                <a:lnTo>
                  <a:pt x="205" y="36"/>
                </a:lnTo>
                <a:lnTo>
                  <a:pt x="219" y="36"/>
                </a:lnTo>
                <a:lnTo>
                  <a:pt x="230" y="36"/>
                </a:lnTo>
                <a:lnTo>
                  <a:pt x="239" y="36"/>
                </a:lnTo>
                <a:lnTo>
                  <a:pt x="246" y="36"/>
                </a:lnTo>
                <a:lnTo>
                  <a:pt x="259" y="24"/>
                </a:lnTo>
              </a:path>
            </a:pathLst>
          </a:custGeom>
          <a:solidFill>
            <a:srgbClr val="007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391" name="Freeform 343"/>
          <p:cNvSpPr>
            <a:spLocks/>
          </p:cNvSpPr>
          <p:nvPr>
            <p:custDataLst>
              <p:tags r:id="rId246"/>
            </p:custDataLst>
          </p:nvPr>
        </p:nvSpPr>
        <p:spPr bwMode="auto">
          <a:xfrm>
            <a:off x="4371975" y="1602586"/>
            <a:ext cx="146050" cy="53579"/>
          </a:xfrm>
          <a:custGeom>
            <a:avLst/>
            <a:gdLst/>
            <a:ahLst/>
            <a:cxnLst>
              <a:cxn ang="0">
                <a:pos x="312" y="0"/>
              </a:cxn>
              <a:cxn ang="0">
                <a:pos x="186" y="0"/>
              </a:cxn>
              <a:cxn ang="0">
                <a:pos x="168" y="8"/>
              </a:cxn>
              <a:cxn ang="0">
                <a:pos x="144" y="21"/>
              </a:cxn>
              <a:cxn ang="0">
                <a:pos x="132" y="27"/>
              </a:cxn>
              <a:cxn ang="0">
                <a:pos x="119" y="32"/>
              </a:cxn>
              <a:cxn ang="0">
                <a:pos x="112" y="34"/>
              </a:cxn>
              <a:cxn ang="0">
                <a:pos x="105" y="35"/>
              </a:cxn>
              <a:cxn ang="0">
                <a:pos x="99" y="36"/>
              </a:cxn>
              <a:cxn ang="0">
                <a:pos x="93" y="37"/>
              </a:cxn>
              <a:cxn ang="0">
                <a:pos x="88" y="36"/>
              </a:cxn>
              <a:cxn ang="0">
                <a:pos x="84" y="35"/>
              </a:cxn>
              <a:cxn ang="0">
                <a:pos x="78" y="32"/>
              </a:cxn>
              <a:cxn ang="0">
                <a:pos x="74" y="30"/>
              </a:cxn>
              <a:cxn ang="0">
                <a:pos x="66" y="24"/>
              </a:cxn>
              <a:cxn ang="0">
                <a:pos x="59" y="18"/>
              </a:cxn>
              <a:cxn ang="0">
                <a:pos x="49" y="34"/>
              </a:cxn>
              <a:cxn ang="0">
                <a:pos x="37" y="51"/>
              </a:cxn>
              <a:cxn ang="0">
                <a:pos x="30" y="60"/>
              </a:cxn>
              <a:cxn ang="0">
                <a:pos x="21" y="68"/>
              </a:cxn>
              <a:cxn ang="0">
                <a:pos x="11" y="75"/>
              </a:cxn>
              <a:cxn ang="0">
                <a:pos x="0" y="80"/>
              </a:cxn>
              <a:cxn ang="0">
                <a:pos x="12" y="90"/>
              </a:cxn>
              <a:cxn ang="0">
                <a:pos x="23" y="100"/>
              </a:cxn>
              <a:cxn ang="0">
                <a:pos x="33" y="108"/>
              </a:cxn>
              <a:cxn ang="0">
                <a:pos x="44" y="116"/>
              </a:cxn>
              <a:cxn ang="0">
                <a:pos x="55" y="122"/>
              </a:cxn>
              <a:cxn ang="0">
                <a:pos x="66" y="129"/>
              </a:cxn>
              <a:cxn ang="0">
                <a:pos x="79" y="135"/>
              </a:cxn>
              <a:cxn ang="0">
                <a:pos x="93" y="141"/>
              </a:cxn>
              <a:cxn ang="0">
                <a:pos x="259" y="141"/>
              </a:cxn>
              <a:cxn ang="0">
                <a:pos x="269" y="124"/>
              </a:cxn>
              <a:cxn ang="0">
                <a:pos x="281" y="107"/>
              </a:cxn>
              <a:cxn ang="0">
                <a:pos x="292" y="92"/>
              </a:cxn>
              <a:cxn ang="0">
                <a:pos x="304" y="78"/>
              </a:cxn>
              <a:cxn ang="0">
                <a:pos x="315" y="64"/>
              </a:cxn>
              <a:cxn ang="0">
                <a:pos x="324" y="48"/>
              </a:cxn>
              <a:cxn ang="0">
                <a:pos x="333" y="34"/>
              </a:cxn>
              <a:cxn ang="0">
                <a:pos x="338" y="18"/>
              </a:cxn>
              <a:cxn ang="0">
                <a:pos x="312" y="0"/>
              </a:cxn>
            </a:cxnLst>
            <a:rect l="0" t="0" r="r" b="b"/>
            <a:pathLst>
              <a:path w="338" h="141">
                <a:moveTo>
                  <a:pt x="312" y="0"/>
                </a:moveTo>
                <a:lnTo>
                  <a:pt x="186" y="0"/>
                </a:lnTo>
                <a:lnTo>
                  <a:pt x="168" y="8"/>
                </a:lnTo>
                <a:lnTo>
                  <a:pt x="144" y="21"/>
                </a:lnTo>
                <a:lnTo>
                  <a:pt x="132" y="27"/>
                </a:lnTo>
                <a:lnTo>
                  <a:pt x="119" y="32"/>
                </a:lnTo>
                <a:lnTo>
                  <a:pt x="112" y="34"/>
                </a:lnTo>
                <a:lnTo>
                  <a:pt x="105" y="35"/>
                </a:lnTo>
                <a:lnTo>
                  <a:pt x="99" y="36"/>
                </a:lnTo>
                <a:lnTo>
                  <a:pt x="93" y="37"/>
                </a:lnTo>
                <a:lnTo>
                  <a:pt x="88" y="36"/>
                </a:lnTo>
                <a:lnTo>
                  <a:pt x="84" y="35"/>
                </a:lnTo>
                <a:lnTo>
                  <a:pt x="78" y="32"/>
                </a:lnTo>
                <a:lnTo>
                  <a:pt x="74" y="30"/>
                </a:lnTo>
                <a:lnTo>
                  <a:pt x="66" y="24"/>
                </a:lnTo>
                <a:lnTo>
                  <a:pt x="59" y="18"/>
                </a:lnTo>
                <a:lnTo>
                  <a:pt x="49" y="34"/>
                </a:lnTo>
                <a:lnTo>
                  <a:pt x="37" y="51"/>
                </a:lnTo>
                <a:lnTo>
                  <a:pt x="30" y="60"/>
                </a:lnTo>
                <a:lnTo>
                  <a:pt x="21" y="68"/>
                </a:lnTo>
                <a:lnTo>
                  <a:pt x="11" y="75"/>
                </a:lnTo>
                <a:lnTo>
                  <a:pt x="0" y="80"/>
                </a:lnTo>
                <a:lnTo>
                  <a:pt x="12" y="90"/>
                </a:lnTo>
                <a:lnTo>
                  <a:pt x="23" y="100"/>
                </a:lnTo>
                <a:lnTo>
                  <a:pt x="33" y="108"/>
                </a:lnTo>
                <a:lnTo>
                  <a:pt x="44" y="116"/>
                </a:lnTo>
                <a:lnTo>
                  <a:pt x="55" y="122"/>
                </a:lnTo>
                <a:lnTo>
                  <a:pt x="66" y="129"/>
                </a:lnTo>
                <a:lnTo>
                  <a:pt x="79" y="135"/>
                </a:lnTo>
                <a:lnTo>
                  <a:pt x="93" y="141"/>
                </a:lnTo>
                <a:lnTo>
                  <a:pt x="259" y="141"/>
                </a:lnTo>
                <a:lnTo>
                  <a:pt x="269" y="124"/>
                </a:lnTo>
                <a:lnTo>
                  <a:pt x="281" y="107"/>
                </a:lnTo>
                <a:lnTo>
                  <a:pt x="292" y="92"/>
                </a:lnTo>
                <a:lnTo>
                  <a:pt x="304" y="78"/>
                </a:lnTo>
                <a:lnTo>
                  <a:pt x="315" y="64"/>
                </a:lnTo>
                <a:lnTo>
                  <a:pt x="324" y="48"/>
                </a:lnTo>
                <a:lnTo>
                  <a:pt x="333" y="34"/>
                </a:lnTo>
                <a:lnTo>
                  <a:pt x="338" y="18"/>
                </a:lnTo>
                <a:lnTo>
                  <a:pt x="312" y="0"/>
                </a:lnTo>
              </a:path>
            </a:pathLst>
          </a:custGeom>
          <a:solidFill>
            <a:srgbClr val="007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392" name="Freeform 344"/>
          <p:cNvSpPr>
            <a:spLocks/>
          </p:cNvSpPr>
          <p:nvPr>
            <p:custDataLst>
              <p:tags r:id="rId247"/>
            </p:custDataLst>
          </p:nvPr>
        </p:nvSpPr>
        <p:spPr bwMode="auto">
          <a:xfrm>
            <a:off x="4471995" y="1344223"/>
            <a:ext cx="111125" cy="48815"/>
          </a:xfrm>
          <a:custGeom>
            <a:avLst/>
            <a:gdLst/>
            <a:ahLst/>
            <a:cxnLst>
              <a:cxn ang="0">
                <a:pos x="259" y="129"/>
              </a:cxn>
              <a:cxn ang="0">
                <a:pos x="255" y="102"/>
              </a:cxn>
              <a:cxn ang="0">
                <a:pos x="252" y="80"/>
              </a:cxn>
              <a:cxn ang="0">
                <a:pos x="252" y="63"/>
              </a:cxn>
              <a:cxn ang="0">
                <a:pos x="253" y="50"/>
              </a:cxn>
              <a:cxn ang="0">
                <a:pos x="257" y="29"/>
              </a:cxn>
              <a:cxn ang="0">
                <a:pos x="259" y="12"/>
              </a:cxn>
              <a:cxn ang="0">
                <a:pos x="258" y="14"/>
              </a:cxn>
              <a:cxn ang="0">
                <a:pos x="256" y="16"/>
              </a:cxn>
              <a:cxn ang="0">
                <a:pos x="253" y="17"/>
              </a:cxn>
              <a:cxn ang="0">
                <a:pos x="249" y="18"/>
              </a:cxn>
              <a:cxn ang="0">
                <a:pos x="239" y="19"/>
              </a:cxn>
              <a:cxn ang="0">
                <a:pos x="228" y="19"/>
              </a:cxn>
              <a:cxn ang="0">
                <a:pos x="205" y="19"/>
              </a:cxn>
              <a:cxn ang="0">
                <a:pos x="192" y="18"/>
              </a:cxn>
              <a:cxn ang="0">
                <a:pos x="181" y="17"/>
              </a:cxn>
              <a:cxn ang="0">
                <a:pos x="172" y="15"/>
              </a:cxn>
              <a:cxn ang="0">
                <a:pos x="163" y="12"/>
              </a:cxn>
              <a:cxn ang="0">
                <a:pos x="156" y="9"/>
              </a:cxn>
              <a:cxn ang="0">
                <a:pos x="146" y="6"/>
              </a:cxn>
              <a:cxn ang="0">
                <a:pos x="134" y="3"/>
              </a:cxn>
              <a:cxn ang="0">
                <a:pos x="118" y="1"/>
              </a:cxn>
              <a:cxn ang="0">
                <a:pos x="99" y="0"/>
              </a:cxn>
              <a:cxn ang="0">
                <a:pos x="83" y="0"/>
              </a:cxn>
              <a:cxn ang="0">
                <a:pos x="67" y="0"/>
              </a:cxn>
              <a:cxn ang="0">
                <a:pos x="50" y="0"/>
              </a:cxn>
              <a:cxn ang="0">
                <a:pos x="34" y="2"/>
              </a:cxn>
              <a:cxn ang="0">
                <a:pos x="27" y="4"/>
              </a:cxn>
              <a:cxn ang="0">
                <a:pos x="21" y="6"/>
              </a:cxn>
              <a:cxn ang="0">
                <a:pos x="14" y="9"/>
              </a:cxn>
              <a:cxn ang="0">
                <a:pos x="10" y="13"/>
              </a:cxn>
              <a:cxn ang="0">
                <a:pos x="5" y="17"/>
              </a:cxn>
              <a:cxn ang="0">
                <a:pos x="2" y="22"/>
              </a:cxn>
              <a:cxn ang="0">
                <a:pos x="0" y="29"/>
              </a:cxn>
              <a:cxn ang="0">
                <a:pos x="0" y="36"/>
              </a:cxn>
              <a:cxn ang="0">
                <a:pos x="0" y="48"/>
              </a:cxn>
              <a:cxn ang="0">
                <a:pos x="3" y="58"/>
              </a:cxn>
              <a:cxn ang="0">
                <a:pos x="6" y="65"/>
              </a:cxn>
              <a:cxn ang="0">
                <a:pos x="12" y="71"/>
              </a:cxn>
              <a:cxn ang="0">
                <a:pos x="17" y="76"/>
              </a:cxn>
              <a:cxn ang="0">
                <a:pos x="24" y="80"/>
              </a:cxn>
              <a:cxn ang="0">
                <a:pos x="31" y="83"/>
              </a:cxn>
              <a:cxn ang="0">
                <a:pos x="37" y="85"/>
              </a:cxn>
              <a:cxn ang="0">
                <a:pos x="50" y="88"/>
              </a:cxn>
              <a:cxn ang="0">
                <a:pos x="61" y="92"/>
              </a:cxn>
              <a:cxn ang="0">
                <a:pos x="65" y="95"/>
              </a:cxn>
              <a:cxn ang="0">
                <a:pos x="67" y="99"/>
              </a:cxn>
              <a:cxn ang="0">
                <a:pos x="67" y="105"/>
              </a:cxn>
              <a:cxn ang="0">
                <a:pos x="66" y="111"/>
              </a:cxn>
              <a:cxn ang="0">
                <a:pos x="81" y="110"/>
              </a:cxn>
              <a:cxn ang="0">
                <a:pos x="91" y="108"/>
              </a:cxn>
              <a:cxn ang="0">
                <a:pos x="98" y="106"/>
              </a:cxn>
              <a:cxn ang="0">
                <a:pos x="105" y="105"/>
              </a:cxn>
              <a:cxn ang="0">
                <a:pos x="120" y="106"/>
              </a:cxn>
              <a:cxn ang="0">
                <a:pos x="140" y="108"/>
              </a:cxn>
              <a:cxn ang="0">
                <a:pos x="166" y="112"/>
              </a:cxn>
              <a:cxn ang="0">
                <a:pos x="192" y="117"/>
              </a:cxn>
              <a:cxn ang="0">
                <a:pos x="238" y="125"/>
              </a:cxn>
              <a:cxn ang="0">
                <a:pos x="259" y="129"/>
              </a:cxn>
            </a:cxnLst>
            <a:rect l="0" t="0" r="r" b="b"/>
            <a:pathLst>
              <a:path w="259" h="129">
                <a:moveTo>
                  <a:pt x="259" y="129"/>
                </a:moveTo>
                <a:lnTo>
                  <a:pt x="255" y="102"/>
                </a:lnTo>
                <a:lnTo>
                  <a:pt x="252" y="80"/>
                </a:lnTo>
                <a:lnTo>
                  <a:pt x="252" y="63"/>
                </a:lnTo>
                <a:lnTo>
                  <a:pt x="253" y="50"/>
                </a:lnTo>
                <a:lnTo>
                  <a:pt x="257" y="29"/>
                </a:lnTo>
                <a:lnTo>
                  <a:pt x="259" y="12"/>
                </a:lnTo>
                <a:lnTo>
                  <a:pt x="258" y="14"/>
                </a:lnTo>
                <a:lnTo>
                  <a:pt x="256" y="16"/>
                </a:lnTo>
                <a:lnTo>
                  <a:pt x="253" y="17"/>
                </a:lnTo>
                <a:lnTo>
                  <a:pt x="249" y="18"/>
                </a:lnTo>
                <a:lnTo>
                  <a:pt x="239" y="19"/>
                </a:lnTo>
                <a:lnTo>
                  <a:pt x="228" y="19"/>
                </a:lnTo>
                <a:lnTo>
                  <a:pt x="205" y="19"/>
                </a:lnTo>
                <a:lnTo>
                  <a:pt x="192" y="18"/>
                </a:lnTo>
                <a:lnTo>
                  <a:pt x="181" y="17"/>
                </a:lnTo>
                <a:lnTo>
                  <a:pt x="172" y="15"/>
                </a:lnTo>
                <a:lnTo>
                  <a:pt x="163" y="12"/>
                </a:lnTo>
                <a:lnTo>
                  <a:pt x="156" y="9"/>
                </a:lnTo>
                <a:lnTo>
                  <a:pt x="146" y="6"/>
                </a:lnTo>
                <a:lnTo>
                  <a:pt x="134" y="3"/>
                </a:lnTo>
                <a:lnTo>
                  <a:pt x="118" y="1"/>
                </a:lnTo>
                <a:lnTo>
                  <a:pt x="99" y="0"/>
                </a:lnTo>
                <a:lnTo>
                  <a:pt x="83" y="0"/>
                </a:lnTo>
                <a:lnTo>
                  <a:pt x="67" y="0"/>
                </a:lnTo>
                <a:lnTo>
                  <a:pt x="50" y="0"/>
                </a:lnTo>
                <a:lnTo>
                  <a:pt x="34" y="2"/>
                </a:lnTo>
                <a:lnTo>
                  <a:pt x="27" y="4"/>
                </a:lnTo>
                <a:lnTo>
                  <a:pt x="21" y="6"/>
                </a:lnTo>
                <a:lnTo>
                  <a:pt x="14" y="9"/>
                </a:lnTo>
                <a:lnTo>
                  <a:pt x="10" y="13"/>
                </a:lnTo>
                <a:lnTo>
                  <a:pt x="5" y="17"/>
                </a:lnTo>
                <a:lnTo>
                  <a:pt x="2" y="22"/>
                </a:lnTo>
                <a:lnTo>
                  <a:pt x="0" y="29"/>
                </a:lnTo>
                <a:lnTo>
                  <a:pt x="0" y="36"/>
                </a:lnTo>
                <a:lnTo>
                  <a:pt x="0" y="48"/>
                </a:lnTo>
                <a:lnTo>
                  <a:pt x="3" y="58"/>
                </a:lnTo>
                <a:lnTo>
                  <a:pt x="6" y="65"/>
                </a:lnTo>
                <a:lnTo>
                  <a:pt x="12" y="71"/>
                </a:lnTo>
                <a:lnTo>
                  <a:pt x="17" y="76"/>
                </a:lnTo>
                <a:lnTo>
                  <a:pt x="24" y="80"/>
                </a:lnTo>
                <a:lnTo>
                  <a:pt x="31" y="83"/>
                </a:lnTo>
                <a:lnTo>
                  <a:pt x="37" y="85"/>
                </a:lnTo>
                <a:lnTo>
                  <a:pt x="50" y="88"/>
                </a:lnTo>
                <a:lnTo>
                  <a:pt x="61" y="92"/>
                </a:lnTo>
                <a:lnTo>
                  <a:pt x="65" y="95"/>
                </a:lnTo>
                <a:lnTo>
                  <a:pt x="67" y="99"/>
                </a:lnTo>
                <a:lnTo>
                  <a:pt x="67" y="105"/>
                </a:lnTo>
                <a:lnTo>
                  <a:pt x="66" y="111"/>
                </a:lnTo>
                <a:lnTo>
                  <a:pt x="81" y="110"/>
                </a:lnTo>
                <a:lnTo>
                  <a:pt x="91" y="108"/>
                </a:lnTo>
                <a:lnTo>
                  <a:pt x="98" y="106"/>
                </a:lnTo>
                <a:lnTo>
                  <a:pt x="105" y="105"/>
                </a:lnTo>
                <a:lnTo>
                  <a:pt x="120" y="106"/>
                </a:lnTo>
                <a:lnTo>
                  <a:pt x="140" y="108"/>
                </a:lnTo>
                <a:lnTo>
                  <a:pt x="166" y="112"/>
                </a:lnTo>
                <a:lnTo>
                  <a:pt x="192" y="117"/>
                </a:lnTo>
                <a:lnTo>
                  <a:pt x="238" y="125"/>
                </a:lnTo>
                <a:lnTo>
                  <a:pt x="259" y="129"/>
                </a:lnTo>
              </a:path>
            </a:pathLst>
          </a:custGeom>
          <a:solidFill>
            <a:srgbClr val="007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393" name="Freeform 345"/>
          <p:cNvSpPr>
            <a:spLocks/>
          </p:cNvSpPr>
          <p:nvPr>
            <p:custDataLst>
              <p:tags r:id="rId248"/>
            </p:custDataLst>
          </p:nvPr>
        </p:nvSpPr>
        <p:spPr bwMode="auto">
          <a:xfrm>
            <a:off x="4484695" y="1604970"/>
            <a:ext cx="179387" cy="107156"/>
          </a:xfrm>
          <a:custGeom>
            <a:avLst/>
            <a:gdLst/>
            <a:ahLst/>
            <a:cxnLst>
              <a:cxn ang="0">
                <a:pos x="418" y="170"/>
              </a:cxn>
              <a:cxn ang="0">
                <a:pos x="398" y="188"/>
              </a:cxn>
              <a:cxn ang="0">
                <a:pos x="383" y="206"/>
              </a:cxn>
              <a:cxn ang="0">
                <a:pos x="384" y="221"/>
              </a:cxn>
              <a:cxn ang="0">
                <a:pos x="389" y="237"/>
              </a:cxn>
              <a:cxn ang="0">
                <a:pos x="375" y="244"/>
              </a:cxn>
              <a:cxn ang="0">
                <a:pos x="347" y="238"/>
              </a:cxn>
              <a:cxn ang="0">
                <a:pos x="324" y="235"/>
              </a:cxn>
              <a:cxn ang="0">
                <a:pos x="295" y="235"/>
              </a:cxn>
              <a:cxn ang="0">
                <a:pos x="263" y="243"/>
              </a:cxn>
              <a:cxn ang="0">
                <a:pos x="232" y="254"/>
              </a:cxn>
              <a:cxn ang="0">
                <a:pos x="197" y="267"/>
              </a:cxn>
              <a:cxn ang="0">
                <a:pos x="100" y="240"/>
              </a:cxn>
              <a:cxn ang="0">
                <a:pos x="85" y="226"/>
              </a:cxn>
              <a:cxn ang="0">
                <a:pos x="70" y="214"/>
              </a:cxn>
              <a:cxn ang="0">
                <a:pos x="37" y="192"/>
              </a:cxn>
              <a:cxn ang="0">
                <a:pos x="22" y="180"/>
              </a:cxn>
              <a:cxn ang="0">
                <a:pos x="11" y="167"/>
              </a:cxn>
              <a:cxn ang="0">
                <a:pos x="2" y="150"/>
              </a:cxn>
              <a:cxn ang="0">
                <a:pos x="0" y="129"/>
              </a:cxn>
              <a:cxn ang="0">
                <a:pos x="50" y="66"/>
              </a:cxn>
              <a:cxn ang="0">
                <a:pos x="71" y="36"/>
              </a:cxn>
              <a:cxn ang="0">
                <a:pos x="80" y="22"/>
              </a:cxn>
              <a:cxn ang="0">
                <a:pos x="85" y="6"/>
              </a:cxn>
              <a:cxn ang="0">
                <a:pos x="123" y="10"/>
              </a:cxn>
              <a:cxn ang="0">
                <a:pos x="153" y="18"/>
              </a:cxn>
              <a:cxn ang="0">
                <a:pos x="180" y="27"/>
              </a:cxn>
              <a:cxn ang="0">
                <a:pos x="205" y="31"/>
              </a:cxn>
              <a:cxn ang="0">
                <a:pos x="214" y="29"/>
              </a:cxn>
              <a:cxn ang="0">
                <a:pos x="221" y="26"/>
              </a:cxn>
              <a:cxn ang="0">
                <a:pos x="232" y="15"/>
              </a:cxn>
              <a:cxn ang="0">
                <a:pos x="242" y="5"/>
              </a:cxn>
              <a:cxn ang="0">
                <a:pos x="250" y="2"/>
              </a:cxn>
              <a:cxn ang="0">
                <a:pos x="259" y="0"/>
              </a:cxn>
              <a:cxn ang="0">
                <a:pos x="275" y="2"/>
              </a:cxn>
              <a:cxn ang="0">
                <a:pos x="289" y="7"/>
              </a:cxn>
              <a:cxn ang="0">
                <a:pos x="302" y="15"/>
              </a:cxn>
              <a:cxn ang="0">
                <a:pos x="310" y="26"/>
              </a:cxn>
              <a:cxn ang="0">
                <a:pos x="325" y="53"/>
              </a:cxn>
              <a:cxn ang="0">
                <a:pos x="337" y="82"/>
              </a:cxn>
              <a:cxn ang="0">
                <a:pos x="349" y="113"/>
              </a:cxn>
              <a:cxn ang="0">
                <a:pos x="356" y="126"/>
              </a:cxn>
              <a:cxn ang="0">
                <a:pos x="365" y="138"/>
              </a:cxn>
              <a:cxn ang="0">
                <a:pos x="376" y="147"/>
              </a:cxn>
              <a:cxn ang="0">
                <a:pos x="389" y="156"/>
              </a:cxn>
              <a:cxn ang="0">
                <a:pos x="405" y="160"/>
              </a:cxn>
              <a:cxn ang="0">
                <a:pos x="425" y="161"/>
              </a:cxn>
            </a:cxnLst>
            <a:rect l="0" t="0" r="r" b="b"/>
            <a:pathLst>
              <a:path w="425" h="272">
                <a:moveTo>
                  <a:pt x="425" y="161"/>
                </a:moveTo>
                <a:lnTo>
                  <a:pt x="418" y="170"/>
                </a:lnTo>
                <a:lnTo>
                  <a:pt x="409" y="179"/>
                </a:lnTo>
                <a:lnTo>
                  <a:pt x="398" y="188"/>
                </a:lnTo>
                <a:lnTo>
                  <a:pt x="385" y="197"/>
                </a:lnTo>
                <a:lnTo>
                  <a:pt x="383" y="206"/>
                </a:lnTo>
                <a:lnTo>
                  <a:pt x="383" y="214"/>
                </a:lnTo>
                <a:lnTo>
                  <a:pt x="384" y="221"/>
                </a:lnTo>
                <a:lnTo>
                  <a:pt x="385" y="227"/>
                </a:lnTo>
                <a:lnTo>
                  <a:pt x="389" y="237"/>
                </a:lnTo>
                <a:lnTo>
                  <a:pt x="392" y="246"/>
                </a:lnTo>
                <a:lnTo>
                  <a:pt x="375" y="244"/>
                </a:lnTo>
                <a:lnTo>
                  <a:pt x="356" y="240"/>
                </a:lnTo>
                <a:lnTo>
                  <a:pt x="347" y="238"/>
                </a:lnTo>
                <a:lnTo>
                  <a:pt x="336" y="236"/>
                </a:lnTo>
                <a:lnTo>
                  <a:pt x="324" y="235"/>
                </a:lnTo>
                <a:lnTo>
                  <a:pt x="311" y="234"/>
                </a:lnTo>
                <a:lnTo>
                  <a:pt x="295" y="235"/>
                </a:lnTo>
                <a:lnTo>
                  <a:pt x="278" y="238"/>
                </a:lnTo>
                <a:lnTo>
                  <a:pt x="263" y="243"/>
                </a:lnTo>
                <a:lnTo>
                  <a:pt x="248" y="248"/>
                </a:lnTo>
                <a:lnTo>
                  <a:pt x="232" y="254"/>
                </a:lnTo>
                <a:lnTo>
                  <a:pt x="215" y="260"/>
                </a:lnTo>
                <a:lnTo>
                  <a:pt x="197" y="267"/>
                </a:lnTo>
                <a:lnTo>
                  <a:pt x="179" y="272"/>
                </a:lnTo>
                <a:lnTo>
                  <a:pt x="100" y="240"/>
                </a:lnTo>
                <a:lnTo>
                  <a:pt x="92" y="233"/>
                </a:lnTo>
                <a:lnTo>
                  <a:pt x="85" y="226"/>
                </a:lnTo>
                <a:lnTo>
                  <a:pt x="78" y="220"/>
                </a:lnTo>
                <a:lnTo>
                  <a:pt x="70" y="214"/>
                </a:lnTo>
                <a:lnTo>
                  <a:pt x="52" y="202"/>
                </a:lnTo>
                <a:lnTo>
                  <a:pt x="37" y="192"/>
                </a:lnTo>
                <a:lnTo>
                  <a:pt x="29" y="186"/>
                </a:lnTo>
                <a:lnTo>
                  <a:pt x="22" y="180"/>
                </a:lnTo>
                <a:lnTo>
                  <a:pt x="16" y="174"/>
                </a:lnTo>
                <a:lnTo>
                  <a:pt x="11" y="167"/>
                </a:lnTo>
                <a:lnTo>
                  <a:pt x="6" y="159"/>
                </a:lnTo>
                <a:lnTo>
                  <a:pt x="2" y="150"/>
                </a:lnTo>
                <a:lnTo>
                  <a:pt x="0" y="140"/>
                </a:lnTo>
                <a:lnTo>
                  <a:pt x="0" y="129"/>
                </a:lnTo>
                <a:lnTo>
                  <a:pt x="25" y="95"/>
                </a:lnTo>
                <a:lnTo>
                  <a:pt x="50" y="66"/>
                </a:lnTo>
                <a:lnTo>
                  <a:pt x="61" y="52"/>
                </a:lnTo>
                <a:lnTo>
                  <a:pt x="71" y="36"/>
                </a:lnTo>
                <a:lnTo>
                  <a:pt x="75" y="29"/>
                </a:lnTo>
                <a:lnTo>
                  <a:pt x="80" y="22"/>
                </a:lnTo>
                <a:lnTo>
                  <a:pt x="83" y="14"/>
                </a:lnTo>
                <a:lnTo>
                  <a:pt x="85" y="6"/>
                </a:lnTo>
                <a:lnTo>
                  <a:pt x="105" y="7"/>
                </a:lnTo>
                <a:lnTo>
                  <a:pt x="123" y="10"/>
                </a:lnTo>
                <a:lnTo>
                  <a:pt x="138" y="14"/>
                </a:lnTo>
                <a:lnTo>
                  <a:pt x="153" y="18"/>
                </a:lnTo>
                <a:lnTo>
                  <a:pt x="166" y="23"/>
                </a:lnTo>
                <a:lnTo>
                  <a:pt x="180" y="27"/>
                </a:lnTo>
                <a:lnTo>
                  <a:pt x="193" y="30"/>
                </a:lnTo>
                <a:lnTo>
                  <a:pt x="205" y="31"/>
                </a:lnTo>
                <a:lnTo>
                  <a:pt x="210" y="30"/>
                </a:lnTo>
                <a:lnTo>
                  <a:pt x="214" y="29"/>
                </a:lnTo>
                <a:lnTo>
                  <a:pt x="218" y="28"/>
                </a:lnTo>
                <a:lnTo>
                  <a:pt x="221" y="26"/>
                </a:lnTo>
                <a:lnTo>
                  <a:pt x="227" y="21"/>
                </a:lnTo>
                <a:lnTo>
                  <a:pt x="232" y="15"/>
                </a:lnTo>
                <a:lnTo>
                  <a:pt x="237" y="10"/>
                </a:lnTo>
                <a:lnTo>
                  <a:pt x="242" y="5"/>
                </a:lnTo>
                <a:lnTo>
                  <a:pt x="246" y="3"/>
                </a:lnTo>
                <a:lnTo>
                  <a:pt x="250" y="2"/>
                </a:lnTo>
                <a:lnTo>
                  <a:pt x="253" y="1"/>
                </a:lnTo>
                <a:lnTo>
                  <a:pt x="259" y="0"/>
                </a:lnTo>
                <a:lnTo>
                  <a:pt x="268" y="1"/>
                </a:lnTo>
                <a:lnTo>
                  <a:pt x="275" y="2"/>
                </a:lnTo>
                <a:lnTo>
                  <a:pt x="283" y="4"/>
                </a:lnTo>
                <a:lnTo>
                  <a:pt x="289" y="7"/>
                </a:lnTo>
                <a:lnTo>
                  <a:pt x="296" y="11"/>
                </a:lnTo>
                <a:lnTo>
                  <a:pt x="302" y="15"/>
                </a:lnTo>
                <a:lnTo>
                  <a:pt x="306" y="20"/>
                </a:lnTo>
                <a:lnTo>
                  <a:pt x="310" y="26"/>
                </a:lnTo>
                <a:lnTo>
                  <a:pt x="318" y="38"/>
                </a:lnTo>
                <a:lnTo>
                  <a:pt x="325" y="53"/>
                </a:lnTo>
                <a:lnTo>
                  <a:pt x="331" y="67"/>
                </a:lnTo>
                <a:lnTo>
                  <a:pt x="337" y="82"/>
                </a:lnTo>
                <a:lnTo>
                  <a:pt x="342" y="98"/>
                </a:lnTo>
                <a:lnTo>
                  <a:pt x="349" y="113"/>
                </a:lnTo>
                <a:lnTo>
                  <a:pt x="352" y="119"/>
                </a:lnTo>
                <a:lnTo>
                  <a:pt x="356" y="126"/>
                </a:lnTo>
                <a:lnTo>
                  <a:pt x="360" y="132"/>
                </a:lnTo>
                <a:lnTo>
                  <a:pt x="365" y="138"/>
                </a:lnTo>
                <a:lnTo>
                  <a:pt x="370" y="143"/>
                </a:lnTo>
                <a:lnTo>
                  <a:pt x="376" y="147"/>
                </a:lnTo>
                <a:lnTo>
                  <a:pt x="382" y="151"/>
                </a:lnTo>
                <a:lnTo>
                  <a:pt x="389" y="156"/>
                </a:lnTo>
                <a:lnTo>
                  <a:pt x="397" y="158"/>
                </a:lnTo>
                <a:lnTo>
                  <a:pt x="405" y="160"/>
                </a:lnTo>
                <a:lnTo>
                  <a:pt x="415" y="161"/>
                </a:lnTo>
                <a:lnTo>
                  <a:pt x="425" y="161"/>
                </a:lnTo>
              </a:path>
            </a:pathLst>
          </a:custGeom>
          <a:solidFill>
            <a:srgbClr val="007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394" name="Freeform 346"/>
          <p:cNvSpPr>
            <a:spLocks/>
          </p:cNvSpPr>
          <p:nvPr>
            <p:custDataLst>
              <p:tags r:id="rId249"/>
            </p:custDataLst>
          </p:nvPr>
        </p:nvSpPr>
        <p:spPr bwMode="auto">
          <a:xfrm>
            <a:off x="2484441" y="2383638"/>
            <a:ext cx="14287" cy="41672"/>
          </a:xfrm>
          <a:custGeom>
            <a:avLst/>
            <a:gdLst/>
            <a:ahLst/>
            <a:cxnLst>
              <a:cxn ang="0">
                <a:pos x="13" y="6"/>
              </a:cxn>
              <a:cxn ang="0">
                <a:pos x="0" y="19"/>
              </a:cxn>
              <a:cxn ang="0">
                <a:pos x="5" y="21"/>
              </a:cxn>
              <a:cxn ang="0">
                <a:pos x="14" y="25"/>
              </a:cxn>
              <a:cxn ang="0">
                <a:pos x="19" y="27"/>
              </a:cxn>
              <a:cxn ang="0">
                <a:pos x="23" y="29"/>
              </a:cxn>
              <a:cxn ang="0">
                <a:pos x="27" y="30"/>
              </a:cxn>
              <a:cxn ang="0">
                <a:pos x="33" y="31"/>
              </a:cxn>
              <a:cxn ang="0">
                <a:pos x="33" y="0"/>
              </a:cxn>
              <a:cxn ang="0">
                <a:pos x="20" y="0"/>
              </a:cxn>
              <a:cxn ang="0">
                <a:pos x="13" y="6"/>
              </a:cxn>
            </a:cxnLst>
            <a:rect l="0" t="0" r="r" b="b"/>
            <a:pathLst>
              <a:path w="33" h="31">
                <a:moveTo>
                  <a:pt x="13" y="6"/>
                </a:moveTo>
                <a:lnTo>
                  <a:pt x="0" y="19"/>
                </a:lnTo>
                <a:lnTo>
                  <a:pt x="5" y="21"/>
                </a:lnTo>
                <a:lnTo>
                  <a:pt x="14" y="25"/>
                </a:lnTo>
                <a:lnTo>
                  <a:pt x="19" y="27"/>
                </a:lnTo>
                <a:lnTo>
                  <a:pt x="23" y="29"/>
                </a:lnTo>
                <a:lnTo>
                  <a:pt x="27" y="30"/>
                </a:lnTo>
                <a:lnTo>
                  <a:pt x="33" y="31"/>
                </a:lnTo>
                <a:lnTo>
                  <a:pt x="33" y="0"/>
                </a:lnTo>
                <a:lnTo>
                  <a:pt x="20" y="0"/>
                </a:lnTo>
                <a:lnTo>
                  <a:pt x="13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395" name="Freeform 347"/>
          <p:cNvSpPr>
            <a:spLocks/>
          </p:cNvSpPr>
          <p:nvPr>
            <p:custDataLst>
              <p:tags r:id="rId250"/>
            </p:custDataLst>
          </p:nvPr>
        </p:nvSpPr>
        <p:spPr bwMode="auto">
          <a:xfrm>
            <a:off x="4589470" y="1599019"/>
            <a:ext cx="85725" cy="59531"/>
          </a:xfrm>
          <a:custGeom>
            <a:avLst/>
            <a:gdLst/>
            <a:ahLst/>
            <a:cxnLst>
              <a:cxn ang="0">
                <a:pos x="6" y="19"/>
              </a:cxn>
              <a:cxn ang="0">
                <a:pos x="52" y="0"/>
              </a:cxn>
              <a:cxn ang="0">
                <a:pos x="92" y="19"/>
              </a:cxn>
              <a:cxn ang="0">
                <a:pos x="119" y="31"/>
              </a:cxn>
              <a:cxn ang="0">
                <a:pos x="146" y="63"/>
              </a:cxn>
              <a:cxn ang="0">
                <a:pos x="166" y="93"/>
              </a:cxn>
              <a:cxn ang="0">
                <a:pos x="192" y="118"/>
              </a:cxn>
              <a:cxn ang="0">
                <a:pos x="152" y="124"/>
              </a:cxn>
              <a:cxn ang="0">
                <a:pos x="126" y="130"/>
              </a:cxn>
              <a:cxn ang="0">
                <a:pos x="126" y="154"/>
              </a:cxn>
              <a:cxn ang="0">
                <a:pos x="106" y="154"/>
              </a:cxn>
              <a:cxn ang="0">
                <a:pos x="99" y="146"/>
              </a:cxn>
              <a:cxn ang="0">
                <a:pos x="93" y="137"/>
              </a:cxn>
              <a:cxn ang="0">
                <a:pos x="88" y="126"/>
              </a:cxn>
              <a:cxn ang="0">
                <a:pos x="82" y="115"/>
              </a:cxn>
              <a:cxn ang="0">
                <a:pos x="74" y="93"/>
              </a:cxn>
              <a:cxn ang="0">
                <a:pos x="65" y="71"/>
              </a:cxn>
              <a:cxn ang="0">
                <a:pos x="60" y="61"/>
              </a:cxn>
              <a:cxn ang="0">
                <a:pos x="55" y="50"/>
              </a:cxn>
              <a:cxn ang="0">
                <a:pos x="48" y="42"/>
              </a:cxn>
              <a:cxn ang="0">
                <a:pos x="41" y="34"/>
              </a:cxn>
              <a:cxn ang="0">
                <a:pos x="33" y="28"/>
              </a:cxn>
              <a:cxn ang="0">
                <a:pos x="24" y="23"/>
              </a:cxn>
              <a:cxn ang="0">
                <a:pos x="18" y="22"/>
              </a:cxn>
              <a:cxn ang="0">
                <a:pos x="12" y="20"/>
              </a:cxn>
              <a:cxn ang="0">
                <a:pos x="6" y="20"/>
              </a:cxn>
              <a:cxn ang="0">
                <a:pos x="0" y="19"/>
              </a:cxn>
              <a:cxn ang="0">
                <a:pos x="6" y="19"/>
              </a:cxn>
            </a:cxnLst>
            <a:rect l="0" t="0" r="r" b="b"/>
            <a:pathLst>
              <a:path w="192" h="154">
                <a:moveTo>
                  <a:pt x="6" y="19"/>
                </a:moveTo>
                <a:lnTo>
                  <a:pt x="52" y="0"/>
                </a:lnTo>
                <a:lnTo>
                  <a:pt x="92" y="19"/>
                </a:lnTo>
                <a:lnTo>
                  <a:pt x="119" y="31"/>
                </a:lnTo>
                <a:lnTo>
                  <a:pt x="146" y="63"/>
                </a:lnTo>
                <a:lnTo>
                  <a:pt x="166" y="93"/>
                </a:lnTo>
                <a:lnTo>
                  <a:pt x="192" y="118"/>
                </a:lnTo>
                <a:lnTo>
                  <a:pt x="152" y="124"/>
                </a:lnTo>
                <a:lnTo>
                  <a:pt x="126" y="130"/>
                </a:lnTo>
                <a:lnTo>
                  <a:pt x="126" y="154"/>
                </a:lnTo>
                <a:lnTo>
                  <a:pt x="106" y="154"/>
                </a:lnTo>
                <a:lnTo>
                  <a:pt x="99" y="146"/>
                </a:lnTo>
                <a:lnTo>
                  <a:pt x="93" y="137"/>
                </a:lnTo>
                <a:lnTo>
                  <a:pt x="88" y="126"/>
                </a:lnTo>
                <a:lnTo>
                  <a:pt x="82" y="115"/>
                </a:lnTo>
                <a:lnTo>
                  <a:pt x="74" y="93"/>
                </a:lnTo>
                <a:lnTo>
                  <a:pt x="65" y="71"/>
                </a:lnTo>
                <a:lnTo>
                  <a:pt x="60" y="61"/>
                </a:lnTo>
                <a:lnTo>
                  <a:pt x="55" y="50"/>
                </a:lnTo>
                <a:lnTo>
                  <a:pt x="48" y="42"/>
                </a:lnTo>
                <a:lnTo>
                  <a:pt x="41" y="34"/>
                </a:lnTo>
                <a:lnTo>
                  <a:pt x="33" y="28"/>
                </a:lnTo>
                <a:lnTo>
                  <a:pt x="24" y="23"/>
                </a:lnTo>
                <a:lnTo>
                  <a:pt x="18" y="22"/>
                </a:lnTo>
                <a:lnTo>
                  <a:pt x="12" y="20"/>
                </a:lnTo>
                <a:lnTo>
                  <a:pt x="6" y="20"/>
                </a:lnTo>
                <a:lnTo>
                  <a:pt x="0" y="19"/>
                </a:lnTo>
                <a:lnTo>
                  <a:pt x="6" y="19"/>
                </a:lnTo>
              </a:path>
            </a:pathLst>
          </a:custGeom>
          <a:solidFill>
            <a:srgbClr val="007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396" name="Freeform 348"/>
          <p:cNvSpPr>
            <a:spLocks/>
          </p:cNvSpPr>
          <p:nvPr>
            <p:custDataLst>
              <p:tags r:id="rId251"/>
            </p:custDataLst>
          </p:nvPr>
        </p:nvSpPr>
        <p:spPr bwMode="auto">
          <a:xfrm>
            <a:off x="4506913" y="1510905"/>
            <a:ext cx="381000" cy="185738"/>
          </a:xfrm>
          <a:custGeom>
            <a:avLst/>
            <a:gdLst/>
            <a:ahLst/>
            <a:cxnLst>
              <a:cxn ang="0">
                <a:pos x="392" y="340"/>
              </a:cxn>
              <a:cxn ang="0">
                <a:pos x="319" y="253"/>
              </a:cxn>
              <a:cxn ang="0">
                <a:pos x="206" y="241"/>
              </a:cxn>
              <a:cxn ang="0">
                <a:pos x="191" y="243"/>
              </a:cxn>
              <a:cxn ang="0">
                <a:pos x="178" y="251"/>
              </a:cxn>
              <a:cxn ang="0">
                <a:pos x="162" y="267"/>
              </a:cxn>
              <a:cxn ang="0">
                <a:pos x="151" y="271"/>
              </a:cxn>
              <a:cxn ang="0">
                <a:pos x="121" y="268"/>
              </a:cxn>
              <a:cxn ang="0">
                <a:pos x="79" y="255"/>
              </a:cxn>
              <a:cxn ang="0">
                <a:pos x="26" y="247"/>
              </a:cxn>
              <a:cxn ang="0">
                <a:pos x="8" y="212"/>
              </a:cxn>
              <a:cxn ang="0">
                <a:pos x="13" y="187"/>
              </a:cxn>
              <a:cxn ang="0">
                <a:pos x="13" y="180"/>
              </a:cxn>
              <a:cxn ang="0">
                <a:pos x="23" y="144"/>
              </a:cxn>
              <a:cxn ang="0">
                <a:pos x="44" y="112"/>
              </a:cxn>
              <a:cxn ang="0">
                <a:pos x="54" y="92"/>
              </a:cxn>
              <a:cxn ang="0">
                <a:pos x="26" y="50"/>
              </a:cxn>
              <a:cxn ang="0">
                <a:pos x="173" y="26"/>
              </a:cxn>
              <a:cxn ang="0">
                <a:pos x="339" y="50"/>
              </a:cxn>
              <a:cxn ang="0">
                <a:pos x="392" y="13"/>
              </a:cxn>
              <a:cxn ang="0">
                <a:pos x="485" y="0"/>
              </a:cxn>
              <a:cxn ang="0">
                <a:pos x="579" y="38"/>
              </a:cxn>
              <a:cxn ang="0">
                <a:pos x="638" y="111"/>
              </a:cxn>
              <a:cxn ang="0">
                <a:pos x="725" y="111"/>
              </a:cxn>
              <a:cxn ang="0">
                <a:pos x="838" y="155"/>
              </a:cxn>
              <a:cxn ang="0">
                <a:pos x="864" y="235"/>
              </a:cxn>
              <a:cxn ang="0">
                <a:pos x="804" y="272"/>
              </a:cxn>
              <a:cxn ang="0">
                <a:pos x="754" y="313"/>
              </a:cxn>
              <a:cxn ang="0">
                <a:pos x="688" y="330"/>
              </a:cxn>
              <a:cxn ang="0">
                <a:pos x="663" y="343"/>
              </a:cxn>
              <a:cxn ang="0">
                <a:pos x="648" y="358"/>
              </a:cxn>
              <a:cxn ang="0">
                <a:pos x="646" y="375"/>
              </a:cxn>
              <a:cxn ang="0">
                <a:pos x="653" y="390"/>
              </a:cxn>
              <a:cxn ang="0">
                <a:pos x="666" y="401"/>
              </a:cxn>
              <a:cxn ang="0">
                <a:pos x="711" y="396"/>
              </a:cxn>
              <a:cxn ang="0">
                <a:pos x="741" y="394"/>
              </a:cxn>
              <a:cxn ang="0">
                <a:pos x="734" y="403"/>
              </a:cxn>
              <a:cxn ang="0">
                <a:pos x="716" y="421"/>
              </a:cxn>
              <a:cxn ang="0">
                <a:pos x="698" y="438"/>
              </a:cxn>
              <a:cxn ang="0">
                <a:pos x="689" y="419"/>
              </a:cxn>
              <a:cxn ang="0">
                <a:pos x="671" y="408"/>
              </a:cxn>
              <a:cxn ang="0">
                <a:pos x="666" y="423"/>
              </a:cxn>
              <a:cxn ang="0">
                <a:pos x="643" y="442"/>
              </a:cxn>
              <a:cxn ang="0">
                <a:pos x="619" y="460"/>
              </a:cxn>
              <a:cxn ang="0">
                <a:pos x="611" y="469"/>
              </a:cxn>
              <a:cxn ang="0">
                <a:pos x="595" y="464"/>
              </a:cxn>
              <a:cxn ang="0">
                <a:pos x="584" y="455"/>
              </a:cxn>
              <a:cxn ang="0">
                <a:pos x="575" y="439"/>
              </a:cxn>
              <a:cxn ang="0">
                <a:pos x="572" y="408"/>
              </a:cxn>
              <a:cxn ang="0">
                <a:pos x="548" y="404"/>
              </a:cxn>
              <a:cxn ang="0">
                <a:pos x="518" y="389"/>
              </a:cxn>
              <a:cxn ang="0">
                <a:pos x="559" y="379"/>
              </a:cxn>
              <a:cxn ang="0">
                <a:pos x="625" y="370"/>
              </a:cxn>
              <a:cxn ang="0">
                <a:pos x="493" y="354"/>
              </a:cxn>
              <a:cxn ang="0">
                <a:pos x="445" y="333"/>
              </a:cxn>
              <a:cxn ang="0">
                <a:pos x="398" y="369"/>
              </a:cxn>
              <a:cxn ang="0">
                <a:pos x="380" y="395"/>
              </a:cxn>
              <a:cxn ang="0">
                <a:pos x="353" y="400"/>
              </a:cxn>
              <a:cxn ang="0">
                <a:pos x="328" y="392"/>
              </a:cxn>
              <a:cxn ang="0">
                <a:pos x="306" y="376"/>
              </a:cxn>
            </a:cxnLst>
            <a:rect l="0" t="0" r="r" b="b"/>
            <a:pathLst>
              <a:path w="877" h="469">
                <a:moveTo>
                  <a:pt x="326" y="352"/>
                </a:moveTo>
                <a:lnTo>
                  <a:pt x="352" y="346"/>
                </a:lnTo>
                <a:lnTo>
                  <a:pt x="392" y="340"/>
                </a:lnTo>
                <a:lnTo>
                  <a:pt x="366" y="315"/>
                </a:lnTo>
                <a:lnTo>
                  <a:pt x="346" y="285"/>
                </a:lnTo>
                <a:lnTo>
                  <a:pt x="319" y="253"/>
                </a:lnTo>
                <a:lnTo>
                  <a:pt x="292" y="241"/>
                </a:lnTo>
                <a:lnTo>
                  <a:pt x="252" y="222"/>
                </a:lnTo>
                <a:lnTo>
                  <a:pt x="206" y="241"/>
                </a:lnTo>
                <a:lnTo>
                  <a:pt x="200" y="241"/>
                </a:lnTo>
                <a:lnTo>
                  <a:pt x="194" y="242"/>
                </a:lnTo>
                <a:lnTo>
                  <a:pt x="191" y="243"/>
                </a:lnTo>
                <a:lnTo>
                  <a:pt x="187" y="244"/>
                </a:lnTo>
                <a:lnTo>
                  <a:pt x="183" y="246"/>
                </a:lnTo>
                <a:lnTo>
                  <a:pt x="178" y="251"/>
                </a:lnTo>
                <a:lnTo>
                  <a:pt x="173" y="256"/>
                </a:lnTo>
                <a:lnTo>
                  <a:pt x="168" y="262"/>
                </a:lnTo>
                <a:lnTo>
                  <a:pt x="162" y="267"/>
                </a:lnTo>
                <a:lnTo>
                  <a:pt x="159" y="269"/>
                </a:lnTo>
                <a:lnTo>
                  <a:pt x="155" y="270"/>
                </a:lnTo>
                <a:lnTo>
                  <a:pt x="151" y="271"/>
                </a:lnTo>
                <a:lnTo>
                  <a:pt x="146" y="272"/>
                </a:lnTo>
                <a:lnTo>
                  <a:pt x="134" y="271"/>
                </a:lnTo>
                <a:lnTo>
                  <a:pt x="121" y="268"/>
                </a:lnTo>
                <a:lnTo>
                  <a:pt x="107" y="264"/>
                </a:lnTo>
                <a:lnTo>
                  <a:pt x="94" y="259"/>
                </a:lnTo>
                <a:lnTo>
                  <a:pt x="79" y="255"/>
                </a:lnTo>
                <a:lnTo>
                  <a:pt x="64" y="251"/>
                </a:lnTo>
                <a:lnTo>
                  <a:pt x="46" y="248"/>
                </a:lnTo>
                <a:lnTo>
                  <a:pt x="26" y="247"/>
                </a:lnTo>
                <a:lnTo>
                  <a:pt x="0" y="222"/>
                </a:lnTo>
                <a:lnTo>
                  <a:pt x="4" y="217"/>
                </a:lnTo>
                <a:lnTo>
                  <a:pt x="8" y="212"/>
                </a:lnTo>
                <a:lnTo>
                  <a:pt x="10" y="206"/>
                </a:lnTo>
                <a:lnTo>
                  <a:pt x="12" y="200"/>
                </a:lnTo>
                <a:lnTo>
                  <a:pt x="13" y="187"/>
                </a:lnTo>
                <a:lnTo>
                  <a:pt x="13" y="174"/>
                </a:lnTo>
                <a:lnTo>
                  <a:pt x="6" y="174"/>
                </a:lnTo>
                <a:lnTo>
                  <a:pt x="13" y="180"/>
                </a:lnTo>
                <a:lnTo>
                  <a:pt x="14" y="167"/>
                </a:lnTo>
                <a:lnTo>
                  <a:pt x="17" y="155"/>
                </a:lnTo>
                <a:lnTo>
                  <a:pt x="23" y="144"/>
                </a:lnTo>
                <a:lnTo>
                  <a:pt x="30" y="133"/>
                </a:lnTo>
                <a:lnTo>
                  <a:pt x="36" y="122"/>
                </a:lnTo>
                <a:lnTo>
                  <a:pt x="44" y="112"/>
                </a:lnTo>
                <a:lnTo>
                  <a:pt x="53" y="105"/>
                </a:lnTo>
                <a:lnTo>
                  <a:pt x="60" y="99"/>
                </a:lnTo>
                <a:lnTo>
                  <a:pt x="54" y="92"/>
                </a:lnTo>
                <a:lnTo>
                  <a:pt x="46" y="82"/>
                </a:lnTo>
                <a:lnTo>
                  <a:pt x="36" y="68"/>
                </a:lnTo>
                <a:lnTo>
                  <a:pt x="26" y="50"/>
                </a:lnTo>
                <a:lnTo>
                  <a:pt x="60" y="38"/>
                </a:lnTo>
                <a:lnTo>
                  <a:pt x="113" y="26"/>
                </a:lnTo>
                <a:lnTo>
                  <a:pt x="173" y="26"/>
                </a:lnTo>
                <a:lnTo>
                  <a:pt x="239" y="44"/>
                </a:lnTo>
                <a:lnTo>
                  <a:pt x="285" y="38"/>
                </a:lnTo>
                <a:lnTo>
                  <a:pt x="339" y="50"/>
                </a:lnTo>
                <a:lnTo>
                  <a:pt x="385" y="63"/>
                </a:lnTo>
                <a:lnTo>
                  <a:pt x="385" y="38"/>
                </a:lnTo>
                <a:lnTo>
                  <a:pt x="392" y="13"/>
                </a:lnTo>
                <a:lnTo>
                  <a:pt x="433" y="13"/>
                </a:lnTo>
                <a:lnTo>
                  <a:pt x="465" y="13"/>
                </a:lnTo>
                <a:lnTo>
                  <a:pt x="485" y="0"/>
                </a:lnTo>
                <a:lnTo>
                  <a:pt x="531" y="0"/>
                </a:lnTo>
                <a:lnTo>
                  <a:pt x="551" y="13"/>
                </a:lnTo>
                <a:lnTo>
                  <a:pt x="579" y="38"/>
                </a:lnTo>
                <a:lnTo>
                  <a:pt x="565" y="63"/>
                </a:lnTo>
                <a:lnTo>
                  <a:pt x="618" y="63"/>
                </a:lnTo>
                <a:lnTo>
                  <a:pt x="638" y="111"/>
                </a:lnTo>
                <a:lnTo>
                  <a:pt x="664" y="105"/>
                </a:lnTo>
                <a:lnTo>
                  <a:pt x="692" y="124"/>
                </a:lnTo>
                <a:lnTo>
                  <a:pt x="725" y="111"/>
                </a:lnTo>
                <a:lnTo>
                  <a:pt x="758" y="136"/>
                </a:lnTo>
                <a:lnTo>
                  <a:pt x="797" y="136"/>
                </a:lnTo>
                <a:lnTo>
                  <a:pt x="838" y="155"/>
                </a:lnTo>
                <a:lnTo>
                  <a:pt x="877" y="167"/>
                </a:lnTo>
                <a:lnTo>
                  <a:pt x="871" y="198"/>
                </a:lnTo>
                <a:lnTo>
                  <a:pt x="864" y="235"/>
                </a:lnTo>
                <a:lnTo>
                  <a:pt x="877" y="259"/>
                </a:lnTo>
                <a:lnTo>
                  <a:pt x="844" y="259"/>
                </a:lnTo>
                <a:lnTo>
                  <a:pt x="804" y="272"/>
                </a:lnTo>
                <a:lnTo>
                  <a:pt x="797" y="303"/>
                </a:lnTo>
                <a:lnTo>
                  <a:pt x="777" y="309"/>
                </a:lnTo>
                <a:lnTo>
                  <a:pt x="754" y="313"/>
                </a:lnTo>
                <a:lnTo>
                  <a:pt x="731" y="318"/>
                </a:lnTo>
                <a:lnTo>
                  <a:pt x="709" y="324"/>
                </a:lnTo>
                <a:lnTo>
                  <a:pt x="688" y="330"/>
                </a:lnTo>
                <a:lnTo>
                  <a:pt x="680" y="334"/>
                </a:lnTo>
                <a:lnTo>
                  <a:pt x="671" y="337"/>
                </a:lnTo>
                <a:lnTo>
                  <a:pt x="663" y="343"/>
                </a:lnTo>
                <a:lnTo>
                  <a:pt x="656" y="347"/>
                </a:lnTo>
                <a:lnTo>
                  <a:pt x="652" y="352"/>
                </a:lnTo>
                <a:lnTo>
                  <a:pt x="648" y="358"/>
                </a:lnTo>
                <a:lnTo>
                  <a:pt x="646" y="364"/>
                </a:lnTo>
                <a:lnTo>
                  <a:pt x="644" y="370"/>
                </a:lnTo>
                <a:lnTo>
                  <a:pt x="646" y="375"/>
                </a:lnTo>
                <a:lnTo>
                  <a:pt x="647" y="380"/>
                </a:lnTo>
                <a:lnTo>
                  <a:pt x="650" y="385"/>
                </a:lnTo>
                <a:lnTo>
                  <a:pt x="653" y="390"/>
                </a:lnTo>
                <a:lnTo>
                  <a:pt x="656" y="395"/>
                </a:lnTo>
                <a:lnTo>
                  <a:pt x="661" y="399"/>
                </a:lnTo>
                <a:lnTo>
                  <a:pt x="666" y="401"/>
                </a:lnTo>
                <a:lnTo>
                  <a:pt x="671" y="402"/>
                </a:lnTo>
                <a:lnTo>
                  <a:pt x="692" y="400"/>
                </a:lnTo>
                <a:lnTo>
                  <a:pt x="711" y="396"/>
                </a:lnTo>
                <a:lnTo>
                  <a:pt x="721" y="395"/>
                </a:lnTo>
                <a:lnTo>
                  <a:pt x="731" y="394"/>
                </a:lnTo>
                <a:lnTo>
                  <a:pt x="741" y="394"/>
                </a:lnTo>
                <a:lnTo>
                  <a:pt x="751" y="396"/>
                </a:lnTo>
                <a:lnTo>
                  <a:pt x="742" y="399"/>
                </a:lnTo>
                <a:lnTo>
                  <a:pt x="734" y="403"/>
                </a:lnTo>
                <a:lnTo>
                  <a:pt x="728" y="408"/>
                </a:lnTo>
                <a:lnTo>
                  <a:pt x="721" y="414"/>
                </a:lnTo>
                <a:lnTo>
                  <a:pt x="716" y="421"/>
                </a:lnTo>
                <a:lnTo>
                  <a:pt x="710" y="427"/>
                </a:lnTo>
                <a:lnTo>
                  <a:pt x="705" y="433"/>
                </a:lnTo>
                <a:lnTo>
                  <a:pt x="698" y="438"/>
                </a:lnTo>
                <a:lnTo>
                  <a:pt x="695" y="430"/>
                </a:lnTo>
                <a:lnTo>
                  <a:pt x="693" y="424"/>
                </a:lnTo>
                <a:lnTo>
                  <a:pt x="689" y="419"/>
                </a:lnTo>
                <a:lnTo>
                  <a:pt x="687" y="416"/>
                </a:lnTo>
                <a:lnTo>
                  <a:pt x="680" y="412"/>
                </a:lnTo>
                <a:lnTo>
                  <a:pt x="671" y="408"/>
                </a:lnTo>
                <a:lnTo>
                  <a:pt x="671" y="413"/>
                </a:lnTo>
                <a:lnTo>
                  <a:pt x="669" y="418"/>
                </a:lnTo>
                <a:lnTo>
                  <a:pt x="666" y="423"/>
                </a:lnTo>
                <a:lnTo>
                  <a:pt x="663" y="427"/>
                </a:lnTo>
                <a:lnTo>
                  <a:pt x="654" y="435"/>
                </a:lnTo>
                <a:lnTo>
                  <a:pt x="643" y="442"/>
                </a:lnTo>
                <a:lnTo>
                  <a:pt x="633" y="450"/>
                </a:lnTo>
                <a:lnTo>
                  <a:pt x="624" y="456"/>
                </a:lnTo>
                <a:lnTo>
                  <a:pt x="619" y="460"/>
                </a:lnTo>
                <a:lnTo>
                  <a:pt x="616" y="463"/>
                </a:lnTo>
                <a:lnTo>
                  <a:pt x="613" y="466"/>
                </a:lnTo>
                <a:lnTo>
                  <a:pt x="611" y="469"/>
                </a:lnTo>
                <a:lnTo>
                  <a:pt x="605" y="468"/>
                </a:lnTo>
                <a:lnTo>
                  <a:pt x="600" y="466"/>
                </a:lnTo>
                <a:lnTo>
                  <a:pt x="595" y="464"/>
                </a:lnTo>
                <a:lnTo>
                  <a:pt x="591" y="461"/>
                </a:lnTo>
                <a:lnTo>
                  <a:pt x="587" y="459"/>
                </a:lnTo>
                <a:lnTo>
                  <a:pt x="584" y="455"/>
                </a:lnTo>
                <a:lnTo>
                  <a:pt x="582" y="452"/>
                </a:lnTo>
                <a:lnTo>
                  <a:pt x="579" y="447"/>
                </a:lnTo>
                <a:lnTo>
                  <a:pt x="575" y="439"/>
                </a:lnTo>
                <a:lnTo>
                  <a:pt x="573" y="429"/>
                </a:lnTo>
                <a:lnTo>
                  <a:pt x="572" y="419"/>
                </a:lnTo>
                <a:lnTo>
                  <a:pt x="572" y="408"/>
                </a:lnTo>
                <a:lnTo>
                  <a:pt x="563" y="407"/>
                </a:lnTo>
                <a:lnTo>
                  <a:pt x="555" y="406"/>
                </a:lnTo>
                <a:lnTo>
                  <a:pt x="548" y="404"/>
                </a:lnTo>
                <a:lnTo>
                  <a:pt x="540" y="401"/>
                </a:lnTo>
                <a:lnTo>
                  <a:pt x="527" y="395"/>
                </a:lnTo>
                <a:lnTo>
                  <a:pt x="518" y="389"/>
                </a:lnTo>
                <a:lnTo>
                  <a:pt x="532" y="385"/>
                </a:lnTo>
                <a:lnTo>
                  <a:pt x="547" y="381"/>
                </a:lnTo>
                <a:lnTo>
                  <a:pt x="559" y="379"/>
                </a:lnTo>
                <a:lnTo>
                  <a:pt x="572" y="377"/>
                </a:lnTo>
                <a:lnTo>
                  <a:pt x="597" y="374"/>
                </a:lnTo>
                <a:lnTo>
                  <a:pt x="625" y="370"/>
                </a:lnTo>
                <a:lnTo>
                  <a:pt x="512" y="370"/>
                </a:lnTo>
                <a:lnTo>
                  <a:pt x="503" y="362"/>
                </a:lnTo>
                <a:lnTo>
                  <a:pt x="493" y="354"/>
                </a:lnTo>
                <a:lnTo>
                  <a:pt x="481" y="348"/>
                </a:lnTo>
                <a:lnTo>
                  <a:pt x="469" y="342"/>
                </a:lnTo>
                <a:lnTo>
                  <a:pt x="445" y="333"/>
                </a:lnTo>
                <a:lnTo>
                  <a:pt x="425" y="327"/>
                </a:lnTo>
                <a:lnTo>
                  <a:pt x="412" y="350"/>
                </a:lnTo>
                <a:lnTo>
                  <a:pt x="398" y="369"/>
                </a:lnTo>
                <a:lnTo>
                  <a:pt x="393" y="378"/>
                </a:lnTo>
                <a:lnTo>
                  <a:pt x="386" y="386"/>
                </a:lnTo>
                <a:lnTo>
                  <a:pt x="380" y="395"/>
                </a:lnTo>
                <a:lnTo>
                  <a:pt x="372" y="402"/>
                </a:lnTo>
                <a:lnTo>
                  <a:pt x="362" y="401"/>
                </a:lnTo>
                <a:lnTo>
                  <a:pt x="353" y="400"/>
                </a:lnTo>
                <a:lnTo>
                  <a:pt x="345" y="399"/>
                </a:lnTo>
                <a:lnTo>
                  <a:pt x="337" y="396"/>
                </a:lnTo>
                <a:lnTo>
                  <a:pt x="328" y="392"/>
                </a:lnTo>
                <a:lnTo>
                  <a:pt x="321" y="388"/>
                </a:lnTo>
                <a:lnTo>
                  <a:pt x="313" y="383"/>
                </a:lnTo>
                <a:lnTo>
                  <a:pt x="306" y="376"/>
                </a:lnTo>
                <a:lnTo>
                  <a:pt x="326" y="352"/>
                </a:lnTo>
              </a:path>
            </a:pathLst>
          </a:custGeom>
          <a:solidFill>
            <a:srgbClr val="007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397" name="Freeform 349"/>
          <p:cNvSpPr>
            <a:spLocks/>
          </p:cNvSpPr>
          <p:nvPr>
            <p:custDataLst>
              <p:tags r:id="rId252"/>
            </p:custDataLst>
          </p:nvPr>
        </p:nvSpPr>
        <p:spPr bwMode="auto">
          <a:xfrm>
            <a:off x="5018088" y="1768079"/>
            <a:ext cx="47625" cy="47625"/>
          </a:xfrm>
          <a:custGeom>
            <a:avLst/>
            <a:gdLst/>
            <a:ahLst/>
            <a:cxnLst>
              <a:cxn ang="0">
                <a:pos x="48" y="0"/>
              </a:cxn>
              <a:cxn ang="0">
                <a:pos x="81" y="31"/>
              </a:cxn>
              <a:cxn ang="0">
                <a:pos x="94" y="67"/>
              </a:cxn>
              <a:cxn ang="0">
                <a:pos x="107" y="86"/>
              </a:cxn>
              <a:cxn ang="0">
                <a:pos x="107" y="117"/>
              </a:cxn>
              <a:cxn ang="0">
                <a:pos x="107" y="123"/>
              </a:cxn>
              <a:cxn ang="0">
                <a:pos x="88" y="114"/>
              </a:cxn>
              <a:cxn ang="0">
                <a:pos x="73" y="105"/>
              </a:cxn>
              <a:cxn ang="0">
                <a:pos x="61" y="98"/>
              </a:cxn>
              <a:cxn ang="0">
                <a:pos x="54" y="92"/>
              </a:cxn>
              <a:cxn ang="0">
                <a:pos x="51" y="83"/>
              </a:cxn>
              <a:cxn ang="0">
                <a:pos x="48" y="73"/>
              </a:cxn>
              <a:cxn ang="0">
                <a:pos x="39" y="74"/>
              </a:cxn>
              <a:cxn ang="0">
                <a:pos x="32" y="73"/>
              </a:cxn>
              <a:cxn ang="0">
                <a:pos x="26" y="72"/>
              </a:cxn>
              <a:cxn ang="0">
                <a:pos x="21" y="70"/>
              </a:cxn>
              <a:cxn ang="0">
                <a:pos x="17" y="67"/>
              </a:cxn>
              <a:cxn ang="0">
                <a:pos x="14" y="63"/>
              </a:cxn>
              <a:cxn ang="0">
                <a:pos x="11" y="59"/>
              </a:cxn>
              <a:cxn ang="0">
                <a:pos x="9" y="54"/>
              </a:cxn>
              <a:cxn ang="0">
                <a:pos x="4" y="31"/>
              </a:cxn>
              <a:cxn ang="0">
                <a:pos x="0" y="6"/>
              </a:cxn>
              <a:cxn ang="0">
                <a:pos x="34" y="0"/>
              </a:cxn>
              <a:cxn ang="0">
                <a:pos x="48" y="0"/>
              </a:cxn>
            </a:cxnLst>
            <a:rect l="0" t="0" r="r" b="b"/>
            <a:pathLst>
              <a:path w="107" h="123">
                <a:moveTo>
                  <a:pt x="48" y="0"/>
                </a:moveTo>
                <a:lnTo>
                  <a:pt x="81" y="31"/>
                </a:lnTo>
                <a:lnTo>
                  <a:pt x="94" y="67"/>
                </a:lnTo>
                <a:lnTo>
                  <a:pt x="107" y="86"/>
                </a:lnTo>
                <a:lnTo>
                  <a:pt x="107" y="117"/>
                </a:lnTo>
                <a:lnTo>
                  <a:pt x="107" y="123"/>
                </a:lnTo>
                <a:lnTo>
                  <a:pt x="88" y="114"/>
                </a:lnTo>
                <a:lnTo>
                  <a:pt x="73" y="105"/>
                </a:lnTo>
                <a:lnTo>
                  <a:pt x="61" y="98"/>
                </a:lnTo>
                <a:lnTo>
                  <a:pt x="54" y="92"/>
                </a:lnTo>
                <a:lnTo>
                  <a:pt x="51" y="83"/>
                </a:lnTo>
                <a:lnTo>
                  <a:pt x="48" y="73"/>
                </a:lnTo>
                <a:lnTo>
                  <a:pt x="39" y="74"/>
                </a:lnTo>
                <a:lnTo>
                  <a:pt x="32" y="73"/>
                </a:lnTo>
                <a:lnTo>
                  <a:pt x="26" y="72"/>
                </a:lnTo>
                <a:lnTo>
                  <a:pt x="21" y="70"/>
                </a:lnTo>
                <a:lnTo>
                  <a:pt x="17" y="67"/>
                </a:lnTo>
                <a:lnTo>
                  <a:pt x="14" y="63"/>
                </a:lnTo>
                <a:lnTo>
                  <a:pt x="11" y="59"/>
                </a:lnTo>
                <a:lnTo>
                  <a:pt x="9" y="54"/>
                </a:lnTo>
                <a:lnTo>
                  <a:pt x="4" y="31"/>
                </a:lnTo>
                <a:lnTo>
                  <a:pt x="0" y="6"/>
                </a:lnTo>
                <a:lnTo>
                  <a:pt x="34" y="0"/>
                </a:lnTo>
                <a:lnTo>
                  <a:pt x="48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398" name="Freeform 350"/>
          <p:cNvSpPr>
            <a:spLocks/>
          </p:cNvSpPr>
          <p:nvPr>
            <p:custDataLst>
              <p:tags r:id="rId253"/>
            </p:custDataLst>
          </p:nvPr>
        </p:nvSpPr>
        <p:spPr bwMode="auto">
          <a:xfrm>
            <a:off x="5561013" y="1778797"/>
            <a:ext cx="207962" cy="91679"/>
          </a:xfrm>
          <a:custGeom>
            <a:avLst/>
            <a:gdLst/>
            <a:ahLst/>
            <a:cxnLst>
              <a:cxn ang="0">
                <a:pos x="106" y="67"/>
              </a:cxn>
              <a:cxn ang="0">
                <a:pos x="166" y="86"/>
              </a:cxn>
              <a:cxn ang="0">
                <a:pos x="272" y="105"/>
              </a:cxn>
              <a:cxn ang="0">
                <a:pos x="372" y="86"/>
              </a:cxn>
              <a:cxn ang="0">
                <a:pos x="383" y="95"/>
              </a:cxn>
              <a:cxn ang="0">
                <a:pos x="391" y="114"/>
              </a:cxn>
              <a:cxn ang="0">
                <a:pos x="406" y="124"/>
              </a:cxn>
              <a:cxn ang="0">
                <a:pos x="424" y="129"/>
              </a:cxn>
              <a:cxn ang="0">
                <a:pos x="433" y="134"/>
              </a:cxn>
              <a:cxn ang="0">
                <a:pos x="441" y="141"/>
              </a:cxn>
              <a:cxn ang="0">
                <a:pos x="448" y="151"/>
              </a:cxn>
              <a:cxn ang="0">
                <a:pos x="455" y="170"/>
              </a:cxn>
              <a:cxn ang="0">
                <a:pos x="471" y="190"/>
              </a:cxn>
              <a:cxn ang="0">
                <a:pos x="350" y="202"/>
              </a:cxn>
              <a:cxn ang="0">
                <a:pos x="330" y="224"/>
              </a:cxn>
              <a:cxn ang="0">
                <a:pos x="317" y="233"/>
              </a:cxn>
              <a:cxn ang="0">
                <a:pos x="306" y="233"/>
              </a:cxn>
              <a:cxn ang="0">
                <a:pos x="298" y="230"/>
              </a:cxn>
              <a:cxn ang="0">
                <a:pos x="292" y="224"/>
              </a:cxn>
              <a:cxn ang="0">
                <a:pos x="289" y="216"/>
              </a:cxn>
              <a:cxn ang="0">
                <a:pos x="284" y="199"/>
              </a:cxn>
              <a:cxn ang="0">
                <a:pos x="278" y="174"/>
              </a:cxn>
              <a:cxn ang="0">
                <a:pos x="269" y="155"/>
              </a:cxn>
              <a:cxn ang="0">
                <a:pos x="258" y="148"/>
              </a:cxn>
              <a:cxn ang="0">
                <a:pos x="246" y="141"/>
              </a:cxn>
              <a:cxn ang="0">
                <a:pos x="236" y="133"/>
              </a:cxn>
              <a:cxn ang="0">
                <a:pos x="224" y="140"/>
              </a:cxn>
              <a:cxn ang="0">
                <a:pos x="207" y="162"/>
              </a:cxn>
              <a:cxn ang="0">
                <a:pos x="200" y="177"/>
              </a:cxn>
              <a:cxn ang="0">
                <a:pos x="188" y="190"/>
              </a:cxn>
              <a:cxn ang="0">
                <a:pos x="167" y="201"/>
              </a:cxn>
              <a:cxn ang="0">
                <a:pos x="147" y="213"/>
              </a:cxn>
              <a:cxn ang="0">
                <a:pos x="130" y="219"/>
              </a:cxn>
              <a:cxn ang="0">
                <a:pos x="114" y="222"/>
              </a:cxn>
              <a:cxn ang="0">
                <a:pos x="97" y="221"/>
              </a:cxn>
              <a:cxn ang="0">
                <a:pos x="82" y="217"/>
              </a:cxn>
              <a:cxn ang="0">
                <a:pos x="63" y="205"/>
              </a:cxn>
              <a:cxn ang="0">
                <a:pos x="59" y="197"/>
              </a:cxn>
              <a:cxn ang="0">
                <a:pos x="59" y="135"/>
              </a:cxn>
              <a:cxn ang="0">
                <a:pos x="0" y="98"/>
              </a:cxn>
              <a:cxn ang="0">
                <a:pos x="53" y="80"/>
              </a:cxn>
              <a:cxn ang="0">
                <a:pos x="86" y="30"/>
              </a:cxn>
              <a:cxn ang="0">
                <a:pos x="133" y="0"/>
              </a:cxn>
              <a:cxn ang="0">
                <a:pos x="166" y="42"/>
              </a:cxn>
            </a:cxnLst>
            <a:rect l="0" t="0" r="r" b="b"/>
            <a:pathLst>
              <a:path w="471" h="234">
                <a:moveTo>
                  <a:pt x="159" y="30"/>
                </a:moveTo>
                <a:lnTo>
                  <a:pt x="106" y="67"/>
                </a:lnTo>
                <a:lnTo>
                  <a:pt x="126" y="86"/>
                </a:lnTo>
                <a:lnTo>
                  <a:pt x="166" y="86"/>
                </a:lnTo>
                <a:lnTo>
                  <a:pt x="218" y="98"/>
                </a:lnTo>
                <a:lnTo>
                  <a:pt x="272" y="105"/>
                </a:lnTo>
                <a:lnTo>
                  <a:pt x="325" y="92"/>
                </a:lnTo>
                <a:lnTo>
                  <a:pt x="372" y="86"/>
                </a:lnTo>
                <a:lnTo>
                  <a:pt x="379" y="86"/>
                </a:lnTo>
                <a:lnTo>
                  <a:pt x="383" y="95"/>
                </a:lnTo>
                <a:lnTo>
                  <a:pt x="388" y="105"/>
                </a:lnTo>
                <a:lnTo>
                  <a:pt x="391" y="114"/>
                </a:lnTo>
                <a:lnTo>
                  <a:pt x="392" y="123"/>
                </a:lnTo>
                <a:lnTo>
                  <a:pt x="406" y="124"/>
                </a:lnTo>
                <a:lnTo>
                  <a:pt x="418" y="126"/>
                </a:lnTo>
                <a:lnTo>
                  <a:pt x="424" y="129"/>
                </a:lnTo>
                <a:lnTo>
                  <a:pt x="428" y="131"/>
                </a:lnTo>
                <a:lnTo>
                  <a:pt x="433" y="134"/>
                </a:lnTo>
                <a:lnTo>
                  <a:pt x="437" y="137"/>
                </a:lnTo>
                <a:lnTo>
                  <a:pt x="441" y="141"/>
                </a:lnTo>
                <a:lnTo>
                  <a:pt x="445" y="146"/>
                </a:lnTo>
                <a:lnTo>
                  <a:pt x="448" y="151"/>
                </a:lnTo>
                <a:lnTo>
                  <a:pt x="450" y="156"/>
                </a:lnTo>
                <a:lnTo>
                  <a:pt x="455" y="170"/>
                </a:lnTo>
                <a:lnTo>
                  <a:pt x="458" y="184"/>
                </a:lnTo>
                <a:lnTo>
                  <a:pt x="471" y="190"/>
                </a:lnTo>
                <a:lnTo>
                  <a:pt x="359" y="190"/>
                </a:lnTo>
                <a:lnTo>
                  <a:pt x="350" y="202"/>
                </a:lnTo>
                <a:lnTo>
                  <a:pt x="338" y="217"/>
                </a:lnTo>
                <a:lnTo>
                  <a:pt x="330" y="224"/>
                </a:lnTo>
                <a:lnTo>
                  <a:pt x="324" y="229"/>
                </a:lnTo>
                <a:lnTo>
                  <a:pt x="317" y="233"/>
                </a:lnTo>
                <a:lnTo>
                  <a:pt x="312" y="234"/>
                </a:lnTo>
                <a:lnTo>
                  <a:pt x="306" y="233"/>
                </a:lnTo>
                <a:lnTo>
                  <a:pt x="302" y="232"/>
                </a:lnTo>
                <a:lnTo>
                  <a:pt x="298" y="230"/>
                </a:lnTo>
                <a:lnTo>
                  <a:pt x="294" y="228"/>
                </a:lnTo>
                <a:lnTo>
                  <a:pt x="292" y="224"/>
                </a:lnTo>
                <a:lnTo>
                  <a:pt x="290" y="220"/>
                </a:lnTo>
                <a:lnTo>
                  <a:pt x="289" y="216"/>
                </a:lnTo>
                <a:lnTo>
                  <a:pt x="287" y="210"/>
                </a:lnTo>
                <a:lnTo>
                  <a:pt x="284" y="199"/>
                </a:lnTo>
                <a:lnTo>
                  <a:pt x="282" y="187"/>
                </a:lnTo>
                <a:lnTo>
                  <a:pt x="278" y="174"/>
                </a:lnTo>
                <a:lnTo>
                  <a:pt x="272" y="160"/>
                </a:lnTo>
                <a:lnTo>
                  <a:pt x="269" y="155"/>
                </a:lnTo>
                <a:lnTo>
                  <a:pt x="265" y="151"/>
                </a:lnTo>
                <a:lnTo>
                  <a:pt x="258" y="148"/>
                </a:lnTo>
                <a:lnTo>
                  <a:pt x="253" y="144"/>
                </a:lnTo>
                <a:lnTo>
                  <a:pt x="246" y="141"/>
                </a:lnTo>
                <a:lnTo>
                  <a:pt x="240" y="137"/>
                </a:lnTo>
                <a:lnTo>
                  <a:pt x="236" y="133"/>
                </a:lnTo>
                <a:lnTo>
                  <a:pt x="233" y="129"/>
                </a:lnTo>
                <a:lnTo>
                  <a:pt x="224" y="140"/>
                </a:lnTo>
                <a:lnTo>
                  <a:pt x="213" y="154"/>
                </a:lnTo>
                <a:lnTo>
                  <a:pt x="207" y="162"/>
                </a:lnTo>
                <a:lnTo>
                  <a:pt x="203" y="170"/>
                </a:lnTo>
                <a:lnTo>
                  <a:pt x="200" y="177"/>
                </a:lnTo>
                <a:lnTo>
                  <a:pt x="199" y="184"/>
                </a:lnTo>
                <a:lnTo>
                  <a:pt x="188" y="190"/>
                </a:lnTo>
                <a:lnTo>
                  <a:pt x="177" y="195"/>
                </a:lnTo>
                <a:lnTo>
                  <a:pt x="167" y="201"/>
                </a:lnTo>
                <a:lnTo>
                  <a:pt x="157" y="207"/>
                </a:lnTo>
                <a:lnTo>
                  <a:pt x="147" y="213"/>
                </a:lnTo>
                <a:lnTo>
                  <a:pt x="135" y="218"/>
                </a:lnTo>
                <a:lnTo>
                  <a:pt x="130" y="219"/>
                </a:lnTo>
                <a:lnTo>
                  <a:pt x="122" y="221"/>
                </a:lnTo>
                <a:lnTo>
                  <a:pt x="114" y="222"/>
                </a:lnTo>
                <a:lnTo>
                  <a:pt x="106" y="222"/>
                </a:lnTo>
                <a:lnTo>
                  <a:pt x="97" y="221"/>
                </a:lnTo>
                <a:lnTo>
                  <a:pt x="89" y="220"/>
                </a:lnTo>
                <a:lnTo>
                  <a:pt x="82" y="217"/>
                </a:lnTo>
                <a:lnTo>
                  <a:pt x="76" y="213"/>
                </a:lnTo>
                <a:lnTo>
                  <a:pt x="63" y="205"/>
                </a:lnTo>
                <a:lnTo>
                  <a:pt x="46" y="197"/>
                </a:lnTo>
                <a:lnTo>
                  <a:pt x="59" y="197"/>
                </a:lnTo>
                <a:lnTo>
                  <a:pt x="72" y="166"/>
                </a:lnTo>
                <a:lnTo>
                  <a:pt x="59" y="135"/>
                </a:lnTo>
                <a:lnTo>
                  <a:pt x="39" y="117"/>
                </a:lnTo>
                <a:lnTo>
                  <a:pt x="0" y="98"/>
                </a:lnTo>
                <a:lnTo>
                  <a:pt x="13" y="86"/>
                </a:lnTo>
                <a:lnTo>
                  <a:pt x="53" y="80"/>
                </a:lnTo>
                <a:lnTo>
                  <a:pt x="66" y="49"/>
                </a:lnTo>
                <a:lnTo>
                  <a:pt x="86" y="30"/>
                </a:lnTo>
                <a:lnTo>
                  <a:pt x="93" y="6"/>
                </a:lnTo>
                <a:lnTo>
                  <a:pt x="133" y="0"/>
                </a:lnTo>
                <a:lnTo>
                  <a:pt x="153" y="12"/>
                </a:lnTo>
                <a:lnTo>
                  <a:pt x="166" y="42"/>
                </a:lnTo>
                <a:lnTo>
                  <a:pt x="159" y="3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399" name="Freeform 351"/>
          <p:cNvSpPr>
            <a:spLocks/>
          </p:cNvSpPr>
          <p:nvPr>
            <p:custDataLst>
              <p:tags r:id="rId254"/>
            </p:custDataLst>
          </p:nvPr>
        </p:nvSpPr>
        <p:spPr bwMode="auto">
          <a:xfrm>
            <a:off x="5610232" y="1725218"/>
            <a:ext cx="225425" cy="94059"/>
          </a:xfrm>
          <a:custGeom>
            <a:avLst/>
            <a:gdLst/>
            <a:ahLst/>
            <a:cxnLst>
              <a:cxn ang="0">
                <a:pos x="106" y="185"/>
              </a:cxn>
              <a:cxn ang="0">
                <a:pos x="173" y="148"/>
              </a:cxn>
              <a:cxn ang="0">
                <a:pos x="93" y="105"/>
              </a:cxn>
              <a:cxn ang="0">
                <a:pos x="47" y="117"/>
              </a:cxn>
              <a:cxn ang="0">
                <a:pos x="66" y="61"/>
              </a:cxn>
              <a:cxn ang="0">
                <a:pos x="40" y="43"/>
              </a:cxn>
              <a:cxn ang="0">
                <a:pos x="112" y="25"/>
              </a:cxn>
              <a:cxn ang="0">
                <a:pos x="186" y="0"/>
              </a:cxn>
              <a:cxn ang="0">
                <a:pos x="312" y="19"/>
              </a:cxn>
              <a:cxn ang="0">
                <a:pos x="439" y="25"/>
              </a:cxn>
              <a:cxn ang="0">
                <a:pos x="525" y="55"/>
              </a:cxn>
              <a:cxn ang="0">
                <a:pos x="519" y="69"/>
              </a:cxn>
              <a:cxn ang="0">
                <a:pos x="510" y="82"/>
              </a:cxn>
              <a:cxn ang="0">
                <a:pos x="499" y="92"/>
              </a:cxn>
              <a:cxn ang="0">
                <a:pos x="485" y="99"/>
              </a:cxn>
              <a:cxn ang="0">
                <a:pos x="442" y="103"/>
              </a:cxn>
              <a:cxn ang="0">
                <a:pos x="418" y="107"/>
              </a:cxn>
              <a:cxn ang="0">
                <a:pos x="407" y="111"/>
              </a:cxn>
              <a:cxn ang="0">
                <a:pos x="399" y="117"/>
              </a:cxn>
              <a:cxn ang="0">
                <a:pos x="387" y="136"/>
              </a:cxn>
              <a:cxn ang="0">
                <a:pos x="378" y="147"/>
              </a:cxn>
              <a:cxn ang="0">
                <a:pos x="365" y="154"/>
              </a:cxn>
              <a:cxn ang="0">
                <a:pos x="305" y="166"/>
              </a:cxn>
              <a:cxn ang="0">
                <a:pos x="273" y="173"/>
              </a:cxn>
              <a:cxn ang="0">
                <a:pos x="260" y="178"/>
              </a:cxn>
              <a:cxn ang="0">
                <a:pos x="261" y="192"/>
              </a:cxn>
              <a:cxn ang="0">
                <a:pos x="263" y="203"/>
              </a:cxn>
              <a:cxn ang="0">
                <a:pos x="273" y="222"/>
              </a:cxn>
              <a:cxn ang="0">
                <a:pos x="219" y="228"/>
              </a:cxn>
              <a:cxn ang="0">
                <a:pos x="112" y="234"/>
              </a:cxn>
              <a:cxn ang="0">
                <a:pos x="20" y="222"/>
              </a:cxn>
              <a:cxn ang="0">
                <a:pos x="53" y="166"/>
              </a:cxn>
            </a:cxnLst>
            <a:rect l="0" t="0" r="r" b="b"/>
            <a:pathLst>
              <a:path w="525" h="241">
                <a:moveTo>
                  <a:pt x="60" y="178"/>
                </a:moveTo>
                <a:lnTo>
                  <a:pt x="106" y="185"/>
                </a:lnTo>
                <a:lnTo>
                  <a:pt x="140" y="178"/>
                </a:lnTo>
                <a:lnTo>
                  <a:pt x="173" y="148"/>
                </a:lnTo>
                <a:lnTo>
                  <a:pt x="133" y="123"/>
                </a:lnTo>
                <a:lnTo>
                  <a:pt x="93" y="105"/>
                </a:lnTo>
                <a:lnTo>
                  <a:pt x="73" y="123"/>
                </a:lnTo>
                <a:lnTo>
                  <a:pt x="47" y="117"/>
                </a:lnTo>
                <a:lnTo>
                  <a:pt x="33" y="93"/>
                </a:lnTo>
                <a:lnTo>
                  <a:pt x="66" y="61"/>
                </a:lnTo>
                <a:lnTo>
                  <a:pt x="40" y="55"/>
                </a:lnTo>
                <a:lnTo>
                  <a:pt x="40" y="43"/>
                </a:lnTo>
                <a:lnTo>
                  <a:pt x="66" y="19"/>
                </a:lnTo>
                <a:lnTo>
                  <a:pt x="112" y="25"/>
                </a:lnTo>
                <a:lnTo>
                  <a:pt x="173" y="49"/>
                </a:lnTo>
                <a:lnTo>
                  <a:pt x="186" y="0"/>
                </a:lnTo>
                <a:lnTo>
                  <a:pt x="232" y="12"/>
                </a:lnTo>
                <a:lnTo>
                  <a:pt x="312" y="19"/>
                </a:lnTo>
                <a:lnTo>
                  <a:pt x="372" y="25"/>
                </a:lnTo>
                <a:lnTo>
                  <a:pt x="439" y="25"/>
                </a:lnTo>
                <a:lnTo>
                  <a:pt x="519" y="49"/>
                </a:lnTo>
                <a:lnTo>
                  <a:pt x="525" y="55"/>
                </a:lnTo>
                <a:lnTo>
                  <a:pt x="522" y="62"/>
                </a:lnTo>
                <a:lnTo>
                  <a:pt x="519" y="69"/>
                </a:lnTo>
                <a:lnTo>
                  <a:pt x="514" y="76"/>
                </a:lnTo>
                <a:lnTo>
                  <a:pt x="510" y="82"/>
                </a:lnTo>
                <a:lnTo>
                  <a:pt x="504" y="87"/>
                </a:lnTo>
                <a:lnTo>
                  <a:pt x="499" y="92"/>
                </a:lnTo>
                <a:lnTo>
                  <a:pt x="492" y="96"/>
                </a:lnTo>
                <a:lnTo>
                  <a:pt x="485" y="99"/>
                </a:lnTo>
                <a:lnTo>
                  <a:pt x="466" y="101"/>
                </a:lnTo>
                <a:lnTo>
                  <a:pt x="442" y="103"/>
                </a:lnTo>
                <a:lnTo>
                  <a:pt x="430" y="105"/>
                </a:lnTo>
                <a:lnTo>
                  <a:pt x="418" y="107"/>
                </a:lnTo>
                <a:lnTo>
                  <a:pt x="412" y="109"/>
                </a:lnTo>
                <a:lnTo>
                  <a:pt x="407" y="111"/>
                </a:lnTo>
                <a:lnTo>
                  <a:pt x="402" y="114"/>
                </a:lnTo>
                <a:lnTo>
                  <a:pt x="399" y="117"/>
                </a:lnTo>
                <a:lnTo>
                  <a:pt x="394" y="124"/>
                </a:lnTo>
                <a:lnTo>
                  <a:pt x="387" y="136"/>
                </a:lnTo>
                <a:lnTo>
                  <a:pt x="383" y="142"/>
                </a:lnTo>
                <a:lnTo>
                  <a:pt x="378" y="147"/>
                </a:lnTo>
                <a:lnTo>
                  <a:pt x="373" y="151"/>
                </a:lnTo>
                <a:lnTo>
                  <a:pt x="365" y="154"/>
                </a:lnTo>
                <a:lnTo>
                  <a:pt x="341" y="160"/>
                </a:lnTo>
                <a:lnTo>
                  <a:pt x="305" y="166"/>
                </a:lnTo>
                <a:lnTo>
                  <a:pt x="287" y="170"/>
                </a:lnTo>
                <a:lnTo>
                  <a:pt x="273" y="173"/>
                </a:lnTo>
                <a:lnTo>
                  <a:pt x="263" y="176"/>
                </a:lnTo>
                <a:lnTo>
                  <a:pt x="260" y="178"/>
                </a:lnTo>
                <a:lnTo>
                  <a:pt x="260" y="186"/>
                </a:lnTo>
                <a:lnTo>
                  <a:pt x="261" y="192"/>
                </a:lnTo>
                <a:lnTo>
                  <a:pt x="262" y="197"/>
                </a:lnTo>
                <a:lnTo>
                  <a:pt x="263" y="203"/>
                </a:lnTo>
                <a:lnTo>
                  <a:pt x="267" y="212"/>
                </a:lnTo>
                <a:lnTo>
                  <a:pt x="273" y="222"/>
                </a:lnTo>
                <a:lnTo>
                  <a:pt x="266" y="222"/>
                </a:lnTo>
                <a:lnTo>
                  <a:pt x="219" y="228"/>
                </a:lnTo>
                <a:lnTo>
                  <a:pt x="166" y="241"/>
                </a:lnTo>
                <a:lnTo>
                  <a:pt x="112" y="234"/>
                </a:lnTo>
                <a:lnTo>
                  <a:pt x="60" y="222"/>
                </a:lnTo>
                <a:lnTo>
                  <a:pt x="20" y="222"/>
                </a:lnTo>
                <a:lnTo>
                  <a:pt x="0" y="203"/>
                </a:lnTo>
                <a:lnTo>
                  <a:pt x="53" y="166"/>
                </a:lnTo>
                <a:lnTo>
                  <a:pt x="60" y="17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400" name="Freeform 352"/>
          <p:cNvSpPr>
            <a:spLocks/>
          </p:cNvSpPr>
          <p:nvPr>
            <p:custDataLst>
              <p:tags r:id="rId255"/>
            </p:custDataLst>
          </p:nvPr>
        </p:nvSpPr>
        <p:spPr bwMode="auto">
          <a:xfrm>
            <a:off x="5216525" y="1737122"/>
            <a:ext cx="342900" cy="170259"/>
          </a:xfrm>
          <a:custGeom>
            <a:avLst/>
            <a:gdLst/>
            <a:ahLst/>
            <a:cxnLst>
              <a:cxn ang="0">
                <a:pos x="768" y="292"/>
              </a:cxn>
              <a:cxn ang="0">
                <a:pos x="751" y="293"/>
              </a:cxn>
              <a:cxn ang="0">
                <a:pos x="731" y="302"/>
              </a:cxn>
              <a:cxn ang="0">
                <a:pos x="723" y="308"/>
              </a:cxn>
              <a:cxn ang="0">
                <a:pos x="717" y="332"/>
              </a:cxn>
              <a:cxn ang="0">
                <a:pos x="713" y="360"/>
              </a:cxn>
              <a:cxn ang="0">
                <a:pos x="704" y="376"/>
              </a:cxn>
              <a:cxn ang="0">
                <a:pos x="671" y="402"/>
              </a:cxn>
              <a:cxn ang="0">
                <a:pos x="633" y="420"/>
              </a:cxn>
              <a:cxn ang="0">
                <a:pos x="612" y="424"/>
              </a:cxn>
              <a:cxn ang="0">
                <a:pos x="587" y="429"/>
              </a:cxn>
              <a:cxn ang="0">
                <a:pos x="567" y="428"/>
              </a:cxn>
              <a:cxn ang="0">
                <a:pos x="545" y="388"/>
              </a:cxn>
              <a:cxn ang="0">
                <a:pos x="515" y="344"/>
              </a:cxn>
              <a:cxn ang="0">
                <a:pos x="478" y="334"/>
              </a:cxn>
              <a:cxn ang="0">
                <a:pos x="448" y="315"/>
              </a:cxn>
              <a:cxn ang="0">
                <a:pos x="417" y="294"/>
              </a:cxn>
              <a:cxn ang="0">
                <a:pos x="373" y="274"/>
              </a:cxn>
              <a:cxn ang="0">
                <a:pos x="306" y="258"/>
              </a:cxn>
              <a:cxn ang="0">
                <a:pos x="182" y="283"/>
              </a:cxn>
              <a:cxn ang="0">
                <a:pos x="151" y="306"/>
              </a:cxn>
              <a:cxn ang="0">
                <a:pos x="127" y="308"/>
              </a:cxn>
              <a:cxn ang="0">
                <a:pos x="66" y="252"/>
              </a:cxn>
              <a:cxn ang="0">
                <a:pos x="66" y="204"/>
              </a:cxn>
              <a:cxn ang="0">
                <a:pos x="40" y="179"/>
              </a:cxn>
              <a:cxn ang="0">
                <a:pos x="42" y="199"/>
              </a:cxn>
              <a:cxn ang="0">
                <a:pos x="36" y="218"/>
              </a:cxn>
              <a:cxn ang="0">
                <a:pos x="30" y="221"/>
              </a:cxn>
              <a:cxn ang="0">
                <a:pos x="31" y="203"/>
              </a:cxn>
              <a:cxn ang="0">
                <a:pos x="27" y="174"/>
              </a:cxn>
              <a:cxn ang="0">
                <a:pos x="33" y="163"/>
              </a:cxn>
              <a:cxn ang="0">
                <a:pos x="40" y="152"/>
              </a:cxn>
              <a:cxn ang="0">
                <a:pos x="27" y="129"/>
              </a:cxn>
              <a:cxn ang="0">
                <a:pos x="7" y="126"/>
              </a:cxn>
              <a:cxn ang="0">
                <a:pos x="0" y="117"/>
              </a:cxn>
              <a:cxn ang="0">
                <a:pos x="3" y="104"/>
              </a:cxn>
              <a:cxn ang="0">
                <a:pos x="11" y="94"/>
              </a:cxn>
              <a:cxn ang="0">
                <a:pos x="27" y="92"/>
              </a:cxn>
              <a:cxn ang="0">
                <a:pos x="41" y="99"/>
              </a:cxn>
              <a:cxn ang="0">
                <a:pos x="57" y="104"/>
              </a:cxn>
              <a:cxn ang="0">
                <a:pos x="71" y="92"/>
              </a:cxn>
              <a:cxn ang="0">
                <a:pos x="83" y="77"/>
              </a:cxn>
              <a:cxn ang="0">
                <a:pos x="87" y="64"/>
              </a:cxn>
              <a:cxn ang="0">
                <a:pos x="78" y="55"/>
              </a:cxn>
              <a:cxn ang="0">
                <a:pos x="55" y="49"/>
              </a:cxn>
              <a:cxn ang="0">
                <a:pos x="47" y="40"/>
              </a:cxn>
              <a:cxn ang="0">
                <a:pos x="41" y="28"/>
              </a:cxn>
              <a:cxn ang="0">
                <a:pos x="107" y="43"/>
              </a:cxn>
              <a:cxn ang="0">
                <a:pos x="219" y="74"/>
              </a:cxn>
              <a:cxn ang="0">
                <a:pos x="273" y="0"/>
              </a:cxn>
              <a:cxn ang="0">
                <a:pos x="373" y="43"/>
              </a:cxn>
              <a:cxn ang="0">
                <a:pos x="465" y="92"/>
              </a:cxn>
              <a:cxn ang="0">
                <a:pos x="591" y="210"/>
              </a:cxn>
              <a:cxn ang="0">
                <a:pos x="724" y="265"/>
              </a:cxn>
              <a:cxn ang="0">
                <a:pos x="778" y="295"/>
              </a:cxn>
            </a:cxnLst>
            <a:rect l="0" t="0" r="r" b="b"/>
            <a:pathLst>
              <a:path w="784" h="430">
                <a:moveTo>
                  <a:pt x="778" y="295"/>
                </a:moveTo>
                <a:lnTo>
                  <a:pt x="772" y="294"/>
                </a:lnTo>
                <a:lnTo>
                  <a:pt x="768" y="292"/>
                </a:lnTo>
                <a:lnTo>
                  <a:pt x="762" y="292"/>
                </a:lnTo>
                <a:lnTo>
                  <a:pt x="757" y="292"/>
                </a:lnTo>
                <a:lnTo>
                  <a:pt x="751" y="293"/>
                </a:lnTo>
                <a:lnTo>
                  <a:pt x="745" y="295"/>
                </a:lnTo>
                <a:lnTo>
                  <a:pt x="738" y="298"/>
                </a:lnTo>
                <a:lnTo>
                  <a:pt x="731" y="302"/>
                </a:lnTo>
                <a:lnTo>
                  <a:pt x="727" y="303"/>
                </a:lnTo>
                <a:lnTo>
                  <a:pt x="725" y="305"/>
                </a:lnTo>
                <a:lnTo>
                  <a:pt x="723" y="308"/>
                </a:lnTo>
                <a:lnTo>
                  <a:pt x="721" y="312"/>
                </a:lnTo>
                <a:lnTo>
                  <a:pt x="718" y="322"/>
                </a:lnTo>
                <a:lnTo>
                  <a:pt x="717" y="332"/>
                </a:lnTo>
                <a:lnTo>
                  <a:pt x="716" y="343"/>
                </a:lnTo>
                <a:lnTo>
                  <a:pt x="714" y="354"/>
                </a:lnTo>
                <a:lnTo>
                  <a:pt x="713" y="360"/>
                </a:lnTo>
                <a:lnTo>
                  <a:pt x="711" y="365"/>
                </a:lnTo>
                <a:lnTo>
                  <a:pt x="708" y="370"/>
                </a:lnTo>
                <a:lnTo>
                  <a:pt x="704" y="376"/>
                </a:lnTo>
                <a:lnTo>
                  <a:pt x="694" y="385"/>
                </a:lnTo>
                <a:lnTo>
                  <a:pt x="683" y="394"/>
                </a:lnTo>
                <a:lnTo>
                  <a:pt x="671" y="402"/>
                </a:lnTo>
                <a:lnTo>
                  <a:pt x="659" y="409"/>
                </a:lnTo>
                <a:lnTo>
                  <a:pt x="647" y="416"/>
                </a:lnTo>
                <a:lnTo>
                  <a:pt x="633" y="420"/>
                </a:lnTo>
                <a:lnTo>
                  <a:pt x="626" y="422"/>
                </a:lnTo>
                <a:lnTo>
                  <a:pt x="620" y="424"/>
                </a:lnTo>
                <a:lnTo>
                  <a:pt x="612" y="424"/>
                </a:lnTo>
                <a:lnTo>
                  <a:pt x="604" y="425"/>
                </a:lnTo>
                <a:lnTo>
                  <a:pt x="596" y="426"/>
                </a:lnTo>
                <a:lnTo>
                  <a:pt x="587" y="429"/>
                </a:lnTo>
                <a:lnTo>
                  <a:pt x="581" y="430"/>
                </a:lnTo>
                <a:lnTo>
                  <a:pt x="575" y="430"/>
                </a:lnTo>
                <a:lnTo>
                  <a:pt x="567" y="428"/>
                </a:lnTo>
                <a:lnTo>
                  <a:pt x="558" y="425"/>
                </a:lnTo>
                <a:lnTo>
                  <a:pt x="553" y="406"/>
                </a:lnTo>
                <a:lnTo>
                  <a:pt x="545" y="388"/>
                </a:lnTo>
                <a:lnTo>
                  <a:pt x="537" y="367"/>
                </a:lnTo>
                <a:lnTo>
                  <a:pt x="532" y="345"/>
                </a:lnTo>
                <a:lnTo>
                  <a:pt x="515" y="344"/>
                </a:lnTo>
                <a:lnTo>
                  <a:pt x="501" y="342"/>
                </a:lnTo>
                <a:lnTo>
                  <a:pt x="489" y="339"/>
                </a:lnTo>
                <a:lnTo>
                  <a:pt x="478" y="334"/>
                </a:lnTo>
                <a:lnTo>
                  <a:pt x="467" y="329"/>
                </a:lnTo>
                <a:lnTo>
                  <a:pt x="458" y="323"/>
                </a:lnTo>
                <a:lnTo>
                  <a:pt x="448" y="315"/>
                </a:lnTo>
                <a:lnTo>
                  <a:pt x="439" y="308"/>
                </a:lnTo>
                <a:lnTo>
                  <a:pt x="429" y="301"/>
                </a:lnTo>
                <a:lnTo>
                  <a:pt x="417" y="294"/>
                </a:lnTo>
                <a:lnTo>
                  <a:pt x="404" y="287"/>
                </a:lnTo>
                <a:lnTo>
                  <a:pt x="389" y="280"/>
                </a:lnTo>
                <a:lnTo>
                  <a:pt x="373" y="274"/>
                </a:lnTo>
                <a:lnTo>
                  <a:pt x="354" y="268"/>
                </a:lnTo>
                <a:lnTo>
                  <a:pt x="331" y="262"/>
                </a:lnTo>
                <a:lnTo>
                  <a:pt x="306" y="258"/>
                </a:lnTo>
                <a:lnTo>
                  <a:pt x="212" y="258"/>
                </a:lnTo>
                <a:lnTo>
                  <a:pt x="204" y="267"/>
                </a:lnTo>
                <a:lnTo>
                  <a:pt x="182" y="283"/>
                </a:lnTo>
                <a:lnTo>
                  <a:pt x="171" y="292"/>
                </a:lnTo>
                <a:lnTo>
                  <a:pt x="160" y="300"/>
                </a:lnTo>
                <a:lnTo>
                  <a:pt x="151" y="306"/>
                </a:lnTo>
                <a:lnTo>
                  <a:pt x="146" y="308"/>
                </a:lnTo>
                <a:lnTo>
                  <a:pt x="137" y="308"/>
                </a:lnTo>
                <a:lnTo>
                  <a:pt x="127" y="308"/>
                </a:lnTo>
                <a:lnTo>
                  <a:pt x="119" y="308"/>
                </a:lnTo>
                <a:lnTo>
                  <a:pt x="113" y="308"/>
                </a:lnTo>
                <a:lnTo>
                  <a:pt x="66" y="252"/>
                </a:lnTo>
                <a:lnTo>
                  <a:pt x="66" y="237"/>
                </a:lnTo>
                <a:lnTo>
                  <a:pt x="66" y="223"/>
                </a:lnTo>
                <a:lnTo>
                  <a:pt x="66" y="204"/>
                </a:lnTo>
                <a:lnTo>
                  <a:pt x="66" y="179"/>
                </a:lnTo>
                <a:lnTo>
                  <a:pt x="53" y="179"/>
                </a:lnTo>
                <a:lnTo>
                  <a:pt x="40" y="179"/>
                </a:lnTo>
                <a:lnTo>
                  <a:pt x="42" y="185"/>
                </a:lnTo>
                <a:lnTo>
                  <a:pt x="42" y="192"/>
                </a:lnTo>
                <a:lnTo>
                  <a:pt x="42" y="199"/>
                </a:lnTo>
                <a:lnTo>
                  <a:pt x="41" y="205"/>
                </a:lnTo>
                <a:lnTo>
                  <a:pt x="39" y="212"/>
                </a:lnTo>
                <a:lnTo>
                  <a:pt x="36" y="218"/>
                </a:lnTo>
                <a:lnTo>
                  <a:pt x="31" y="223"/>
                </a:lnTo>
                <a:lnTo>
                  <a:pt x="27" y="228"/>
                </a:lnTo>
                <a:lnTo>
                  <a:pt x="30" y="221"/>
                </a:lnTo>
                <a:lnTo>
                  <a:pt x="32" y="215"/>
                </a:lnTo>
                <a:lnTo>
                  <a:pt x="32" y="208"/>
                </a:lnTo>
                <a:lnTo>
                  <a:pt x="31" y="203"/>
                </a:lnTo>
                <a:lnTo>
                  <a:pt x="29" y="191"/>
                </a:lnTo>
                <a:lnTo>
                  <a:pt x="27" y="179"/>
                </a:lnTo>
                <a:lnTo>
                  <a:pt x="27" y="174"/>
                </a:lnTo>
                <a:lnTo>
                  <a:pt x="29" y="170"/>
                </a:lnTo>
                <a:lnTo>
                  <a:pt x="31" y="167"/>
                </a:lnTo>
                <a:lnTo>
                  <a:pt x="33" y="163"/>
                </a:lnTo>
                <a:lnTo>
                  <a:pt x="36" y="160"/>
                </a:lnTo>
                <a:lnTo>
                  <a:pt x="38" y="156"/>
                </a:lnTo>
                <a:lnTo>
                  <a:pt x="40" y="152"/>
                </a:lnTo>
                <a:lnTo>
                  <a:pt x="40" y="147"/>
                </a:lnTo>
                <a:lnTo>
                  <a:pt x="31" y="136"/>
                </a:lnTo>
                <a:lnTo>
                  <a:pt x="27" y="129"/>
                </a:lnTo>
                <a:lnTo>
                  <a:pt x="20" y="129"/>
                </a:lnTo>
                <a:lnTo>
                  <a:pt x="11" y="128"/>
                </a:lnTo>
                <a:lnTo>
                  <a:pt x="7" y="126"/>
                </a:lnTo>
                <a:lnTo>
                  <a:pt x="4" y="124"/>
                </a:lnTo>
                <a:lnTo>
                  <a:pt x="1" y="121"/>
                </a:lnTo>
                <a:lnTo>
                  <a:pt x="0" y="117"/>
                </a:lnTo>
                <a:lnTo>
                  <a:pt x="0" y="113"/>
                </a:lnTo>
                <a:lnTo>
                  <a:pt x="1" y="108"/>
                </a:lnTo>
                <a:lnTo>
                  <a:pt x="3" y="104"/>
                </a:lnTo>
                <a:lnTo>
                  <a:pt x="5" y="100"/>
                </a:lnTo>
                <a:lnTo>
                  <a:pt x="8" y="96"/>
                </a:lnTo>
                <a:lnTo>
                  <a:pt x="11" y="94"/>
                </a:lnTo>
                <a:lnTo>
                  <a:pt x="16" y="92"/>
                </a:lnTo>
                <a:lnTo>
                  <a:pt x="20" y="92"/>
                </a:lnTo>
                <a:lnTo>
                  <a:pt x="27" y="92"/>
                </a:lnTo>
                <a:lnTo>
                  <a:pt x="32" y="94"/>
                </a:lnTo>
                <a:lnTo>
                  <a:pt x="37" y="96"/>
                </a:lnTo>
                <a:lnTo>
                  <a:pt x="41" y="99"/>
                </a:lnTo>
                <a:lnTo>
                  <a:pt x="45" y="101"/>
                </a:lnTo>
                <a:lnTo>
                  <a:pt x="51" y="103"/>
                </a:lnTo>
                <a:lnTo>
                  <a:pt x="57" y="104"/>
                </a:lnTo>
                <a:lnTo>
                  <a:pt x="66" y="105"/>
                </a:lnTo>
                <a:lnTo>
                  <a:pt x="67" y="99"/>
                </a:lnTo>
                <a:lnTo>
                  <a:pt x="71" y="92"/>
                </a:lnTo>
                <a:lnTo>
                  <a:pt x="75" y="87"/>
                </a:lnTo>
                <a:lnTo>
                  <a:pt x="79" y="82"/>
                </a:lnTo>
                <a:lnTo>
                  <a:pt x="83" y="77"/>
                </a:lnTo>
                <a:lnTo>
                  <a:pt x="86" y="71"/>
                </a:lnTo>
                <a:lnTo>
                  <a:pt x="87" y="67"/>
                </a:lnTo>
                <a:lnTo>
                  <a:pt x="87" y="64"/>
                </a:lnTo>
                <a:lnTo>
                  <a:pt x="87" y="60"/>
                </a:lnTo>
                <a:lnTo>
                  <a:pt x="86" y="56"/>
                </a:lnTo>
                <a:lnTo>
                  <a:pt x="78" y="55"/>
                </a:lnTo>
                <a:lnTo>
                  <a:pt x="71" y="54"/>
                </a:lnTo>
                <a:lnTo>
                  <a:pt x="63" y="52"/>
                </a:lnTo>
                <a:lnTo>
                  <a:pt x="55" y="49"/>
                </a:lnTo>
                <a:lnTo>
                  <a:pt x="52" y="47"/>
                </a:lnTo>
                <a:lnTo>
                  <a:pt x="50" y="44"/>
                </a:lnTo>
                <a:lnTo>
                  <a:pt x="47" y="40"/>
                </a:lnTo>
                <a:lnTo>
                  <a:pt x="44" y="37"/>
                </a:lnTo>
                <a:lnTo>
                  <a:pt x="42" y="33"/>
                </a:lnTo>
                <a:lnTo>
                  <a:pt x="41" y="28"/>
                </a:lnTo>
                <a:lnTo>
                  <a:pt x="40" y="24"/>
                </a:lnTo>
                <a:lnTo>
                  <a:pt x="40" y="18"/>
                </a:lnTo>
                <a:lnTo>
                  <a:pt x="107" y="43"/>
                </a:lnTo>
                <a:lnTo>
                  <a:pt x="133" y="80"/>
                </a:lnTo>
                <a:lnTo>
                  <a:pt x="179" y="86"/>
                </a:lnTo>
                <a:lnTo>
                  <a:pt x="219" y="74"/>
                </a:lnTo>
                <a:lnTo>
                  <a:pt x="212" y="43"/>
                </a:lnTo>
                <a:lnTo>
                  <a:pt x="253" y="24"/>
                </a:lnTo>
                <a:lnTo>
                  <a:pt x="273" y="0"/>
                </a:lnTo>
                <a:lnTo>
                  <a:pt x="306" y="6"/>
                </a:lnTo>
                <a:lnTo>
                  <a:pt x="339" y="24"/>
                </a:lnTo>
                <a:lnTo>
                  <a:pt x="373" y="43"/>
                </a:lnTo>
                <a:lnTo>
                  <a:pt x="386" y="80"/>
                </a:lnTo>
                <a:lnTo>
                  <a:pt x="425" y="92"/>
                </a:lnTo>
                <a:lnTo>
                  <a:pt x="465" y="92"/>
                </a:lnTo>
                <a:lnTo>
                  <a:pt x="512" y="141"/>
                </a:lnTo>
                <a:lnTo>
                  <a:pt x="545" y="179"/>
                </a:lnTo>
                <a:lnTo>
                  <a:pt x="591" y="210"/>
                </a:lnTo>
                <a:lnTo>
                  <a:pt x="632" y="222"/>
                </a:lnTo>
                <a:lnTo>
                  <a:pt x="678" y="252"/>
                </a:lnTo>
                <a:lnTo>
                  <a:pt x="724" y="265"/>
                </a:lnTo>
                <a:lnTo>
                  <a:pt x="758" y="277"/>
                </a:lnTo>
                <a:lnTo>
                  <a:pt x="784" y="289"/>
                </a:lnTo>
                <a:lnTo>
                  <a:pt x="778" y="29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401" name="Freeform 353"/>
          <p:cNvSpPr>
            <a:spLocks/>
          </p:cNvSpPr>
          <p:nvPr>
            <p:custDataLst>
              <p:tags r:id="rId256"/>
            </p:custDataLst>
          </p:nvPr>
        </p:nvSpPr>
        <p:spPr bwMode="auto">
          <a:xfrm>
            <a:off x="4464050" y="1714509"/>
            <a:ext cx="107950" cy="111919"/>
          </a:xfrm>
          <a:custGeom>
            <a:avLst/>
            <a:gdLst/>
            <a:ahLst/>
            <a:cxnLst>
              <a:cxn ang="0">
                <a:pos x="30" y="27"/>
              </a:cxn>
              <a:cxn ang="0">
                <a:pos x="28" y="24"/>
              </a:cxn>
              <a:cxn ang="0">
                <a:pos x="24" y="17"/>
              </a:cxn>
              <a:cxn ang="0">
                <a:pos x="35" y="5"/>
              </a:cxn>
              <a:cxn ang="0">
                <a:pos x="67" y="1"/>
              </a:cxn>
              <a:cxn ang="0">
                <a:pos x="126" y="12"/>
              </a:cxn>
              <a:cxn ang="0">
                <a:pos x="131" y="30"/>
              </a:cxn>
              <a:cxn ang="0">
                <a:pos x="139" y="46"/>
              </a:cxn>
              <a:cxn ang="0">
                <a:pos x="151" y="57"/>
              </a:cxn>
              <a:cxn ang="0">
                <a:pos x="165" y="67"/>
              </a:cxn>
              <a:cxn ang="0">
                <a:pos x="191" y="87"/>
              </a:cxn>
              <a:cxn ang="0">
                <a:pos x="203" y="101"/>
              </a:cxn>
              <a:cxn ang="0">
                <a:pos x="212" y="117"/>
              </a:cxn>
              <a:cxn ang="0">
                <a:pos x="226" y="117"/>
              </a:cxn>
              <a:cxn ang="0">
                <a:pos x="221" y="124"/>
              </a:cxn>
              <a:cxn ang="0">
                <a:pos x="221" y="129"/>
              </a:cxn>
              <a:cxn ang="0">
                <a:pos x="228" y="140"/>
              </a:cxn>
              <a:cxn ang="0">
                <a:pos x="239" y="154"/>
              </a:cxn>
              <a:cxn ang="0">
                <a:pos x="244" y="162"/>
              </a:cxn>
              <a:cxn ang="0">
                <a:pos x="246" y="173"/>
              </a:cxn>
              <a:cxn ang="0">
                <a:pos x="241" y="184"/>
              </a:cxn>
              <a:cxn ang="0">
                <a:pos x="233" y="192"/>
              </a:cxn>
              <a:cxn ang="0">
                <a:pos x="223" y="198"/>
              </a:cxn>
              <a:cxn ang="0">
                <a:pos x="220" y="204"/>
              </a:cxn>
              <a:cxn ang="0">
                <a:pos x="189" y="215"/>
              </a:cxn>
              <a:cxn ang="0">
                <a:pos x="164" y="230"/>
              </a:cxn>
              <a:cxn ang="0">
                <a:pos x="113" y="265"/>
              </a:cxn>
              <a:cxn ang="0">
                <a:pos x="88" y="231"/>
              </a:cxn>
              <a:cxn ang="0">
                <a:pos x="79" y="220"/>
              </a:cxn>
              <a:cxn ang="0">
                <a:pos x="72" y="216"/>
              </a:cxn>
              <a:cxn ang="0">
                <a:pos x="60" y="217"/>
              </a:cxn>
              <a:cxn ang="0">
                <a:pos x="54" y="221"/>
              </a:cxn>
              <a:cxn ang="0">
                <a:pos x="49" y="228"/>
              </a:cxn>
              <a:cxn ang="0">
                <a:pos x="48" y="236"/>
              </a:cxn>
              <a:cxn ang="0">
                <a:pos x="45" y="257"/>
              </a:cxn>
              <a:cxn ang="0">
                <a:pos x="41" y="270"/>
              </a:cxn>
              <a:cxn ang="0">
                <a:pos x="33" y="284"/>
              </a:cxn>
              <a:cxn ang="0">
                <a:pos x="26" y="243"/>
              </a:cxn>
              <a:cxn ang="0">
                <a:pos x="17" y="227"/>
              </a:cxn>
              <a:cxn ang="0">
                <a:pos x="11" y="221"/>
              </a:cxn>
              <a:cxn ang="0">
                <a:pos x="0" y="216"/>
              </a:cxn>
              <a:cxn ang="0">
                <a:pos x="1" y="204"/>
              </a:cxn>
              <a:cxn ang="0">
                <a:pos x="4" y="193"/>
              </a:cxn>
              <a:cxn ang="0">
                <a:pos x="15" y="176"/>
              </a:cxn>
              <a:cxn ang="0">
                <a:pos x="31" y="161"/>
              </a:cxn>
              <a:cxn ang="0">
                <a:pos x="46" y="141"/>
              </a:cxn>
              <a:cxn ang="0">
                <a:pos x="33" y="44"/>
              </a:cxn>
            </a:cxnLst>
            <a:rect l="0" t="0" r="r" b="b"/>
            <a:pathLst>
              <a:path w="246" h="284">
                <a:moveTo>
                  <a:pt x="33" y="44"/>
                </a:moveTo>
                <a:lnTo>
                  <a:pt x="30" y="27"/>
                </a:lnTo>
                <a:lnTo>
                  <a:pt x="28" y="24"/>
                </a:lnTo>
                <a:lnTo>
                  <a:pt x="28" y="24"/>
                </a:lnTo>
                <a:lnTo>
                  <a:pt x="26" y="22"/>
                </a:lnTo>
                <a:lnTo>
                  <a:pt x="24" y="17"/>
                </a:lnTo>
                <a:lnTo>
                  <a:pt x="20" y="6"/>
                </a:lnTo>
                <a:lnTo>
                  <a:pt x="35" y="5"/>
                </a:lnTo>
                <a:lnTo>
                  <a:pt x="50" y="3"/>
                </a:lnTo>
                <a:lnTo>
                  <a:pt x="67" y="1"/>
                </a:lnTo>
                <a:lnTo>
                  <a:pt x="87" y="0"/>
                </a:lnTo>
                <a:lnTo>
                  <a:pt x="126" y="12"/>
                </a:lnTo>
                <a:lnTo>
                  <a:pt x="127" y="22"/>
                </a:lnTo>
                <a:lnTo>
                  <a:pt x="131" y="30"/>
                </a:lnTo>
                <a:lnTo>
                  <a:pt x="135" y="39"/>
                </a:lnTo>
                <a:lnTo>
                  <a:pt x="139" y="46"/>
                </a:lnTo>
                <a:lnTo>
                  <a:pt x="145" y="52"/>
                </a:lnTo>
                <a:lnTo>
                  <a:pt x="151" y="57"/>
                </a:lnTo>
                <a:lnTo>
                  <a:pt x="157" y="62"/>
                </a:lnTo>
                <a:lnTo>
                  <a:pt x="165" y="67"/>
                </a:lnTo>
                <a:lnTo>
                  <a:pt x="178" y="77"/>
                </a:lnTo>
                <a:lnTo>
                  <a:pt x="191" y="87"/>
                </a:lnTo>
                <a:lnTo>
                  <a:pt x="198" y="94"/>
                </a:lnTo>
                <a:lnTo>
                  <a:pt x="203" y="101"/>
                </a:lnTo>
                <a:lnTo>
                  <a:pt x="209" y="109"/>
                </a:lnTo>
                <a:lnTo>
                  <a:pt x="212" y="117"/>
                </a:lnTo>
                <a:lnTo>
                  <a:pt x="220" y="117"/>
                </a:lnTo>
                <a:lnTo>
                  <a:pt x="226" y="117"/>
                </a:lnTo>
                <a:lnTo>
                  <a:pt x="223" y="121"/>
                </a:lnTo>
                <a:lnTo>
                  <a:pt x="221" y="124"/>
                </a:lnTo>
                <a:lnTo>
                  <a:pt x="220" y="126"/>
                </a:lnTo>
                <a:lnTo>
                  <a:pt x="221" y="129"/>
                </a:lnTo>
                <a:lnTo>
                  <a:pt x="223" y="135"/>
                </a:lnTo>
                <a:lnTo>
                  <a:pt x="228" y="140"/>
                </a:lnTo>
                <a:lnTo>
                  <a:pt x="234" y="146"/>
                </a:lnTo>
                <a:lnTo>
                  <a:pt x="239" y="154"/>
                </a:lnTo>
                <a:lnTo>
                  <a:pt x="241" y="158"/>
                </a:lnTo>
                <a:lnTo>
                  <a:pt x="244" y="162"/>
                </a:lnTo>
                <a:lnTo>
                  <a:pt x="245" y="167"/>
                </a:lnTo>
                <a:lnTo>
                  <a:pt x="246" y="173"/>
                </a:lnTo>
                <a:lnTo>
                  <a:pt x="245" y="179"/>
                </a:lnTo>
                <a:lnTo>
                  <a:pt x="241" y="184"/>
                </a:lnTo>
                <a:lnTo>
                  <a:pt x="237" y="189"/>
                </a:lnTo>
                <a:lnTo>
                  <a:pt x="233" y="192"/>
                </a:lnTo>
                <a:lnTo>
                  <a:pt x="227" y="196"/>
                </a:lnTo>
                <a:lnTo>
                  <a:pt x="223" y="198"/>
                </a:lnTo>
                <a:lnTo>
                  <a:pt x="221" y="201"/>
                </a:lnTo>
                <a:lnTo>
                  <a:pt x="220" y="204"/>
                </a:lnTo>
                <a:lnTo>
                  <a:pt x="203" y="209"/>
                </a:lnTo>
                <a:lnTo>
                  <a:pt x="189" y="215"/>
                </a:lnTo>
                <a:lnTo>
                  <a:pt x="176" y="222"/>
                </a:lnTo>
                <a:lnTo>
                  <a:pt x="164" y="230"/>
                </a:lnTo>
                <a:lnTo>
                  <a:pt x="139" y="246"/>
                </a:lnTo>
                <a:lnTo>
                  <a:pt x="113" y="265"/>
                </a:lnTo>
                <a:lnTo>
                  <a:pt x="99" y="247"/>
                </a:lnTo>
                <a:lnTo>
                  <a:pt x="88" y="231"/>
                </a:lnTo>
                <a:lnTo>
                  <a:pt x="83" y="225"/>
                </a:lnTo>
                <a:lnTo>
                  <a:pt x="79" y="220"/>
                </a:lnTo>
                <a:lnTo>
                  <a:pt x="76" y="217"/>
                </a:lnTo>
                <a:lnTo>
                  <a:pt x="72" y="216"/>
                </a:lnTo>
                <a:lnTo>
                  <a:pt x="66" y="216"/>
                </a:lnTo>
                <a:lnTo>
                  <a:pt x="60" y="217"/>
                </a:lnTo>
                <a:lnTo>
                  <a:pt x="57" y="219"/>
                </a:lnTo>
                <a:lnTo>
                  <a:pt x="54" y="221"/>
                </a:lnTo>
                <a:lnTo>
                  <a:pt x="52" y="224"/>
                </a:lnTo>
                <a:lnTo>
                  <a:pt x="49" y="228"/>
                </a:lnTo>
                <a:lnTo>
                  <a:pt x="48" y="231"/>
                </a:lnTo>
                <a:lnTo>
                  <a:pt x="48" y="236"/>
                </a:lnTo>
                <a:lnTo>
                  <a:pt x="47" y="246"/>
                </a:lnTo>
                <a:lnTo>
                  <a:pt x="45" y="257"/>
                </a:lnTo>
                <a:lnTo>
                  <a:pt x="43" y="264"/>
                </a:lnTo>
                <a:lnTo>
                  <a:pt x="41" y="270"/>
                </a:lnTo>
                <a:lnTo>
                  <a:pt x="37" y="277"/>
                </a:lnTo>
                <a:lnTo>
                  <a:pt x="33" y="284"/>
                </a:lnTo>
                <a:lnTo>
                  <a:pt x="30" y="262"/>
                </a:lnTo>
                <a:lnTo>
                  <a:pt x="26" y="243"/>
                </a:lnTo>
                <a:lnTo>
                  <a:pt x="23" y="234"/>
                </a:lnTo>
                <a:lnTo>
                  <a:pt x="17" y="227"/>
                </a:lnTo>
                <a:lnTo>
                  <a:pt x="14" y="224"/>
                </a:lnTo>
                <a:lnTo>
                  <a:pt x="11" y="221"/>
                </a:lnTo>
                <a:lnTo>
                  <a:pt x="5" y="218"/>
                </a:lnTo>
                <a:lnTo>
                  <a:pt x="0" y="216"/>
                </a:lnTo>
                <a:lnTo>
                  <a:pt x="0" y="210"/>
                </a:lnTo>
                <a:lnTo>
                  <a:pt x="1" y="204"/>
                </a:lnTo>
                <a:lnTo>
                  <a:pt x="2" y="197"/>
                </a:lnTo>
                <a:lnTo>
                  <a:pt x="4" y="193"/>
                </a:lnTo>
                <a:lnTo>
                  <a:pt x="9" y="184"/>
                </a:lnTo>
                <a:lnTo>
                  <a:pt x="15" y="176"/>
                </a:lnTo>
                <a:lnTo>
                  <a:pt x="23" y="169"/>
                </a:lnTo>
                <a:lnTo>
                  <a:pt x="31" y="161"/>
                </a:lnTo>
                <a:lnTo>
                  <a:pt x="38" y="153"/>
                </a:lnTo>
                <a:lnTo>
                  <a:pt x="46" y="141"/>
                </a:lnTo>
                <a:lnTo>
                  <a:pt x="0" y="62"/>
                </a:lnTo>
                <a:lnTo>
                  <a:pt x="33" y="44"/>
                </a:lnTo>
              </a:path>
            </a:pathLst>
          </a:custGeom>
          <a:solidFill>
            <a:srgbClr val="0070C0"/>
          </a:solidFill>
          <a:ln w="9525" cap="flat" cmpd="sng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402" name="Freeform 354"/>
          <p:cNvSpPr>
            <a:spLocks/>
          </p:cNvSpPr>
          <p:nvPr>
            <p:custDataLst>
              <p:tags r:id="rId257"/>
            </p:custDataLst>
          </p:nvPr>
        </p:nvSpPr>
        <p:spPr bwMode="auto">
          <a:xfrm>
            <a:off x="4473575" y="1733558"/>
            <a:ext cx="68263" cy="45244"/>
          </a:xfrm>
          <a:custGeom>
            <a:avLst/>
            <a:gdLst/>
            <a:ahLst/>
            <a:cxnLst>
              <a:cxn ang="0">
                <a:pos x="114" y="0"/>
              </a:cxn>
              <a:cxn ang="0">
                <a:pos x="114" y="9"/>
              </a:cxn>
              <a:cxn ang="0">
                <a:pos x="114" y="18"/>
              </a:cxn>
              <a:cxn ang="0">
                <a:pos x="115" y="25"/>
              </a:cxn>
              <a:cxn ang="0">
                <a:pos x="117" y="32"/>
              </a:cxn>
              <a:cxn ang="0">
                <a:pos x="119" y="34"/>
              </a:cxn>
              <a:cxn ang="0">
                <a:pos x="121" y="37"/>
              </a:cxn>
              <a:cxn ang="0">
                <a:pos x="123" y="38"/>
              </a:cxn>
              <a:cxn ang="0">
                <a:pos x="127" y="39"/>
              </a:cxn>
              <a:cxn ang="0">
                <a:pos x="131" y="40"/>
              </a:cxn>
              <a:cxn ang="0">
                <a:pos x="135" y="39"/>
              </a:cxn>
              <a:cxn ang="0">
                <a:pos x="140" y="38"/>
              </a:cxn>
              <a:cxn ang="0">
                <a:pos x="146" y="36"/>
              </a:cxn>
              <a:cxn ang="0">
                <a:pos x="149" y="43"/>
              </a:cxn>
              <a:cxn ang="0">
                <a:pos x="153" y="52"/>
              </a:cxn>
              <a:cxn ang="0">
                <a:pos x="157" y="64"/>
              </a:cxn>
              <a:cxn ang="0">
                <a:pos x="160" y="74"/>
              </a:cxn>
              <a:cxn ang="0">
                <a:pos x="133" y="88"/>
              </a:cxn>
              <a:cxn ang="0">
                <a:pos x="106" y="102"/>
              </a:cxn>
              <a:cxn ang="0">
                <a:pos x="92" y="107"/>
              </a:cxn>
              <a:cxn ang="0">
                <a:pos x="76" y="113"/>
              </a:cxn>
              <a:cxn ang="0">
                <a:pos x="62" y="116"/>
              </a:cxn>
              <a:cxn ang="0">
                <a:pos x="47" y="117"/>
              </a:cxn>
              <a:cxn ang="0">
                <a:pos x="32" y="99"/>
              </a:cxn>
              <a:cxn ang="0">
                <a:pos x="21" y="83"/>
              </a:cxn>
              <a:cxn ang="0">
                <a:pos x="10" y="69"/>
              </a:cxn>
              <a:cxn ang="0">
                <a:pos x="0" y="55"/>
              </a:cxn>
              <a:cxn ang="0">
                <a:pos x="13" y="48"/>
              </a:cxn>
              <a:cxn ang="0">
                <a:pos x="41" y="32"/>
              </a:cxn>
              <a:cxn ang="0">
                <a:pos x="60" y="23"/>
              </a:cxn>
              <a:cxn ang="0">
                <a:pos x="78" y="14"/>
              </a:cxn>
              <a:cxn ang="0">
                <a:pos x="97" y="6"/>
              </a:cxn>
              <a:cxn ang="0">
                <a:pos x="114" y="0"/>
              </a:cxn>
            </a:cxnLst>
            <a:rect l="0" t="0" r="r" b="b"/>
            <a:pathLst>
              <a:path w="160" h="117">
                <a:moveTo>
                  <a:pt x="114" y="0"/>
                </a:moveTo>
                <a:lnTo>
                  <a:pt x="114" y="9"/>
                </a:lnTo>
                <a:lnTo>
                  <a:pt x="114" y="18"/>
                </a:lnTo>
                <a:lnTo>
                  <a:pt x="115" y="25"/>
                </a:lnTo>
                <a:lnTo>
                  <a:pt x="117" y="32"/>
                </a:lnTo>
                <a:lnTo>
                  <a:pt x="119" y="34"/>
                </a:lnTo>
                <a:lnTo>
                  <a:pt x="121" y="37"/>
                </a:lnTo>
                <a:lnTo>
                  <a:pt x="123" y="38"/>
                </a:lnTo>
                <a:lnTo>
                  <a:pt x="127" y="39"/>
                </a:lnTo>
                <a:lnTo>
                  <a:pt x="131" y="40"/>
                </a:lnTo>
                <a:lnTo>
                  <a:pt x="135" y="39"/>
                </a:lnTo>
                <a:lnTo>
                  <a:pt x="140" y="38"/>
                </a:lnTo>
                <a:lnTo>
                  <a:pt x="146" y="36"/>
                </a:lnTo>
                <a:lnTo>
                  <a:pt x="149" y="43"/>
                </a:lnTo>
                <a:lnTo>
                  <a:pt x="153" y="52"/>
                </a:lnTo>
                <a:lnTo>
                  <a:pt x="157" y="64"/>
                </a:lnTo>
                <a:lnTo>
                  <a:pt x="160" y="74"/>
                </a:lnTo>
                <a:lnTo>
                  <a:pt x="133" y="88"/>
                </a:lnTo>
                <a:lnTo>
                  <a:pt x="106" y="102"/>
                </a:lnTo>
                <a:lnTo>
                  <a:pt x="92" y="107"/>
                </a:lnTo>
                <a:lnTo>
                  <a:pt x="76" y="113"/>
                </a:lnTo>
                <a:lnTo>
                  <a:pt x="62" y="116"/>
                </a:lnTo>
                <a:lnTo>
                  <a:pt x="47" y="117"/>
                </a:lnTo>
                <a:lnTo>
                  <a:pt x="32" y="99"/>
                </a:lnTo>
                <a:lnTo>
                  <a:pt x="21" y="83"/>
                </a:lnTo>
                <a:lnTo>
                  <a:pt x="10" y="69"/>
                </a:lnTo>
                <a:lnTo>
                  <a:pt x="0" y="55"/>
                </a:lnTo>
                <a:lnTo>
                  <a:pt x="13" y="48"/>
                </a:lnTo>
                <a:lnTo>
                  <a:pt x="41" y="32"/>
                </a:lnTo>
                <a:lnTo>
                  <a:pt x="60" y="23"/>
                </a:lnTo>
                <a:lnTo>
                  <a:pt x="78" y="14"/>
                </a:lnTo>
                <a:lnTo>
                  <a:pt x="97" y="6"/>
                </a:lnTo>
                <a:lnTo>
                  <a:pt x="114" y="0"/>
                </a:lnTo>
              </a:path>
            </a:pathLst>
          </a:custGeom>
          <a:solidFill>
            <a:srgbClr val="007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403" name="Freeform 355"/>
          <p:cNvSpPr>
            <a:spLocks/>
          </p:cNvSpPr>
          <p:nvPr>
            <p:custDataLst>
              <p:tags r:id="rId258"/>
            </p:custDataLst>
          </p:nvPr>
        </p:nvSpPr>
        <p:spPr bwMode="auto">
          <a:xfrm>
            <a:off x="4557713" y="2201472"/>
            <a:ext cx="411162" cy="458390"/>
          </a:xfrm>
          <a:custGeom>
            <a:avLst/>
            <a:gdLst/>
            <a:ahLst/>
            <a:cxnLst>
              <a:cxn ang="0">
                <a:pos x="742" y="5"/>
              </a:cxn>
              <a:cxn ang="0">
                <a:pos x="765" y="23"/>
              </a:cxn>
              <a:cxn ang="0">
                <a:pos x="803" y="30"/>
              </a:cxn>
              <a:cxn ang="0">
                <a:pos x="814" y="55"/>
              </a:cxn>
              <a:cxn ang="0">
                <a:pos x="835" y="109"/>
              </a:cxn>
              <a:cxn ang="0">
                <a:pos x="837" y="187"/>
              </a:cxn>
              <a:cxn ang="0">
                <a:pos x="857" y="243"/>
              </a:cxn>
              <a:cxn ang="0">
                <a:pos x="922" y="292"/>
              </a:cxn>
              <a:cxn ang="0">
                <a:pos x="879" y="361"/>
              </a:cxn>
              <a:cxn ang="0">
                <a:pos x="851" y="410"/>
              </a:cxn>
              <a:cxn ang="0">
                <a:pos x="809" y="635"/>
              </a:cxn>
              <a:cxn ang="0">
                <a:pos x="770" y="677"/>
              </a:cxn>
              <a:cxn ang="0">
                <a:pos x="763" y="721"/>
              </a:cxn>
              <a:cxn ang="0">
                <a:pos x="745" y="735"/>
              </a:cxn>
              <a:cxn ang="0">
                <a:pos x="723" y="798"/>
              </a:cxn>
              <a:cxn ang="0">
                <a:pos x="692" y="877"/>
              </a:cxn>
              <a:cxn ang="0">
                <a:pos x="662" y="903"/>
              </a:cxn>
              <a:cxn ang="0">
                <a:pos x="664" y="934"/>
              </a:cxn>
              <a:cxn ang="0">
                <a:pos x="686" y="939"/>
              </a:cxn>
              <a:cxn ang="0">
                <a:pos x="709" y="950"/>
              </a:cxn>
              <a:cxn ang="0">
                <a:pos x="742" y="971"/>
              </a:cxn>
              <a:cxn ang="0">
                <a:pos x="756" y="1007"/>
              </a:cxn>
              <a:cxn ang="0">
                <a:pos x="775" y="1043"/>
              </a:cxn>
              <a:cxn ang="0">
                <a:pos x="803" y="1053"/>
              </a:cxn>
              <a:cxn ang="0">
                <a:pos x="809" y="1094"/>
              </a:cxn>
              <a:cxn ang="0">
                <a:pos x="718" y="1115"/>
              </a:cxn>
              <a:cxn ang="0">
                <a:pos x="687" y="1157"/>
              </a:cxn>
              <a:cxn ang="0">
                <a:pos x="598" y="1170"/>
              </a:cxn>
              <a:cxn ang="0">
                <a:pos x="515" y="1158"/>
              </a:cxn>
              <a:cxn ang="0">
                <a:pos x="464" y="1123"/>
              </a:cxn>
              <a:cxn ang="0">
                <a:pos x="390" y="1125"/>
              </a:cxn>
              <a:cxn ang="0">
                <a:pos x="319" y="1120"/>
              </a:cxn>
              <a:cxn ang="0">
                <a:pos x="297" y="1104"/>
              </a:cxn>
              <a:cxn ang="0">
                <a:pos x="294" y="1075"/>
              </a:cxn>
              <a:cxn ang="0">
                <a:pos x="274" y="1029"/>
              </a:cxn>
              <a:cxn ang="0">
                <a:pos x="216" y="974"/>
              </a:cxn>
              <a:cxn ang="0">
                <a:pos x="193" y="925"/>
              </a:cxn>
              <a:cxn ang="0">
                <a:pos x="152" y="903"/>
              </a:cxn>
              <a:cxn ang="0">
                <a:pos x="120" y="846"/>
              </a:cxn>
              <a:cxn ang="0">
                <a:pos x="97" y="788"/>
              </a:cxn>
              <a:cxn ang="0">
                <a:pos x="65" y="758"/>
              </a:cxn>
              <a:cxn ang="0">
                <a:pos x="33" y="676"/>
              </a:cxn>
              <a:cxn ang="0">
                <a:pos x="4" y="611"/>
              </a:cxn>
              <a:cxn ang="0">
                <a:pos x="18" y="577"/>
              </a:cxn>
              <a:cxn ang="0">
                <a:pos x="29" y="521"/>
              </a:cxn>
              <a:cxn ang="0">
                <a:pos x="64" y="474"/>
              </a:cxn>
              <a:cxn ang="0">
                <a:pos x="113" y="222"/>
              </a:cxn>
              <a:cxn ang="0">
                <a:pos x="123" y="179"/>
              </a:cxn>
              <a:cxn ang="0">
                <a:pos x="153" y="171"/>
              </a:cxn>
              <a:cxn ang="0">
                <a:pos x="160" y="122"/>
              </a:cxn>
              <a:cxn ang="0">
                <a:pos x="159" y="67"/>
              </a:cxn>
              <a:cxn ang="0">
                <a:pos x="679" y="69"/>
              </a:cxn>
            </a:cxnLst>
            <a:rect l="0" t="0" r="r" b="b"/>
            <a:pathLst>
              <a:path w="943" h="1172">
                <a:moveTo>
                  <a:pt x="711" y="30"/>
                </a:moveTo>
                <a:lnTo>
                  <a:pt x="715" y="25"/>
                </a:lnTo>
                <a:lnTo>
                  <a:pt x="728" y="15"/>
                </a:lnTo>
                <a:lnTo>
                  <a:pt x="735" y="9"/>
                </a:lnTo>
                <a:lnTo>
                  <a:pt x="742" y="5"/>
                </a:lnTo>
                <a:lnTo>
                  <a:pt x="747" y="1"/>
                </a:lnTo>
                <a:lnTo>
                  <a:pt x="751" y="0"/>
                </a:lnTo>
                <a:lnTo>
                  <a:pt x="755" y="10"/>
                </a:lnTo>
                <a:lnTo>
                  <a:pt x="759" y="17"/>
                </a:lnTo>
                <a:lnTo>
                  <a:pt x="765" y="23"/>
                </a:lnTo>
                <a:lnTo>
                  <a:pt x="769" y="26"/>
                </a:lnTo>
                <a:lnTo>
                  <a:pt x="776" y="28"/>
                </a:lnTo>
                <a:lnTo>
                  <a:pt x="784" y="30"/>
                </a:lnTo>
                <a:lnTo>
                  <a:pt x="792" y="30"/>
                </a:lnTo>
                <a:lnTo>
                  <a:pt x="803" y="30"/>
                </a:lnTo>
                <a:lnTo>
                  <a:pt x="804" y="40"/>
                </a:lnTo>
                <a:lnTo>
                  <a:pt x="808" y="48"/>
                </a:lnTo>
                <a:lnTo>
                  <a:pt x="810" y="51"/>
                </a:lnTo>
                <a:lnTo>
                  <a:pt x="812" y="53"/>
                </a:lnTo>
                <a:lnTo>
                  <a:pt x="814" y="55"/>
                </a:lnTo>
                <a:lnTo>
                  <a:pt x="816" y="55"/>
                </a:lnTo>
                <a:lnTo>
                  <a:pt x="823" y="76"/>
                </a:lnTo>
                <a:lnTo>
                  <a:pt x="830" y="94"/>
                </a:lnTo>
                <a:lnTo>
                  <a:pt x="832" y="102"/>
                </a:lnTo>
                <a:lnTo>
                  <a:pt x="835" y="109"/>
                </a:lnTo>
                <a:lnTo>
                  <a:pt x="836" y="116"/>
                </a:lnTo>
                <a:lnTo>
                  <a:pt x="837" y="123"/>
                </a:lnTo>
                <a:lnTo>
                  <a:pt x="836" y="150"/>
                </a:lnTo>
                <a:lnTo>
                  <a:pt x="836" y="175"/>
                </a:lnTo>
                <a:lnTo>
                  <a:pt x="837" y="187"/>
                </a:lnTo>
                <a:lnTo>
                  <a:pt x="838" y="200"/>
                </a:lnTo>
                <a:lnTo>
                  <a:pt x="842" y="211"/>
                </a:lnTo>
                <a:lnTo>
                  <a:pt x="845" y="222"/>
                </a:lnTo>
                <a:lnTo>
                  <a:pt x="851" y="232"/>
                </a:lnTo>
                <a:lnTo>
                  <a:pt x="857" y="243"/>
                </a:lnTo>
                <a:lnTo>
                  <a:pt x="866" y="253"/>
                </a:lnTo>
                <a:lnTo>
                  <a:pt x="876" y="264"/>
                </a:lnTo>
                <a:lnTo>
                  <a:pt x="889" y="273"/>
                </a:lnTo>
                <a:lnTo>
                  <a:pt x="904" y="283"/>
                </a:lnTo>
                <a:lnTo>
                  <a:pt x="922" y="292"/>
                </a:lnTo>
                <a:lnTo>
                  <a:pt x="943" y="301"/>
                </a:lnTo>
                <a:lnTo>
                  <a:pt x="928" y="314"/>
                </a:lnTo>
                <a:lnTo>
                  <a:pt x="913" y="328"/>
                </a:lnTo>
                <a:lnTo>
                  <a:pt x="896" y="344"/>
                </a:lnTo>
                <a:lnTo>
                  <a:pt x="879" y="361"/>
                </a:lnTo>
                <a:lnTo>
                  <a:pt x="871" y="370"/>
                </a:lnTo>
                <a:lnTo>
                  <a:pt x="865" y="380"/>
                </a:lnTo>
                <a:lnTo>
                  <a:pt x="859" y="389"/>
                </a:lnTo>
                <a:lnTo>
                  <a:pt x="854" y="399"/>
                </a:lnTo>
                <a:lnTo>
                  <a:pt x="851" y="410"/>
                </a:lnTo>
                <a:lnTo>
                  <a:pt x="849" y="420"/>
                </a:lnTo>
                <a:lnTo>
                  <a:pt x="848" y="432"/>
                </a:lnTo>
                <a:lnTo>
                  <a:pt x="851" y="443"/>
                </a:lnTo>
                <a:lnTo>
                  <a:pt x="830" y="616"/>
                </a:lnTo>
                <a:lnTo>
                  <a:pt x="809" y="635"/>
                </a:lnTo>
                <a:lnTo>
                  <a:pt x="787" y="652"/>
                </a:lnTo>
                <a:lnTo>
                  <a:pt x="782" y="658"/>
                </a:lnTo>
                <a:lnTo>
                  <a:pt x="778" y="663"/>
                </a:lnTo>
                <a:lnTo>
                  <a:pt x="774" y="670"/>
                </a:lnTo>
                <a:lnTo>
                  <a:pt x="770" y="677"/>
                </a:lnTo>
                <a:lnTo>
                  <a:pt x="767" y="686"/>
                </a:lnTo>
                <a:lnTo>
                  <a:pt x="766" y="696"/>
                </a:lnTo>
                <a:lnTo>
                  <a:pt x="764" y="708"/>
                </a:lnTo>
                <a:lnTo>
                  <a:pt x="764" y="721"/>
                </a:lnTo>
                <a:lnTo>
                  <a:pt x="763" y="721"/>
                </a:lnTo>
                <a:lnTo>
                  <a:pt x="758" y="721"/>
                </a:lnTo>
                <a:lnTo>
                  <a:pt x="755" y="723"/>
                </a:lnTo>
                <a:lnTo>
                  <a:pt x="752" y="726"/>
                </a:lnTo>
                <a:lnTo>
                  <a:pt x="748" y="730"/>
                </a:lnTo>
                <a:lnTo>
                  <a:pt x="745" y="735"/>
                </a:lnTo>
                <a:lnTo>
                  <a:pt x="741" y="743"/>
                </a:lnTo>
                <a:lnTo>
                  <a:pt x="736" y="752"/>
                </a:lnTo>
                <a:lnTo>
                  <a:pt x="732" y="766"/>
                </a:lnTo>
                <a:lnTo>
                  <a:pt x="728" y="780"/>
                </a:lnTo>
                <a:lnTo>
                  <a:pt x="723" y="798"/>
                </a:lnTo>
                <a:lnTo>
                  <a:pt x="719" y="821"/>
                </a:lnTo>
                <a:lnTo>
                  <a:pt x="714" y="845"/>
                </a:lnTo>
                <a:lnTo>
                  <a:pt x="711" y="875"/>
                </a:lnTo>
                <a:lnTo>
                  <a:pt x="701" y="875"/>
                </a:lnTo>
                <a:lnTo>
                  <a:pt x="692" y="877"/>
                </a:lnTo>
                <a:lnTo>
                  <a:pt x="684" y="880"/>
                </a:lnTo>
                <a:lnTo>
                  <a:pt x="677" y="884"/>
                </a:lnTo>
                <a:lnTo>
                  <a:pt x="670" y="890"/>
                </a:lnTo>
                <a:lnTo>
                  <a:pt x="665" y="896"/>
                </a:lnTo>
                <a:lnTo>
                  <a:pt x="662" y="903"/>
                </a:lnTo>
                <a:lnTo>
                  <a:pt x="659" y="910"/>
                </a:lnTo>
                <a:lnTo>
                  <a:pt x="658" y="917"/>
                </a:lnTo>
                <a:lnTo>
                  <a:pt x="658" y="924"/>
                </a:lnTo>
                <a:lnTo>
                  <a:pt x="661" y="929"/>
                </a:lnTo>
                <a:lnTo>
                  <a:pt x="664" y="934"/>
                </a:lnTo>
                <a:lnTo>
                  <a:pt x="666" y="936"/>
                </a:lnTo>
                <a:lnTo>
                  <a:pt x="669" y="937"/>
                </a:lnTo>
                <a:lnTo>
                  <a:pt x="673" y="938"/>
                </a:lnTo>
                <a:lnTo>
                  <a:pt x="677" y="939"/>
                </a:lnTo>
                <a:lnTo>
                  <a:pt x="686" y="939"/>
                </a:lnTo>
                <a:lnTo>
                  <a:pt x="697" y="936"/>
                </a:lnTo>
                <a:lnTo>
                  <a:pt x="700" y="941"/>
                </a:lnTo>
                <a:lnTo>
                  <a:pt x="702" y="944"/>
                </a:lnTo>
                <a:lnTo>
                  <a:pt x="706" y="947"/>
                </a:lnTo>
                <a:lnTo>
                  <a:pt x="709" y="950"/>
                </a:lnTo>
                <a:lnTo>
                  <a:pt x="717" y="955"/>
                </a:lnTo>
                <a:lnTo>
                  <a:pt x="724" y="958"/>
                </a:lnTo>
                <a:lnTo>
                  <a:pt x="731" y="963"/>
                </a:lnTo>
                <a:lnTo>
                  <a:pt x="739" y="968"/>
                </a:lnTo>
                <a:lnTo>
                  <a:pt x="742" y="971"/>
                </a:lnTo>
                <a:lnTo>
                  <a:pt x="745" y="975"/>
                </a:lnTo>
                <a:lnTo>
                  <a:pt x="747" y="981"/>
                </a:lnTo>
                <a:lnTo>
                  <a:pt x="751" y="986"/>
                </a:lnTo>
                <a:lnTo>
                  <a:pt x="753" y="996"/>
                </a:lnTo>
                <a:lnTo>
                  <a:pt x="756" y="1007"/>
                </a:lnTo>
                <a:lnTo>
                  <a:pt x="759" y="1018"/>
                </a:lnTo>
                <a:lnTo>
                  <a:pt x="765" y="1028"/>
                </a:lnTo>
                <a:lnTo>
                  <a:pt x="767" y="1033"/>
                </a:lnTo>
                <a:lnTo>
                  <a:pt x="771" y="1039"/>
                </a:lnTo>
                <a:lnTo>
                  <a:pt x="775" y="1043"/>
                </a:lnTo>
                <a:lnTo>
                  <a:pt x="779" y="1046"/>
                </a:lnTo>
                <a:lnTo>
                  <a:pt x="785" y="1049"/>
                </a:lnTo>
                <a:lnTo>
                  <a:pt x="790" y="1052"/>
                </a:lnTo>
                <a:lnTo>
                  <a:pt x="797" y="1053"/>
                </a:lnTo>
                <a:lnTo>
                  <a:pt x="803" y="1053"/>
                </a:lnTo>
                <a:lnTo>
                  <a:pt x="810" y="1063"/>
                </a:lnTo>
                <a:lnTo>
                  <a:pt x="814" y="1071"/>
                </a:lnTo>
                <a:lnTo>
                  <a:pt x="815" y="1076"/>
                </a:lnTo>
                <a:lnTo>
                  <a:pt x="815" y="1081"/>
                </a:lnTo>
                <a:lnTo>
                  <a:pt x="809" y="1094"/>
                </a:lnTo>
                <a:lnTo>
                  <a:pt x="797" y="1115"/>
                </a:lnTo>
                <a:lnTo>
                  <a:pt x="776" y="1115"/>
                </a:lnTo>
                <a:lnTo>
                  <a:pt x="755" y="1115"/>
                </a:lnTo>
                <a:lnTo>
                  <a:pt x="734" y="1115"/>
                </a:lnTo>
                <a:lnTo>
                  <a:pt x="718" y="1115"/>
                </a:lnTo>
                <a:lnTo>
                  <a:pt x="718" y="1127"/>
                </a:lnTo>
                <a:lnTo>
                  <a:pt x="718" y="1139"/>
                </a:lnTo>
                <a:lnTo>
                  <a:pt x="711" y="1143"/>
                </a:lnTo>
                <a:lnTo>
                  <a:pt x="697" y="1152"/>
                </a:lnTo>
                <a:lnTo>
                  <a:pt x="687" y="1157"/>
                </a:lnTo>
                <a:lnTo>
                  <a:pt x="675" y="1161"/>
                </a:lnTo>
                <a:lnTo>
                  <a:pt x="663" y="1163"/>
                </a:lnTo>
                <a:lnTo>
                  <a:pt x="651" y="1164"/>
                </a:lnTo>
                <a:lnTo>
                  <a:pt x="628" y="1166"/>
                </a:lnTo>
                <a:lnTo>
                  <a:pt x="598" y="1170"/>
                </a:lnTo>
                <a:lnTo>
                  <a:pt x="583" y="1171"/>
                </a:lnTo>
                <a:lnTo>
                  <a:pt x="566" y="1172"/>
                </a:lnTo>
                <a:lnTo>
                  <a:pt x="549" y="1172"/>
                </a:lnTo>
                <a:lnTo>
                  <a:pt x="531" y="1170"/>
                </a:lnTo>
                <a:lnTo>
                  <a:pt x="515" y="1158"/>
                </a:lnTo>
                <a:lnTo>
                  <a:pt x="496" y="1141"/>
                </a:lnTo>
                <a:lnTo>
                  <a:pt x="486" y="1133"/>
                </a:lnTo>
                <a:lnTo>
                  <a:pt x="475" y="1127"/>
                </a:lnTo>
                <a:lnTo>
                  <a:pt x="470" y="1124"/>
                </a:lnTo>
                <a:lnTo>
                  <a:pt x="464" y="1123"/>
                </a:lnTo>
                <a:lnTo>
                  <a:pt x="457" y="1121"/>
                </a:lnTo>
                <a:lnTo>
                  <a:pt x="452" y="1121"/>
                </a:lnTo>
                <a:lnTo>
                  <a:pt x="432" y="1122"/>
                </a:lnTo>
                <a:lnTo>
                  <a:pt x="405" y="1124"/>
                </a:lnTo>
                <a:lnTo>
                  <a:pt x="390" y="1125"/>
                </a:lnTo>
                <a:lnTo>
                  <a:pt x="375" y="1126"/>
                </a:lnTo>
                <a:lnTo>
                  <a:pt x="360" y="1126"/>
                </a:lnTo>
                <a:lnTo>
                  <a:pt x="345" y="1125"/>
                </a:lnTo>
                <a:lnTo>
                  <a:pt x="331" y="1123"/>
                </a:lnTo>
                <a:lnTo>
                  <a:pt x="319" y="1120"/>
                </a:lnTo>
                <a:lnTo>
                  <a:pt x="314" y="1117"/>
                </a:lnTo>
                <a:lnTo>
                  <a:pt x="308" y="1115"/>
                </a:lnTo>
                <a:lnTo>
                  <a:pt x="304" y="1112"/>
                </a:lnTo>
                <a:lnTo>
                  <a:pt x="300" y="1108"/>
                </a:lnTo>
                <a:lnTo>
                  <a:pt x="297" y="1104"/>
                </a:lnTo>
                <a:lnTo>
                  <a:pt x="295" y="1100"/>
                </a:lnTo>
                <a:lnTo>
                  <a:pt x="293" y="1095"/>
                </a:lnTo>
                <a:lnTo>
                  <a:pt x="292" y="1088"/>
                </a:lnTo>
                <a:lnTo>
                  <a:pt x="293" y="1082"/>
                </a:lnTo>
                <a:lnTo>
                  <a:pt x="294" y="1075"/>
                </a:lnTo>
                <a:lnTo>
                  <a:pt x="295" y="1068"/>
                </a:lnTo>
                <a:lnTo>
                  <a:pt x="298" y="1060"/>
                </a:lnTo>
                <a:lnTo>
                  <a:pt x="291" y="1049"/>
                </a:lnTo>
                <a:lnTo>
                  <a:pt x="283" y="1039"/>
                </a:lnTo>
                <a:lnTo>
                  <a:pt x="274" y="1029"/>
                </a:lnTo>
                <a:lnTo>
                  <a:pt x="265" y="1021"/>
                </a:lnTo>
                <a:lnTo>
                  <a:pt x="248" y="1005"/>
                </a:lnTo>
                <a:lnTo>
                  <a:pt x="230" y="990"/>
                </a:lnTo>
                <a:lnTo>
                  <a:pt x="222" y="983"/>
                </a:lnTo>
                <a:lnTo>
                  <a:pt x="216" y="974"/>
                </a:lnTo>
                <a:lnTo>
                  <a:pt x="209" y="966"/>
                </a:lnTo>
                <a:lnTo>
                  <a:pt x="204" y="957"/>
                </a:lnTo>
                <a:lnTo>
                  <a:pt x="198" y="947"/>
                </a:lnTo>
                <a:lnTo>
                  <a:pt x="195" y="937"/>
                </a:lnTo>
                <a:lnTo>
                  <a:pt x="193" y="925"/>
                </a:lnTo>
                <a:lnTo>
                  <a:pt x="193" y="911"/>
                </a:lnTo>
                <a:lnTo>
                  <a:pt x="180" y="911"/>
                </a:lnTo>
                <a:lnTo>
                  <a:pt x="169" y="909"/>
                </a:lnTo>
                <a:lnTo>
                  <a:pt x="160" y="907"/>
                </a:lnTo>
                <a:lnTo>
                  <a:pt x="152" y="903"/>
                </a:lnTo>
                <a:lnTo>
                  <a:pt x="146" y="898"/>
                </a:lnTo>
                <a:lnTo>
                  <a:pt x="140" y="893"/>
                </a:lnTo>
                <a:lnTo>
                  <a:pt x="136" y="887"/>
                </a:lnTo>
                <a:lnTo>
                  <a:pt x="131" y="880"/>
                </a:lnTo>
                <a:lnTo>
                  <a:pt x="120" y="846"/>
                </a:lnTo>
                <a:lnTo>
                  <a:pt x="106" y="806"/>
                </a:lnTo>
                <a:lnTo>
                  <a:pt x="105" y="801"/>
                </a:lnTo>
                <a:lnTo>
                  <a:pt x="103" y="796"/>
                </a:lnTo>
                <a:lnTo>
                  <a:pt x="99" y="792"/>
                </a:lnTo>
                <a:lnTo>
                  <a:pt x="97" y="788"/>
                </a:lnTo>
                <a:lnTo>
                  <a:pt x="90" y="780"/>
                </a:lnTo>
                <a:lnTo>
                  <a:pt x="83" y="774"/>
                </a:lnTo>
                <a:lnTo>
                  <a:pt x="75" y="768"/>
                </a:lnTo>
                <a:lnTo>
                  <a:pt x="69" y="761"/>
                </a:lnTo>
                <a:lnTo>
                  <a:pt x="65" y="758"/>
                </a:lnTo>
                <a:lnTo>
                  <a:pt x="63" y="753"/>
                </a:lnTo>
                <a:lnTo>
                  <a:pt x="61" y="749"/>
                </a:lnTo>
                <a:lnTo>
                  <a:pt x="60" y="745"/>
                </a:lnTo>
                <a:lnTo>
                  <a:pt x="46" y="711"/>
                </a:lnTo>
                <a:lnTo>
                  <a:pt x="33" y="676"/>
                </a:lnTo>
                <a:lnTo>
                  <a:pt x="25" y="659"/>
                </a:lnTo>
                <a:lnTo>
                  <a:pt x="17" y="643"/>
                </a:lnTo>
                <a:lnTo>
                  <a:pt x="9" y="628"/>
                </a:lnTo>
                <a:lnTo>
                  <a:pt x="0" y="616"/>
                </a:lnTo>
                <a:lnTo>
                  <a:pt x="4" y="611"/>
                </a:lnTo>
                <a:lnTo>
                  <a:pt x="8" y="607"/>
                </a:lnTo>
                <a:lnTo>
                  <a:pt x="11" y="602"/>
                </a:lnTo>
                <a:lnTo>
                  <a:pt x="13" y="598"/>
                </a:lnTo>
                <a:lnTo>
                  <a:pt x="16" y="587"/>
                </a:lnTo>
                <a:lnTo>
                  <a:pt x="18" y="577"/>
                </a:lnTo>
                <a:lnTo>
                  <a:pt x="19" y="567"/>
                </a:lnTo>
                <a:lnTo>
                  <a:pt x="20" y="555"/>
                </a:lnTo>
                <a:lnTo>
                  <a:pt x="23" y="543"/>
                </a:lnTo>
                <a:lnTo>
                  <a:pt x="26" y="529"/>
                </a:lnTo>
                <a:lnTo>
                  <a:pt x="29" y="521"/>
                </a:lnTo>
                <a:lnTo>
                  <a:pt x="33" y="514"/>
                </a:lnTo>
                <a:lnTo>
                  <a:pt x="37" y="507"/>
                </a:lnTo>
                <a:lnTo>
                  <a:pt x="41" y="500"/>
                </a:lnTo>
                <a:lnTo>
                  <a:pt x="52" y="487"/>
                </a:lnTo>
                <a:lnTo>
                  <a:pt x="64" y="474"/>
                </a:lnTo>
                <a:lnTo>
                  <a:pt x="78" y="464"/>
                </a:lnTo>
                <a:lnTo>
                  <a:pt x="90" y="456"/>
                </a:lnTo>
                <a:lnTo>
                  <a:pt x="102" y="449"/>
                </a:lnTo>
                <a:lnTo>
                  <a:pt x="113" y="443"/>
                </a:lnTo>
                <a:lnTo>
                  <a:pt x="113" y="222"/>
                </a:lnTo>
                <a:lnTo>
                  <a:pt x="113" y="212"/>
                </a:lnTo>
                <a:lnTo>
                  <a:pt x="113" y="200"/>
                </a:lnTo>
                <a:lnTo>
                  <a:pt x="113" y="188"/>
                </a:lnTo>
                <a:lnTo>
                  <a:pt x="113" y="178"/>
                </a:lnTo>
                <a:lnTo>
                  <a:pt x="123" y="179"/>
                </a:lnTo>
                <a:lnTo>
                  <a:pt x="131" y="179"/>
                </a:lnTo>
                <a:lnTo>
                  <a:pt x="139" y="178"/>
                </a:lnTo>
                <a:lnTo>
                  <a:pt x="146" y="176"/>
                </a:lnTo>
                <a:lnTo>
                  <a:pt x="150" y="174"/>
                </a:lnTo>
                <a:lnTo>
                  <a:pt x="153" y="171"/>
                </a:lnTo>
                <a:lnTo>
                  <a:pt x="157" y="167"/>
                </a:lnTo>
                <a:lnTo>
                  <a:pt x="159" y="162"/>
                </a:lnTo>
                <a:lnTo>
                  <a:pt x="160" y="152"/>
                </a:lnTo>
                <a:lnTo>
                  <a:pt x="160" y="137"/>
                </a:lnTo>
                <a:lnTo>
                  <a:pt x="160" y="122"/>
                </a:lnTo>
                <a:lnTo>
                  <a:pt x="159" y="105"/>
                </a:lnTo>
                <a:lnTo>
                  <a:pt x="159" y="93"/>
                </a:lnTo>
                <a:lnTo>
                  <a:pt x="159" y="83"/>
                </a:lnTo>
                <a:lnTo>
                  <a:pt x="159" y="76"/>
                </a:lnTo>
                <a:lnTo>
                  <a:pt x="159" y="67"/>
                </a:lnTo>
                <a:lnTo>
                  <a:pt x="664" y="73"/>
                </a:lnTo>
                <a:lnTo>
                  <a:pt x="668" y="74"/>
                </a:lnTo>
                <a:lnTo>
                  <a:pt x="672" y="73"/>
                </a:lnTo>
                <a:lnTo>
                  <a:pt x="676" y="72"/>
                </a:lnTo>
                <a:lnTo>
                  <a:pt x="679" y="69"/>
                </a:lnTo>
                <a:lnTo>
                  <a:pt x="688" y="63"/>
                </a:lnTo>
                <a:lnTo>
                  <a:pt x="695" y="54"/>
                </a:lnTo>
                <a:lnTo>
                  <a:pt x="707" y="38"/>
                </a:lnTo>
                <a:lnTo>
                  <a:pt x="711" y="3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404" name="Freeform 356"/>
          <p:cNvSpPr>
            <a:spLocks/>
          </p:cNvSpPr>
          <p:nvPr>
            <p:custDataLst>
              <p:tags r:id="rId259"/>
            </p:custDataLst>
          </p:nvPr>
        </p:nvSpPr>
        <p:spPr bwMode="auto">
          <a:xfrm>
            <a:off x="5041903" y="2456260"/>
            <a:ext cx="244475" cy="323850"/>
          </a:xfrm>
          <a:custGeom>
            <a:avLst/>
            <a:gdLst/>
            <a:ahLst/>
            <a:cxnLst>
              <a:cxn ang="0">
                <a:pos x="98" y="62"/>
              </a:cxn>
              <a:cxn ang="0">
                <a:pos x="112" y="56"/>
              </a:cxn>
              <a:cxn ang="0">
                <a:pos x="129" y="69"/>
              </a:cxn>
              <a:cxn ang="0">
                <a:pos x="149" y="85"/>
              </a:cxn>
              <a:cxn ang="0">
                <a:pos x="171" y="92"/>
              </a:cxn>
              <a:cxn ang="0">
                <a:pos x="215" y="88"/>
              </a:cxn>
              <a:cxn ang="0">
                <a:pos x="257" y="82"/>
              </a:cxn>
              <a:cxn ang="0">
                <a:pos x="291" y="79"/>
              </a:cxn>
              <a:cxn ang="0">
                <a:pos x="301" y="74"/>
              </a:cxn>
              <a:cxn ang="0">
                <a:pos x="301" y="68"/>
              </a:cxn>
              <a:cxn ang="0">
                <a:pos x="355" y="63"/>
              </a:cxn>
              <a:cxn ang="0">
                <a:pos x="434" y="45"/>
              </a:cxn>
              <a:cxn ang="0">
                <a:pos x="479" y="28"/>
              </a:cxn>
              <a:cxn ang="0">
                <a:pos x="514" y="8"/>
              </a:cxn>
              <a:cxn ang="0">
                <a:pos x="547" y="31"/>
              </a:cxn>
              <a:cxn ang="0">
                <a:pos x="555" y="57"/>
              </a:cxn>
              <a:cxn ang="0">
                <a:pos x="552" y="113"/>
              </a:cxn>
              <a:cxn ang="0">
                <a:pos x="532" y="174"/>
              </a:cxn>
              <a:cxn ang="0">
                <a:pos x="502" y="231"/>
              </a:cxn>
              <a:cxn ang="0">
                <a:pos x="447" y="321"/>
              </a:cxn>
              <a:cxn ang="0">
                <a:pos x="423" y="375"/>
              </a:cxn>
              <a:cxn ang="0">
                <a:pos x="410" y="415"/>
              </a:cxn>
              <a:cxn ang="0">
                <a:pos x="379" y="473"/>
              </a:cxn>
              <a:cxn ang="0">
                <a:pos x="330" y="531"/>
              </a:cxn>
              <a:cxn ang="0">
                <a:pos x="288" y="566"/>
              </a:cxn>
              <a:cxn ang="0">
                <a:pos x="239" y="600"/>
              </a:cxn>
              <a:cxn ang="0">
                <a:pos x="168" y="651"/>
              </a:cxn>
              <a:cxn ang="0">
                <a:pos x="143" y="680"/>
              </a:cxn>
              <a:cxn ang="0">
                <a:pos x="131" y="700"/>
              </a:cxn>
              <a:cxn ang="0">
                <a:pos x="116" y="717"/>
              </a:cxn>
              <a:cxn ang="0">
                <a:pos x="71" y="745"/>
              </a:cxn>
              <a:cxn ang="0">
                <a:pos x="19" y="801"/>
              </a:cxn>
              <a:cxn ang="0">
                <a:pos x="2" y="564"/>
              </a:cxn>
              <a:cxn ang="0">
                <a:pos x="3" y="554"/>
              </a:cxn>
              <a:cxn ang="0">
                <a:pos x="27" y="533"/>
              </a:cxn>
              <a:cxn ang="0">
                <a:pos x="42" y="516"/>
              </a:cxn>
              <a:cxn ang="0">
                <a:pos x="60" y="497"/>
              </a:cxn>
              <a:cxn ang="0">
                <a:pos x="111" y="480"/>
              </a:cxn>
              <a:cxn ang="0">
                <a:pos x="119" y="470"/>
              </a:cxn>
              <a:cxn ang="0">
                <a:pos x="129" y="452"/>
              </a:cxn>
              <a:cxn ang="0">
                <a:pos x="152" y="440"/>
              </a:cxn>
              <a:cxn ang="0">
                <a:pos x="174" y="439"/>
              </a:cxn>
              <a:cxn ang="0">
                <a:pos x="196" y="439"/>
              </a:cxn>
              <a:cxn ang="0">
                <a:pos x="228" y="429"/>
              </a:cxn>
              <a:cxn ang="0">
                <a:pos x="251" y="405"/>
              </a:cxn>
              <a:cxn ang="0">
                <a:pos x="265" y="379"/>
              </a:cxn>
              <a:cxn ang="0">
                <a:pos x="296" y="347"/>
              </a:cxn>
              <a:cxn ang="0">
                <a:pos x="354" y="293"/>
              </a:cxn>
              <a:cxn ang="0">
                <a:pos x="377" y="266"/>
              </a:cxn>
              <a:cxn ang="0">
                <a:pos x="324" y="246"/>
              </a:cxn>
              <a:cxn ang="0">
                <a:pos x="257" y="228"/>
              </a:cxn>
              <a:cxn ang="0">
                <a:pos x="184" y="209"/>
              </a:cxn>
              <a:cxn ang="0">
                <a:pos x="149" y="187"/>
              </a:cxn>
              <a:cxn ang="0">
                <a:pos x="112" y="154"/>
              </a:cxn>
              <a:cxn ang="0">
                <a:pos x="89" y="121"/>
              </a:cxn>
              <a:cxn ang="0">
                <a:pos x="77" y="80"/>
              </a:cxn>
              <a:cxn ang="0">
                <a:pos x="65" y="87"/>
              </a:cxn>
              <a:cxn ang="0">
                <a:pos x="84" y="68"/>
              </a:cxn>
            </a:cxnLst>
            <a:rect l="0" t="0" r="r" b="b"/>
            <a:pathLst>
              <a:path w="556" h="819">
                <a:moveTo>
                  <a:pt x="84" y="68"/>
                </a:moveTo>
                <a:lnTo>
                  <a:pt x="90" y="66"/>
                </a:lnTo>
                <a:lnTo>
                  <a:pt x="98" y="62"/>
                </a:lnTo>
                <a:lnTo>
                  <a:pt x="103" y="59"/>
                </a:lnTo>
                <a:lnTo>
                  <a:pt x="108" y="58"/>
                </a:lnTo>
                <a:lnTo>
                  <a:pt x="112" y="56"/>
                </a:lnTo>
                <a:lnTo>
                  <a:pt x="118" y="56"/>
                </a:lnTo>
                <a:lnTo>
                  <a:pt x="122" y="62"/>
                </a:lnTo>
                <a:lnTo>
                  <a:pt x="129" y="69"/>
                </a:lnTo>
                <a:lnTo>
                  <a:pt x="134" y="75"/>
                </a:lnTo>
                <a:lnTo>
                  <a:pt x="141" y="81"/>
                </a:lnTo>
                <a:lnTo>
                  <a:pt x="149" y="85"/>
                </a:lnTo>
                <a:lnTo>
                  <a:pt x="155" y="89"/>
                </a:lnTo>
                <a:lnTo>
                  <a:pt x="163" y="91"/>
                </a:lnTo>
                <a:lnTo>
                  <a:pt x="171" y="92"/>
                </a:lnTo>
                <a:lnTo>
                  <a:pt x="186" y="91"/>
                </a:lnTo>
                <a:lnTo>
                  <a:pt x="200" y="90"/>
                </a:lnTo>
                <a:lnTo>
                  <a:pt x="215" y="88"/>
                </a:lnTo>
                <a:lnTo>
                  <a:pt x="230" y="86"/>
                </a:lnTo>
                <a:lnTo>
                  <a:pt x="244" y="84"/>
                </a:lnTo>
                <a:lnTo>
                  <a:pt x="257" y="82"/>
                </a:lnTo>
                <a:lnTo>
                  <a:pt x="271" y="80"/>
                </a:lnTo>
                <a:lnTo>
                  <a:pt x="284" y="80"/>
                </a:lnTo>
                <a:lnTo>
                  <a:pt x="291" y="79"/>
                </a:lnTo>
                <a:lnTo>
                  <a:pt x="297" y="78"/>
                </a:lnTo>
                <a:lnTo>
                  <a:pt x="300" y="76"/>
                </a:lnTo>
                <a:lnTo>
                  <a:pt x="301" y="74"/>
                </a:lnTo>
                <a:lnTo>
                  <a:pt x="301" y="72"/>
                </a:lnTo>
                <a:lnTo>
                  <a:pt x="301" y="70"/>
                </a:lnTo>
                <a:lnTo>
                  <a:pt x="301" y="68"/>
                </a:lnTo>
                <a:lnTo>
                  <a:pt x="303" y="68"/>
                </a:lnTo>
                <a:lnTo>
                  <a:pt x="327" y="67"/>
                </a:lnTo>
                <a:lnTo>
                  <a:pt x="355" y="63"/>
                </a:lnTo>
                <a:lnTo>
                  <a:pt x="386" y="58"/>
                </a:lnTo>
                <a:lnTo>
                  <a:pt x="418" y="50"/>
                </a:lnTo>
                <a:lnTo>
                  <a:pt x="434" y="45"/>
                </a:lnTo>
                <a:lnTo>
                  <a:pt x="450" y="40"/>
                </a:lnTo>
                <a:lnTo>
                  <a:pt x="465" y="34"/>
                </a:lnTo>
                <a:lnTo>
                  <a:pt x="479" y="28"/>
                </a:lnTo>
                <a:lnTo>
                  <a:pt x="492" y="22"/>
                </a:lnTo>
                <a:lnTo>
                  <a:pt x="504" y="15"/>
                </a:lnTo>
                <a:lnTo>
                  <a:pt x="514" y="8"/>
                </a:lnTo>
                <a:lnTo>
                  <a:pt x="523" y="0"/>
                </a:lnTo>
                <a:lnTo>
                  <a:pt x="536" y="17"/>
                </a:lnTo>
                <a:lnTo>
                  <a:pt x="547" y="31"/>
                </a:lnTo>
                <a:lnTo>
                  <a:pt x="551" y="39"/>
                </a:lnTo>
                <a:lnTo>
                  <a:pt x="554" y="48"/>
                </a:lnTo>
                <a:lnTo>
                  <a:pt x="555" y="57"/>
                </a:lnTo>
                <a:lnTo>
                  <a:pt x="556" y="68"/>
                </a:lnTo>
                <a:lnTo>
                  <a:pt x="555" y="90"/>
                </a:lnTo>
                <a:lnTo>
                  <a:pt x="552" y="113"/>
                </a:lnTo>
                <a:lnTo>
                  <a:pt x="546" y="133"/>
                </a:lnTo>
                <a:lnTo>
                  <a:pt x="540" y="153"/>
                </a:lnTo>
                <a:lnTo>
                  <a:pt x="532" y="174"/>
                </a:lnTo>
                <a:lnTo>
                  <a:pt x="523" y="193"/>
                </a:lnTo>
                <a:lnTo>
                  <a:pt x="512" y="212"/>
                </a:lnTo>
                <a:lnTo>
                  <a:pt x="502" y="231"/>
                </a:lnTo>
                <a:lnTo>
                  <a:pt x="479" y="267"/>
                </a:lnTo>
                <a:lnTo>
                  <a:pt x="458" y="303"/>
                </a:lnTo>
                <a:lnTo>
                  <a:pt x="447" y="321"/>
                </a:lnTo>
                <a:lnTo>
                  <a:pt x="439" y="339"/>
                </a:lnTo>
                <a:lnTo>
                  <a:pt x="430" y="357"/>
                </a:lnTo>
                <a:lnTo>
                  <a:pt x="423" y="375"/>
                </a:lnTo>
                <a:lnTo>
                  <a:pt x="419" y="390"/>
                </a:lnTo>
                <a:lnTo>
                  <a:pt x="414" y="403"/>
                </a:lnTo>
                <a:lnTo>
                  <a:pt x="410" y="415"/>
                </a:lnTo>
                <a:lnTo>
                  <a:pt x="404" y="427"/>
                </a:lnTo>
                <a:lnTo>
                  <a:pt x="392" y="452"/>
                </a:lnTo>
                <a:lnTo>
                  <a:pt x="379" y="473"/>
                </a:lnTo>
                <a:lnTo>
                  <a:pt x="364" y="495"/>
                </a:lnTo>
                <a:lnTo>
                  <a:pt x="347" y="514"/>
                </a:lnTo>
                <a:lnTo>
                  <a:pt x="330" y="531"/>
                </a:lnTo>
                <a:lnTo>
                  <a:pt x="310" y="549"/>
                </a:lnTo>
                <a:lnTo>
                  <a:pt x="300" y="558"/>
                </a:lnTo>
                <a:lnTo>
                  <a:pt x="288" y="566"/>
                </a:lnTo>
                <a:lnTo>
                  <a:pt x="277" y="575"/>
                </a:lnTo>
                <a:lnTo>
                  <a:pt x="264" y="583"/>
                </a:lnTo>
                <a:lnTo>
                  <a:pt x="239" y="600"/>
                </a:lnTo>
                <a:lnTo>
                  <a:pt x="213" y="617"/>
                </a:lnTo>
                <a:lnTo>
                  <a:pt x="189" y="634"/>
                </a:lnTo>
                <a:lnTo>
                  <a:pt x="168" y="651"/>
                </a:lnTo>
                <a:lnTo>
                  <a:pt x="159" y="661"/>
                </a:lnTo>
                <a:lnTo>
                  <a:pt x="150" y="670"/>
                </a:lnTo>
                <a:lnTo>
                  <a:pt x="143" y="680"/>
                </a:lnTo>
                <a:lnTo>
                  <a:pt x="138" y="690"/>
                </a:lnTo>
                <a:lnTo>
                  <a:pt x="134" y="695"/>
                </a:lnTo>
                <a:lnTo>
                  <a:pt x="131" y="700"/>
                </a:lnTo>
                <a:lnTo>
                  <a:pt x="128" y="705"/>
                </a:lnTo>
                <a:lnTo>
                  <a:pt x="125" y="709"/>
                </a:lnTo>
                <a:lnTo>
                  <a:pt x="116" y="717"/>
                </a:lnTo>
                <a:lnTo>
                  <a:pt x="107" y="723"/>
                </a:lnTo>
                <a:lnTo>
                  <a:pt x="88" y="733"/>
                </a:lnTo>
                <a:lnTo>
                  <a:pt x="71" y="745"/>
                </a:lnTo>
                <a:lnTo>
                  <a:pt x="52" y="763"/>
                </a:lnTo>
                <a:lnTo>
                  <a:pt x="36" y="783"/>
                </a:lnTo>
                <a:lnTo>
                  <a:pt x="19" y="801"/>
                </a:lnTo>
                <a:lnTo>
                  <a:pt x="5" y="819"/>
                </a:lnTo>
                <a:lnTo>
                  <a:pt x="5" y="567"/>
                </a:lnTo>
                <a:lnTo>
                  <a:pt x="2" y="564"/>
                </a:lnTo>
                <a:lnTo>
                  <a:pt x="0" y="560"/>
                </a:lnTo>
                <a:lnTo>
                  <a:pt x="0" y="557"/>
                </a:lnTo>
                <a:lnTo>
                  <a:pt x="3" y="554"/>
                </a:lnTo>
                <a:lnTo>
                  <a:pt x="8" y="547"/>
                </a:lnTo>
                <a:lnTo>
                  <a:pt x="17" y="540"/>
                </a:lnTo>
                <a:lnTo>
                  <a:pt x="27" y="533"/>
                </a:lnTo>
                <a:lnTo>
                  <a:pt x="36" y="525"/>
                </a:lnTo>
                <a:lnTo>
                  <a:pt x="39" y="521"/>
                </a:lnTo>
                <a:lnTo>
                  <a:pt x="42" y="516"/>
                </a:lnTo>
                <a:lnTo>
                  <a:pt x="43" y="511"/>
                </a:lnTo>
                <a:lnTo>
                  <a:pt x="44" y="505"/>
                </a:lnTo>
                <a:lnTo>
                  <a:pt x="60" y="497"/>
                </a:lnTo>
                <a:lnTo>
                  <a:pt x="75" y="490"/>
                </a:lnTo>
                <a:lnTo>
                  <a:pt x="92" y="485"/>
                </a:lnTo>
                <a:lnTo>
                  <a:pt x="111" y="480"/>
                </a:lnTo>
                <a:lnTo>
                  <a:pt x="114" y="479"/>
                </a:lnTo>
                <a:lnTo>
                  <a:pt x="116" y="475"/>
                </a:lnTo>
                <a:lnTo>
                  <a:pt x="119" y="470"/>
                </a:lnTo>
                <a:lnTo>
                  <a:pt x="121" y="464"/>
                </a:lnTo>
                <a:lnTo>
                  <a:pt x="125" y="458"/>
                </a:lnTo>
                <a:lnTo>
                  <a:pt x="129" y="452"/>
                </a:lnTo>
                <a:lnTo>
                  <a:pt x="132" y="447"/>
                </a:lnTo>
                <a:lnTo>
                  <a:pt x="138" y="444"/>
                </a:lnTo>
                <a:lnTo>
                  <a:pt x="152" y="440"/>
                </a:lnTo>
                <a:lnTo>
                  <a:pt x="162" y="439"/>
                </a:lnTo>
                <a:lnTo>
                  <a:pt x="168" y="438"/>
                </a:lnTo>
                <a:lnTo>
                  <a:pt x="174" y="439"/>
                </a:lnTo>
                <a:lnTo>
                  <a:pt x="179" y="439"/>
                </a:lnTo>
                <a:lnTo>
                  <a:pt x="186" y="440"/>
                </a:lnTo>
                <a:lnTo>
                  <a:pt x="196" y="439"/>
                </a:lnTo>
                <a:lnTo>
                  <a:pt x="210" y="438"/>
                </a:lnTo>
                <a:lnTo>
                  <a:pt x="220" y="434"/>
                </a:lnTo>
                <a:lnTo>
                  <a:pt x="228" y="429"/>
                </a:lnTo>
                <a:lnTo>
                  <a:pt x="235" y="424"/>
                </a:lnTo>
                <a:lnTo>
                  <a:pt x="241" y="418"/>
                </a:lnTo>
                <a:lnTo>
                  <a:pt x="251" y="405"/>
                </a:lnTo>
                <a:lnTo>
                  <a:pt x="257" y="394"/>
                </a:lnTo>
                <a:lnTo>
                  <a:pt x="261" y="387"/>
                </a:lnTo>
                <a:lnTo>
                  <a:pt x="265" y="379"/>
                </a:lnTo>
                <a:lnTo>
                  <a:pt x="272" y="371"/>
                </a:lnTo>
                <a:lnTo>
                  <a:pt x="278" y="363"/>
                </a:lnTo>
                <a:lnTo>
                  <a:pt x="296" y="347"/>
                </a:lnTo>
                <a:lnTo>
                  <a:pt x="316" y="329"/>
                </a:lnTo>
                <a:lnTo>
                  <a:pt x="335" y="310"/>
                </a:lnTo>
                <a:lnTo>
                  <a:pt x="354" y="293"/>
                </a:lnTo>
                <a:lnTo>
                  <a:pt x="363" y="284"/>
                </a:lnTo>
                <a:lnTo>
                  <a:pt x="370" y="276"/>
                </a:lnTo>
                <a:lnTo>
                  <a:pt x="377" y="266"/>
                </a:lnTo>
                <a:lnTo>
                  <a:pt x="384" y="258"/>
                </a:lnTo>
                <a:lnTo>
                  <a:pt x="351" y="252"/>
                </a:lnTo>
                <a:lnTo>
                  <a:pt x="324" y="246"/>
                </a:lnTo>
                <a:lnTo>
                  <a:pt x="300" y="240"/>
                </a:lnTo>
                <a:lnTo>
                  <a:pt x="278" y="234"/>
                </a:lnTo>
                <a:lnTo>
                  <a:pt x="257" y="228"/>
                </a:lnTo>
                <a:lnTo>
                  <a:pt x="235" y="223"/>
                </a:lnTo>
                <a:lnTo>
                  <a:pt x="211" y="216"/>
                </a:lnTo>
                <a:lnTo>
                  <a:pt x="184" y="209"/>
                </a:lnTo>
                <a:lnTo>
                  <a:pt x="177" y="205"/>
                </a:lnTo>
                <a:lnTo>
                  <a:pt x="165" y="198"/>
                </a:lnTo>
                <a:lnTo>
                  <a:pt x="149" y="187"/>
                </a:lnTo>
                <a:lnTo>
                  <a:pt x="131" y="173"/>
                </a:lnTo>
                <a:lnTo>
                  <a:pt x="121" y="164"/>
                </a:lnTo>
                <a:lnTo>
                  <a:pt x="112" y="154"/>
                </a:lnTo>
                <a:lnTo>
                  <a:pt x="104" y="144"/>
                </a:lnTo>
                <a:lnTo>
                  <a:pt x="96" y="133"/>
                </a:lnTo>
                <a:lnTo>
                  <a:pt x="89" y="121"/>
                </a:lnTo>
                <a:lnTo>
                  <a:pt x="84" y="109"/>
                </a:lnTo>
                <a:lnTo>
                  <a:pt x="79" y="94"/>
                </a:lnTo>
                <a:lnTo>
                  <a:pt x="77" y="80"/>
                </a:lnTo>
                <a:lnTo>
                  <a:pt x="69" y="86"/>
                </a:lnTo>
                <a:lnTo>
                  <a:pt x="64" y="88"/>
                </a:lnTo>
                <a:lnTo>
                  <a:pt x="65" y="87"/>
                </a:lnTo>
                <a:lnTo>
                  <a:pt x="69" y="83"/>
                </a:lnTo>
                <a:lnTo>
                  <a:pt x="78" y="73"/>
                </a:lnTo>
                <a:lnTo>
                  <a:pt x="84" y="6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405" name="Freeform 357"/>
          <p:cNvSpPr>
            <a:spLocks/>
          </p:cNvSpPr>
          <p:nvPr>
            <p:custDataLst>
              <p:tags r:id="rId260"/>
            </p:custDataLst>
          </p:nvPr>
        </p:nvSpPr>
        <p:spPr bwMode="auto">
          <a:xfrm>
            <a:off x="5049840" y="2446743"/>
            <a:ext cx="38100" cy="44053"/>
          </a:xfrm>
          <a:custGeom>
            <a:avLst/>
            <a:gdLst/>
            <a:ahLst/>
            <a:cxnLst>
              <a:cxn ang="0">
                <a:pos x="59" y="0"/>
              </a:cxn>
              <a:cxn ang="0">
                <a:pos x="56" y="2"/>
              </a:cxn>
              <a:cxn ang="0">
                <a:pos x="52" y="3"/>
              </a:cxn>
              <a:cxn ang="0">
                <a:pos x="46" y="3"/>
              </a:cxn>
              <a:cxn ang="0">
                <a:pos x="40" y="3"/>
              </a:cxn>
              <a:cxn ang="0">
                <a:pos x="33" y="3"/>
              </a:cxn>
              <a:cxn ang="0">
                <a:pos x="27" y="3"/>
              </a:cxn>
              <a:cxn ang="0">
                <a:pos x="23" y="4"/>
              </a:cxn>
              <a:cxn ang="0">
                <a:pos x="20" y="6"/>
              </a:cxn>
              <a:cxn ang="0">
                <a:pos x="16" y="9"/>
              </a:cxn>
              <a:cxn ang="0">
                <a:pos x="13" y="12"/>
              </a:cxn>
              <a:cxn ang="0">
                <a:pos x="11" y="15"/>
              </a:cxn>
              <a:cxn ang="0">
                <a:pos x="8" y="20"/>
              </a:cxn>
              <a:cxn ang="0">
                <a:pos x="4" y="29"/>
              </a:cxn>
              <a:cxn ang="0">
                <a:pos x="2" y="38"/>
              </a:cxn>
              <a:cxn ang="0">
                <a:pos x="0" y="57"/>
              </a:cxn>
              <a:cxn ang="0">
                <a:pos x="0" y="75"/>
              </a:cxn>
              <a:cxn ang="0">
                <a:pos x="0" y="81"/>
              </a:cxn>
              <a:cxn ang="0">
                <a:pos x="1" y="86"/>
              </a:cxn>
              <a:cxn ang="0">
                <a:pos x="3" y="90"/>
              </a:cxn>
              <a:cxn ang="0">
                <a:pos x="7" y="93"/>
              </a:cxn>
              <a:cxn ang="0">
                <a:pos x="10" y="95"/>
              </a:cxn>
              <a:cxn ang="0">
                <a:pos x="13" y="96"/>
              </a:cxn>
              <a:cxn ang="0">
                <a:pos x="18" y="97"/>
              </a:cxn>
              <a:cxn ang="0">
                <a:pos x="21" y="97"/>
              </a:cxn>
              <a:cxn ang="0">
                <a:pos x="40" y="95"/>
              </a:cxn>
              <a:cxn ang="0">
                <a:pos x="53" y="93"/>
              </a:cxn>
              <a:cxn ang="0">
                <a:pos x="86" y="68"/>
              </a:cxn>
              <a:cxn ang="0">
                <a:pos x="59" y="0"/>
              </a:cxn>
            </a:cxnLst>
            <a:rect l="0" t="0" r="r" b="b"/>
            <a:pathLst>
              <a:path w="86" h="97">
                <a:moveTo>
                  <a:pt x="59" y="0"/>
                </a:moveTo>
                <a:lnTo>
                  <a:pt x="56" y="2"/>
                </a:lnTo>
                <a:lnTo>
                  <a:pt x="52" y="3"/>
                </a:lnTo>
                <a:lnTo>
                  <a:pt x="46" y="3"/>
                </a:lnTo>
                <a:lnTo>
                  <a:pt x="40" y="3"/>
                </a:lnTo>
                <a:lnTo>
                  <a:pt x="33" y="3"/>
                </a:lnTo>
                <a:lnTo>
                  <a:pt x="27" y="3"/>
                </a:lnTo>
                <a:lnTo>
                  <a:pt x="23" y="4"/>
                </a:lnTo>
                <a:lnTo>
                  <a:pt x="20" y="6"/>
                </a:lnTo>
                <a:lnTo>
                  <a:pt x="16" y="9"/>
                </a:lnTo>
                <a:lnTo>
                  <a:pt x="13" y="12"/>
                </a:lnTo>
                <a:lnTo>
                  <a:pt x="11" y="15"/>
                </a:lnTo>
                <a:lnTo>
                  <a:pt x="8" y="20"/>
                </a:lnTo>
                <a:lnTo>
                  <a:pt x="4" y="29"/>
                </a:lnTo>
                <a:lnTo>
                  <a:pt x="2" y="38"/>
                </a:lnTo>
                <a:lnTo>
                  <a:pt x="0" y="57"/>
                </a:lnTo>
                <a:lnTo>
                  <a:pt x="0" y="75"/>
                </a:lnTo>
                <a:lnTo>
                  <a:pt x="0" y="81"/>
                </a:lnTo>
                <a:lnTo>
                  <a:pt x="1" y="86"/>
                </a:lnTo>
                <a:lnTo>
                  <a:pt x="3" y="90"/>
                </a:lnTo>
                <a:lnTo>
                  <a:pt x="7" y="93"/>
                </a:lnTo>
                <a:lnTo>
                  <a:pt x="10" y="95"/>
                </a:lnTo>
                <a:lnTo>
                  <a:pt x="13" y="96"/>
                </a:lnTo>
                <a:lnTo>
                  <a:pt x="18" y="97"/>
                </a:lnTo>
                <a:lnTo>
                  <a:pt x="21" y="97"/>
                </a:lnTo>
                <a:lnTo>
                  <a:pt x="40" y="95"/>
                </a:lnTo>
                <a:lnTo>
                  <a:pt x="53" y="93"/>
                </a:lnTo>
                <a:lnTo>
                  <a:pt x="86" y="68"/>
                </a:lnTo>
                <a:lnTo>
                  <a:pt x="59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406" name="Freeform 358"/>
          <p:cNvSpPr>
            <a:spLocks/>
          </p:cNvSpPr>
          <p:nvPr>
            <p:custDataLst>
              <p:tags r:id="rId261"/>
            </p:custDataLst>
          </p:nvPr>
        </p:nvSpPr>
        <p:spPr bwMode="auto">
          <a:xfrm>
            <a:off x="4848229" y="2380067"/>
            <a:ext cx="363538" cy="282178"/>
          </a:xfrm>
          <a:custGeom>
            <a:avLst/>
            <a:gdLst/>
            <a:ahLst/>
            <a:cxnLst>
              <a:cxn ang="0">
                <a:pos x="182" y="36"/>
              </a:cxn>
              <a:cxn ang="0">
                <a:pos x="205" y="28"/>
              </a:cxn>
              <a:cxn ang="0">
                <a:pos x="247" y="0"/>
              </a:cxn>
              <a:cxn ang="0">
                <a:pos x="273" y="12"/>
              </a:cxn>
              <a:cxn ang="0">
                <a:pos x="327" y="37"/>
              </a:cxn>
              <a:cxn ang="0">
                <a:pos x="380" y="67"/>
              </a:cxn>
              <a:cxn ang="0">
                <a:pos x="426" y="98"/>
              </a:cxn>
              <a:cxn ang="0">
                <a:pos x="442" y="125"/>
              </a:cxn>
              <a:cxn ang="0">
                <a:pos x="443" y="140"/>
              </a:cxn>
              <a:cxn ang="0">
                <a:pos x="458" y="147"/>
              </a:cxn>
              <a:cxn ang="0">
                <a:pos x="499" y="178"/>
              </a:cxn>
              <a:cxn ang="0">
                <a:pos x="506" y="172"/>
              </a:cxn>
              <a:cxn ang="0">
                <a:pos x="488" y="184"/>
              </a:cxn>
              <a:cxn ang="0">
                <a:pos x="481" y="202"/>
              </a:cxn>
              <a:cxn ang="0">
                <a:pos x="481" y="252"/>
              </a:cxn>
              <a:cxn ang="0">
                <a:pos x="493" y="264"/>
              </a:cxn>
              <a:cxn ang="0">
                <a:pos x="526" y="265"/>
              </a:cxn>
              <a:cxn ang="0">
                <a:pos x="545" y="319"/>
              </a:cxn>
              <a:cxn ang="0">
                <a:pos x="583" y="361"/>
              </a:cxn>
              <a:cxn ang="0">
                <a:pos x="645" y="400"/>
              </a:cxn>
              <a:cxn ang="0">
                <a:pos x="738" y="430"/>
              </a:cxn>
              <a:cxn ang="0">
                <a:pos x="845" y="449"/>
              </a:cxn>
              <a:cxn ang="0">
                <a:pos x="811" y="482"/>
              </a:cxn>
              <a:cxn ang="0">
                <a:pos x="731" y="547"/>
              </a:cxn>
              <a:cxn ang="0">
                <a:pos x="712" y="579"/>
              </a:cxn>
              <a:cxn ang="0">
                <a:pos x="697" y="617"/>
              </a:cxn>
              <a:cxn ang="0">
                <a:pos x="674" y="629"/>
              </a:cxn>
              <a:cxn ang="0">
                <a:pos x="580" y="655"/>
              </a:cxn>
              <a:cxn ang="0">
                <a:pos x="559" y="671"/>
              </a:cxn>
              <a:cxn ang="0">
                <a:pos x="525" y="681"/>
              </a:cxn>
              <a:cxn ang="0">
                <a:pos x="482" y="693"/>
              </a:cxn>
              <a:cxn ang="0">
                <a:pos x="461" y="680"/>
              </a:cxn>
              <a:cxn ang="0">
                <a:pos x="427" y="679"/>
              </a:cxn>
              <a:cxn ang="0">
                <a:pos x="405" y="699"/>
              </a:cxn>
              <a:cxn ang="0">
                <a:pos x="390" y="714"/>
              </a:cxn>
              <a:cxn ang="0">
                <a:pos x="360" y="720"/>
              </a:cxn>
              <a:cxn ang="0">
                <a:pos x="318" y="714"/>
              </a:cxn>
              <a:cxn ang="0">
                <a:pos x="289" y="698"/>
              </a:cxn>
              <a:cxn ang="0">
                <a:pos x="246" y="671"/>
              </a:cxn>
              <a:cxn ang="0">
                <a:pos x="181" y="661"/>
              </a:cxn>
              <a:cxn ang="0">
                <a:pos x="140" y="653"/>
              </a:cxn>
              <a:cxn ang="0">
                <a:pos x="151" y="614"/>
              </a:cxn>
              <a:cxn ang="0">
                <a:pos x="127" y="596"/>
              </a:cxn>
              <a:cxn ang="0">
                <a:pos x="108" y="583"/>
              </a:cxn>
              <a:cxn ang="0">
                <a:pos x="93" y="551"/>
              </a:cxn>
              <a:cxn ang="0">
                <a:pos x="77" y="511"/>
              </a:cxn>
              <a:cxn ang="0">
                <a:pos x="49" y="489"/>
              </a:cxn>
              <a:cxn ang="0">
                <a:pos x="16" y="477"/>
              </a:cxn>
              <a:cxn ang="0">
                <a:pos x="5" y="472"/>
              </a:cxn>
              <a:cxn ang="0">
                <a:pos x="2" y="448"/>
              </a:cxn>
              <a:cxn ang="0">
                <a:pos x="21" y="422"/>
              </a:cxn>
              <a:cxn ang="0">
                <a:pos x="55" y="413"/>
              </a:cxn>
              <a:cxn ang="0">
                <a:pos x="67" y="321"/>
              </a:cxn>
              <a:cxn ang="0">
                <a:pos x="82" y="275"/>
              </a:cxn>
              <a:cxn ang="0">
                <a:pos x="95" y="260"/>
              </a:cxn>
              <a:cxn ang="0">
                <a:pos x="103" y="236"/>
              </a:cxn>
              <a:cxn ang="0">
                <a:pos x="116" y="206"/>
              </a:cxn>
              <a:cxn ang="0">
                <a:pos x="148" y="178"/>
              </a:cxn>
              <a:cxn ang="0">
                <a:pos x="167" y="160"/>
              </a:cxn>
            </a:cxnLst>
            <a:rect l="0" t="0" r="r" b="b"/>
            <a:pathLst>
              <a:path w="845" h="720">
                <a:moveTo>
                  <a:pt x="174" y="25"/>
                </a:moveTo>
                <a:lnTo>
                  <a:pt x="175" y="27"/>
                </a:lnTo>
                <a:lnTo>
                  <a:pt x="179" y="33"/>
                </a:lnTo>
                <a:lnTo>
                  <a:pt x="182" y="36"/>
                </a:lnTo>
                <a:lnTo>
                  <a:pt x="185" y="38"/>
                </a:lnTo>
                <a:lnTo>
                  <a:pt x="189" y="38"/>
                </a:lnTo>
                <a:lnTo>
                  <a:pt x="194" y="37"/>
                </a:lnTo>
                <a:lnTo>
                  <a:pt x="205" y="28"/>
                </a:lnTo>
                <a:lnTo>
                  <a:pt x="218" y="19"/>
                </a:lnTo>
                <a:lnTo>
                  <a:pt x="229" y="14"/>
                </a:lnTo>
                <a:lnTo>
                  <a:pt x="234" y="12"/>
                </a:lnTo>
                <a:lnTo>
                  <a:pt x="247" y="0"/>
                </a:lnTo>
                <a:lnTo>
                  <a:pt x="250" y="1"/>
                </a:lnTo>
                <a:lnTo>
                  <a:pt x="258" y="6"/>
                </a:lnTo>
                <a:lnTo>
                  <a:pt x="267" y="10"/>
                </a:lnTo>
                <a:lnTo>
                  <a:pt x="273" y="12"/>
                </a:lnTo>
                <a:lnTo>
                  <a:pt x="284" y="15"/>
                </a:lnTo>
                <a:lnTo>
                  <a:pt x="300" y="21"/>
                </a:lnTo>
                <a:lnTo>
                  <a:pt x="316" y="31"/>
                </a:lnTo>
                <a:lnTo>
                  <a:pt x="327" y="37"/>
                </a:lnTo>
                <a:lnTo>
                  <a:pt x="337" y="41"/>
                </a:lnTo>
                <a:lnTo>
                  <a:pt x="353" y="50"/>
                </a:lnTo>
                <a:lnTo>
                  <a:pt x="370" y="60"/>
                </a:lnTo>
                <a:lnTo>
                  <a:pt x="380" y="67"/>
                </a:lnTo>
                <a:lnTo>
                  <a:pt x="393" y="76"/>
                </a:lnTo>
                <a:lnTo>
                  <a:pt x="406" y="86"/>
                </a:lnTo>
                <a:lnTo>
                  <a:pt x="419" y="95"/>
                </a:lnTo>
                <a:lnTo>
                  <a:pt x="426" y="98"/>
                </a:lnTo>
                <a:lnTo>
                  <a:pt x="430" y="105"/>
                </a:lnTo>
                <a:lnTo>
                  <a:pt x="440" y="116"/>
                </a:lnTo>
                <a:lnTo>
                  <a:pt x="441" y="121"/>
                </a:lnTo>
                <a:lnTo>
                  <a:pt x="442" y="125"/>
                </a:lnTo>
                <a:lnTo>
                  <a:pt x="443" y="130"/>
                </a:lnTo>
                <a:lnTo>
                  <a:pt x="443" y="134"/>
                </a:lnTo>
                <a:lnTo>
                  <a:pt x="443" y="137"/>
                </a:lnTo>
                <a:lnTo>
                  <a:pt x="443" y="140"/>
                </a:lnTo>
                <a:lnTo>
                  <a:pt x="444" y="141"/>
                </a:lnTo>
                <a:lnTo>
                  <a:pt x="447" y="142"/>
                </a:lnTo>
                <a:lnTo>
                  <a:pt x="450" y="143"/>
                </a:lnTo>
                <a:lnTo>
                  <a:pt x="458" y="147"/>
                </a:lnTo>
                <a:lnTo>
                  <a:pt x="466" y="153"/>
                </a:lnTo>
                <a:lnTo>
                  <a:pt x="475" y="160"/>
                </a:lnTo>
                <a:lnTo>
                  <a:pt x="492" y="172"/>
                </a:lnTo>
                <a:lnTo>
                  <a:pt x="499" y="178"/>
                </a:lnTo>
                <a:lnTo>
                  <a:pt x="500" y="175"/>
                </a:lnTo>
                <a:lnTo>
                  <a:pt x="503" y="173"/>
                </a:lnTo>
                <a:lnTo>
                  <a:pt x="505" y="172"/>
                </a:lnTo>
                <a:lnTo>
                  <a:pt x="506" y="172"/>
                </a:lnTo>
                <a:lnTo>
                  <a:pt x="500" y="174"/>
                </a:lnTo>
                <a:lnTo>
                  <a:pt x="495" y="177"/>
                </a:lnTo>
                <a:lnTo>
                  <a:pt x="492" y="181"/>
                </a:lnTo>
                <a:lnTo>
                  <a:pt x="488" y="184"/>
                </a:lnTo>
                <a:lnTo>
                  <a:pt x="485" y="189"/>
                </a:lnTo>
                <a:lnTo>
                  <a:pt x="483" y="193"/>
                </a:lnTo>
                <a:lnTo>
                  <a:pt x="482" y="197"/>
                </a:lnTo>
                <a:lnTo>
                  <a:pt x="481" y="202"/>
                </a:lnTo>
                <a:lnTo>
                  <a:pt x="478" y="221"/>
                </a:lnTo>
                <a:lnTo>
                  <a:pt x="480" y="240"/>
                </a:lnTo>
                <a:lnTo>
                  <a:pt x="480" y="247"/>
                </a:lnTo>
                <a:lnTo>
                  <a:pt x="481" y="252"/>
                </a:lnTo>
                <a:lnTo>
                  <a:pt x="483" y="256"/>
                </a:lnTo>
                <a:lnTo>
                  <a:pt x="486" y="260"/>
                </a:lnTo>
                <a:lnTo>
                  <a:pt x="488" y="262"/>
                </a:lnTo>
                <a:lnTo>
                  <a:pt x="493" y="264"/>
                </a:lnTo>
                <a:lnTo>
                  <a:pt x="496" y="265"/>
                </a:lnTo>
                <a:lnTo>
                  <a:pt x="500" y="266"/>
                </a:lnTo>
                <a:lnTo>
                  <a:pt x="516" y="266"/>
                </a:lnTo>
                <a:lnTo>
                  <a:pt x="526" y="265"/>
                </a:lnTo>
                <a:lnTo>
                  <a:pt x="528" y="279"/>
                </a:lnTo>
                <a:lnTo>
                  <a:pt x="532" y="293"/>
                </a:lnTo>
                <a:lnTo>
                  <a:pt x="538" y="307"/>
                </a:lnTo>
                <a:lnTo>
                  <a:pt x="545" y="319"/>
                </a:lnTo>
                <a:lnTo>
                  <a:pt x="554" y="330"/>
                </a:lnTo>
                <a:lnTo>
                  <a:pt x="563" y="341"/>
                </a:lnTo>
                <a:lnTo>
                  <a:pt x="573" y="351"/>
                </a:lnTo>
                <a:lnTo>
                  <a:pt x="583" y="361"/>
                </a:lnTo>
                <a:lnTo>
                  <a:pt x="604" y="376"/>
                </a:lnTo>
                <a:lnTo>
                  <a:pt x="622" y="388"/>
                </a:lnTo>
                <a:lnTo>
                  <a:pt x="637" y="396"/>
                </a:lnTo>
                <a:lnTo>
                  <a:pt x="645" y="400"/>
                </a:lnTo>
                <a:lnTo>
                  <a:pt x="673" y="408"/>
                </a:lnTo>
                <a:lnTo>
                  <a:pt x="696" y="417"/>
                </a:lnTo>
                <a:lnTo>
                  <a:pt x="718" y="424"/>
                </a:lnTo>
                <a:lnTo>
                  <a:pt x="738" y="430"/>
                </a:lnTo>
                <a:lnTo>
                  <a:pt x="758" y="435"/>
                </a:lnTo>
                <a:lnTo>
                  <a:pt x="783" y="440"/>
                </a:lnTo>
                <a:lnTo>
                  <a:pt x="811" y="445"/>
                </a:lnTo>
                <a:lnTo>
                  <a:pt x="845" y="449"/>
                </a:lnTo>
                <a:lnTo>
                  <a:pt x="838" y="457"/>
                </a:lnTo>
                <a:lnTo>
                  <a:pt x="830" y="465"/>
                </a:lnTo>
                <a:lnTo>
                  <a:pt x="821" y="474"/>
                </a:lnTo>
                <a:lnTo>
                  <a:pt x="811" y="482"/>
                </a:lnTo>
                <a:lnTo>
                  <a:pt x="790" y="498"/>
                </a:lnTo>
                <a:lnTo>
                  <a:pt x="768" y="514"/>
                </a:lnTo>
                <a:lnTo>
                  <a:pt x="749" y="531"/>
                </a:lnTo>
                <a:lnTo>
                  <a:pt x="731" y="547"/>
                </a:lnTo>
                <a:lnTo>
                  <a:pt x="723" y="555"/>
                </a:lnTo>
                <a:lnTo>
                  <a:pt x="718" y="562"/>
                </a:lnTo>
                <a:lnTo>
                  <a:pt x="715" y="570"/>
                </a:lnTo>
                <a:lnTo>
                  <a:pt x="712" y="579"/>
                </a:lnTo>
                <a:lnTo>
                  <a:pt x="709" y="592"/>
                </a:lnTo>
                <a:lnTo>
                  <a:pt x="706" y="602"/>
                </a:lnTo>
                <a:lnTo>
                  <a:pt x="701" y="610"/>
                </a:lnTo>
                <a:lnTo>
                  <a:pt x="697" y="617"/>
                </a:lnTo>
                <a:lnTo>
                  <a:pt x="693" y="622"/>
                </a:lnTo>
                <a:lnTo>
                  <a:pt x="686" y="625"/>
                </a:lnTo>
                <a:lnTo>
                  <a:pt x="681" y="628"/>
                </a:lnTo>
                <a:lnTo>
                  <a:pt x="674" y="629"/>
                </a:lnTo>
                <a:lnTo>
                  <a:pt x="643" y="630"/>
                </a:lnTo>
                <a:lnTo>
                  <a:pt x="606" y="635"/>
                </a:lnTo>
                <a:lnTo>
                  <a:pt x="594" y="643"/>
                </a:lnTo>
                <a:lnTo>
                  <a:pt x="580" y="655"/>
                </a:lnTo>
                <a:lnTo>
                  <a:pt x="573" y="661"/>
                </a:lnTo>
                <a:lnTo>
                  <a:pt x="567" y="666"/>
                </a:lnTo>
                <a:lnTo>
                  <a:pt x="563" y="670"/>
                </a:lnTo>
                <a:lnTo>
                  <a:pt x="559" y="671"/>
                </a:lnTo>
                <a:lnTo>
                  <a:pt x="548" y="673"/>
                </a:lnTo>
                <a:lnTo>
                  <a:pt x="539" y="676"/>
                </a:lnTo>
                <a:lnTo>
                  <a:pt x="531" y="678"/>
                </a:lnTo>
                <a:lnTo>
                  <a:pt x="525" y="681"/>
                </a:lnTo>
                <a:lnTo>
                  <a:pt x="513" y="687"/>
                </a:lnTo>
                <a:lnTo>
                  <a:pt x="499" y="696"/>
                </a:lnTo>
                <a:lnTo>
                  <a:pt x="488" y="696"/>
                </a:lnTo>
                <a:lnTo>
                  <a:pt x="482" y="693"/>
                </a:lnTo>
                <a:lnTo>
                  <a:pt x="476" y="691"/>
                </a:lnTo>
                <a:lnTo>
                  <a:pt x="472" y="686"/>
                </a:lnTo>
                <a:lnTo>
                  <a:pt x="468" y="683"/>
                </a:lnTo>
                <a:lnTo>
                  <a:pt x="461" y="680"/>
                </a:lnTo>
                <a:lnTo>
                  <a:pt x="452" y="678"/>
                </a:lnTo>
                <a:lnTo>
                  <a:pt x="440" y="677"/>
                </a:lnTo>
                <a:lnTo>
                  <a:pt x="432" y="678"/>
                </a:lnTo>
                <a:lnTo>
                  <a:pt x="427" y="679"/>
                </a:lnTo>
                <a:lnTo>
                  <a:pt x="421" y="681"/>
                </a:lnTo>
                <a:lnTo>
                  <a:pt x="418" y="684"/>
                </a:lnTo>
                <a:lnTo>
                  <a:pt x="410" y="692"/>
                </a:lnTo>
                <a:lnTo>
                  <a:pt x="405" y="699"/>
                </a:lnTo>
                <a:lnTo>
                  <a:pt x="402" y="703"/>
                </a:lnTo>
                <a:lnTo>
                  <a:pt x="398" y="707"/>
                </a:lnTo>
                <a:lnTo>
                  <a:pt x="394" y="711"/>
                </a:lnTo>
                <a:lnTo>
                  <a:pt x="390" y="714"/>
                </a:lnTo>
                <a:lnTo>
                  <a:pt x="383" y="717"/>
                </a:lnTo>
                <a:lnTo>
                  <a:pt x="376" y="719"/>
                </a:lnTo>
                <a:lnTo>
                  <a:pt x="369" y="720"/>
                </a:lnTo>
                <a:lnTo>
                  <a:pt x="360" y="720"/>
                </a:lnTo>
                <a:lnTo>
                  <a:pt x="348" y="720"/>
                </a:lnTo>
                <a:lnTo>
                  <a:pt x="337" y="719"/>
                </a:lnTo>
                <a:lnTo>
                  <a:pt x="327" y="717"/>
                </a:lnTo>
                <a:lnTo>
                  <a:pt x="318" y="714"/>
                </a:lnTo>
                <a:lnTo>
                  <a:pt x="310" y="710"/>
                </a:lnTo>
                <a:lnTo>
                  <a:pt x="303" y="706"/>
                </a:lnTo>
                <a:lnTo>
                  <a:pt x="295" y="702"/>
                </a:lnTo>
                <a:lnTo>
                  <a:pt x="289" y="698"/>
                </a:lnTo>
                <a:lnTo>
                  <a:pt x="275" y="688"/>
                </a:lnTo>
                <a:lnTo>
                  <a:pt x="261" y="679"/>
                </a:lnTo>
                <a:lnTo>
                  <a:pt x="253" y="675"/>
                </a:lnTo>
                <a:lnTo>
                  <a:pt x="246" y="671"/>
                </a:lnTo>
                <a:lnTo>
                  <a:pt x="237" y="668"/>
                </a:lnTo>
                <a:lnTo>
                  <a:pt x="227" y="665"/>
                </a:lnTo>
                <a:lnTo>
                  <a:pt x="205" y="662"/>
                </a:lnTo>
                <a:lnTo>
                  <a:pt x="181" y="661"/>
                </a:lnTo>
                <a:lnTo>
                  <a:pt x="170" y="660"/>
                </a:lnTo>
                <a:lnTo>
                  <a:pt x="159" y="659"/>
                </a:lnTo>
                <a:lnTo>
                  <a:pt x="149" y="657"/>
                </a:lnTo>
                <a:lnTo>
                  <a:pt x="140" y="653"/>
                </a:lnTo>
                <a:lnTo>
                  <a:pt x="149" y="632"/>
                </a:lnTo>
                <a:lnTo>
                  <a:pt x="153" y="622"/>
                </a:lnTo>
                <a:lnTo>
                  <a:pt x="152" y="618"/>
                </a:lnTo>
                <a:lnTo>
                  <a:pt x="151" y="614"/>
                </a:lnTo>
                <a:lnTo>
                  <a:pt x="147" y="607"/>
                </a:lnTo>
                <a:lnTo>
                  <a:pt x="140" y="597"/>
                </a:lnTo>
                <a:lnTo>
                  <a:pt x="134" y="597"/>
                </a:lnTo>
                <a:lnTo>
                  <a:pt x="127" y="596"/>
                </a:lnTo>
                <a:lnTo>
                  <a:pt x="122" y="593"/>
                </a:lnTo>
                <a:lnTo>
                  <a:pt x="116" y="590"/>
                </a:lnTo>
                <a:lnTo>
                  <a:pt x="112" y="587"/>
                </a:lnTo>
                <a:lnTo>
                  <a:pt x="108" y="583"/>
                </a:lnTo>
                <a:lnTo>
                  <a:pt x="104" y="577"/>
                </a:lnTo>
                <a:lnTo>
                  <a:pt x="102" y="572"/>
                </a:lnTo>
                <a:lnTo>
                  <a:pt x="96" y="562"/>
                </a:lnTo>
                <a:lnTo>
                  <a:pt x="93" y="551"/>
                </a:lnTo>
                <a:lnTo>
                  <a:pt x="90" y="540"/>
                </a:lnTo>
                <a:lnTo>
                  <a:pt x="88" y="530"/>
                </a:lnTo>
                <a:lnTo>
                  <a:pt x="82" y="519"/>
                </a:lnTo>
                <a:lnTo>
                  <a:pt x="77" y="511"/>
                </a:lnTo>
                <a:lnTo>
                  <a:pt x="70" y="505"/>
                </a:lnTo>
                <a:lnTo>
                  <a:pt x="63" y="499"/>
                </a:lnTo>
                <a:lnTo>
                  <a:pt x="57" y="494"/>
                </a:lnTo>
                <a:lnTo>
                  <a:pt x="49" y="489"/>
                </a:lnTo>
                <a:lnTo>
                  <a:pt x="41" y="483"/>
                </a:lnTo>
                <a:lnTo>
                  <a:pt x="34" y="474"/>
                </a:lnTo>
                <a:lnTo>
                  <a:pt x="24" y="477"/>
                </a:lnTo>
                <a:lnTo>
                  <a:pt x="16" y="477"/>
                </a:lnTo>
                <a:lnTo>
                  <a:pt x="12" y="476"/>
                </a:lnTo>
                <a:lnTo>
                  <a:pt x="10" y="475"/>
                </a:lnTo>
                <a:lnTo>
                  <a:pt x="6" y="474"/>
                </a:lnTo>
                <a:lnTo>
                  <a:pt x="5" y="472"/>
                </a:lnTo>
                <a:lnTo>
                  <a:pt x="2" y="467"/>
                </a:lnTo>
                <a:lnTo>
                  <a:pt x="0" y="461"/>
                </a:lnTo>
                <a:lnTo>
                  <a:pt x="1" y="454"/>
                </a:lnTo>
                <a:lnTo>
                  <a:pt x="2" y="448"/>
                </a:lnTo>
                <a:lnTo>
                  <a:pt x="5" y="441"/>
                </a:lnTo>
                <a:lnTo>
                  <a:pt x="9" y="434"/>
                </a:lnTo>
                <a:lnTo>
                  <a:pt x="14" y="428"/>
                </a:lnTo>
                <a:lnTo>
                  <a:pt x="21" y="422"/>
                </a:lnTo>
                <a:lnTo>
                  <a:pt x="27" y="418"/>
                </a:lnTo>
                <a:lnTo>
                  <a:pt x="36" y="415"/>
                </a:lnTo>
                <a:lnTo>
                  <a:pt x="45" y="413"/>
                </a:lnTo>
                <a:lnTo>
                  <a:pt x="55" y="413"/>
                </a:lnTo>
                <a:lnTo>
                  <a:pt x="57" y="384"/>
                </a:lnTo>
                <a:lnTo>
                  <a:pt x="60" y="360"/>
                </a:lnTo>
                <a:lnTo>
                  <a:pt x="63" y="339"/>
                </a:lnTo>
                <a:lnTo>
                  <a:pt x="67" y="321"/>
                </a:lnTo>
                <a:lnTo>
                  <a:pt x="71" y="306"/>
                </a:lnTo>
                <a:lnTo>
                  <a:pt x="74" y="293"/>
                </a:lnTo>
                <a:lnTo>
                  <a:pt x="79" y="283"/>
                </a:lnTo>
                <a:lnTo>
                  <a:pt x="82" y="275"/>
                </a:lnTo>
                <a:lnTo>
                  <a:pt x="87" y="269"/>
                </a:lnTo>
                <a:lnTo>
                  <a:pt x="90" y="265"/>
                </a:lnTo>
                <a:lnTo>
                  <a:pt x="93" y="262"/>
                </a:lnTo>
                <a:lnTo>
                  <a:pt x="95" y="260"/>
                </a:lnTo>
                <a:lnTo>
                  <a:pt x="100" y="259"/>
                </a:lnTo>
                <a:lnTo>
                  <a:pt x="101" y="259"/>
                </a:lnTo>
                <a:lnTo>
                  <a:pt x="101" y="247"/>
                </a:lnTo>
                <a:lnTo>
                  <a:pt x="103" y="236"/>
                </a:lnTo>
                <a:lnTo>
                  <a:pt x="105" y="227"/>
                </a:lnTo>
                <a:lnTo>
                  <a:pt x="108" y="219"/>
                </a:lnTo>
                <a:lnTo>
                  <a:pt x="112" y="212"/>
                </a:lnTo>
                <a:lnTo>
                  <a:pt x="116" y="206"/>
                </a:lnTo>
                <a:lnTo>
                  <a:pt x="122" y="200"/>
                </a:lnTo>
                <a:lnTo>
                  <a:pt x="126" y="196"/>
                </a:lnTo>
                <a:lnTo>
                  <a:pt x="137" y="186"/>
                </a:lnTo>
                <a:lnTo>
                  <a:pt x="148" y="178"/>
                </a:lnTo>
                <a:lnTo>
                  <a:pt x="153" y="174"/>
                </a:lnTo>
                <a:lnTo>
                  <a:pt x="159" y="170"/>
                </a:lnTo>
                <a:lnTo>
                  <a:pt x="163" y="165"/>
                </a:lnTo>
                <a:lnTo>
                  <a:pt x="167" y="160"/>
                </a:lnTo>
                <a:lnTo>
                  <a:pt x="174" y="2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407" name="Line 359"/>
          <p:cNvSpPr>
            <a:spLocks noChangeShapeType="1"/>
          </p:cNvSpPr>
          <p:nvPr>
            <p:custDataLst>
              <p:tags r:id="rId262"/>
            </p:custDataLst>
          </p:nvPr>
        </p:nvSpPr>
        <p:spPr bwMode="auto">
          <a:xfrm flipH="1">
            <a:off x="1708150" y="2769396"/>
            <a:ext cx="4763" cy="5954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408" name="Freeform 360"/>
          <p:cNvSpPr>
            <a:spLocks/>
          </p:cNvSpPr>
          <p:nvPr>
            <p:custDataLst>
              <p:tags r:id="rId263"/>
            </p:custDataLst>
          </p:nvPr>
        </p:nvSpPr>
        <p:spPr bwMode="auto">
          <a:xfrm>
            <a:off x="1708150" y="2775354"/>
            <a:ext cx="12700" cy="4405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7" y="1"/>
              </a:cxn>
              <a:cxn ang="0">
                <a:pos x="15" y="3"/>
              </a:cxn>
              <a:cxn ang="0">
                <a:pos x="23" y="5"/>
              </a:cxn>
              <a:cxn ang="0">
                <a:pos x="33" y="6"/>
              </a:cxn>
            </a:cxnLst>
            <a:rect l="0" t="0" r="r" b="b"/>
            <a:pathLst>
              <a:path w="33" h="6">
                <a:moveTo>
                  <a:pt x="0" y="0"/>
                </a:moveTo>
                <a:lnTo>
                  <a:pt x="7" y="1"/>
                </a:lnTo>
                <a:lnTo>
                  <a:pt x="15" y="3"/>
                </a:lnTo>
                <a:lnTo>
                  <a:pt x="23" y="5"/>
                </a:lnTo>
                <a:lnTo>
                  <a:pt x="33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409" name="Freeform 361"/>
          <p:cNvSpPr>
            <a:spLocks/>
          </p:cNvSpPr>
          <p:nvPr>
            <p:custDataLst>
              <p:tags r:id="rId264"/>
            </p:custDataLst>
          </p:nvPr>
        </p:nvSpPr>
        <p:spPr bwMode="auto">
          <a:xfrm>
            <a:off x="1716088" y="2765827"/>
            <a:ext cx="4762" cy="42863"/>
          </a:xfrm>
          <a:custGeom>
            <a:avLst/>
            <a:gdLst/>
            <a:ahLst/>
            <a:cxnLst>
              <a:cxn ang="0">
                <a:pos x="13" y="30"/>
              </a:cxn>
              <a:cxn ang="0">
                <a:pos x="13" y="0"/>
              </a:cxn>
              <a:cxn ang="0">
                <a:pos x="0" y="0"/>
              </a:cxn>
            </a:cxnLst>
            <a:rect l="0" t="0" r="r" b="b"/>
            <a:pathLst>
              <a:path w="13" h="30">
                <a:moveTo>
                  <a:pt x="13" y="30"/>
                </a:moveTo>
                <a:lnTo>
                  <a:pt x="13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grpSp>
        <p:nvGrpSpPr>
          <p:cNvPr id="11" name="Group 362"/>
          <p:cNvGrpSpPr>
            <a:grpSpLocks/>
          </p:cNvGrpSpPr>
          <p:nvPr>
            <p:custDataLst>
              <p:tags r:id="rId265"/>
            </p:custDataLst>
          </p:nvPr>
        </p:nvGrpSpPr>
        <p:grpSpPr bwMode="auto">
          <a:xfrm>
            <a:off x="1708150" y="2717011"/>
            <a:ext cx="417513" cy="151210"/>
            <a:chOff x="912" y="2626"/>
            <a:chExt cx="311" cy="127"/>
          </a:xfrm>
        </p:grpSpPr>
        <p:sp>
          <p:nvSpPr>
            <p:cNvPr id="2411" name="Freeform 363"/>
            <p:cNvSpPr>
              <a:spLocks/>
            </p:cNvSpPr>
            <p:nvPr/>
          </p:nvSpPr>
          <p:spPr bwMode="auto">
            <a:xfrm>
              <a:off x="1110" y="2626"/>
              <a:ext cx="113" cy="127"/>
            </a:xfrm>
            <a:custGeom>
              <a:avLst/>
              <a:gdLst/>
              <a:ahLst/>
              <a:cxnLst>
                <a:cxn ang="0">
                  <a:pos x="312" y="79"/>
                </a:cxn>
                <a:cxn ang="0">
                  <a:pos x="286" y="79"/>
                </a:cxn>
                <a:cxn ang="0">
                  <a:pos x="265" y="79"/>
                </a:cxn>
                <a:cxn ang="0">
                  <a:pos x="249" y="74"/>
                </a:cxn>
                <a:cxn ang="0">
                  <a:pos x="222" y="59"/>
                </a:cxn>
                <a:cxn ang="0">
                  <a:pos x="168" y="20"/>
                </a:cxn>
                <a:cxn ang="0">
                  <a:pos x="137" y="6"/>
                </a:cxn>
                <a:cxn ang="0">
                  <a:pos x="129" y="19"/>
                </a:cxn>
                <a:cxn ang="0">
                  <a:pos x="119" y="29"/>
                </a:cxn>
                <a:cxn ang="0">
                  <a:pos x="107" y="35"/>
                </a:cxn>
                <a:cxn ang="0">
                  <a:pos x="86" y="56"/>
                </a:cxn>
                <a:cxn ang="0">
                  <a:pos x="53" y="97"/>
                </a:cxn>
                <a:cxn ang="0">
                  <a:pos x="30" y="131"/>
                </a:cxn>
                <a:cxn ang="0">
                  <a:pos x="17" y="154"/>
                </a:cxn>
                <a:cxn ang="0">
                  <a:pos x="7" y="177"/>
                </a:cxn>
                <a:cxn ang="0">
                  <a:pos x="0" y="198"/>
                </a:cxn>
                <a:cxn ang="0">
                  <a:pos x="0" y="213"/>
                </a:cxn>
                <a:cxn ang="0">
                  <a:pos x="3" y="222"/>
                </a:cxn>
                <a:cxn ang="0">
                  <a:pos x="9" y="231"/>
                </a:cxn>
                <a:cxn ang="0">
                  <a:pos x="24" y="241"/>
                </a:cxn>
                <a:cxn ang="0">
                  <a:pos x="39" y="245"/>
                </a:cxn>
                <a:cxn ang="0">
                  <a:pos x="52" y="245"/>
                </a:cxn>
                <a:cxn ang="0">
                  <a:pos x="63" y="241"/>
                </a:cxn>
                <a:cxn ang="0">
                  <a:pos x="73" y="236"/>
                </a:cxn>
                <a:cxn ang="0">
                  <a:pos x="78" y="236"/>
                </a:cxn>
                <a:cxn ang="0">
                  <a:pos x="80" y="238"/>
                </a:cxn>
                <a:cxn ang="0">
                  <a:pos x="80" y="257"/>
                </a:cxn>
                <a:cxn ang="0">
                  <a:pos x="76" y="279"/>
                </a:cxn>
                <a:cxn ang="0">
                  <a:pos x="71" y="290"/>
                </a:cxn>
                <a:cxn ang="0">
                  <a:pos x="73" y="307"/>
                </a:cxn>
                <a:cxn ang="0">
                  <a:pos x="80" y="331"/>
                </a:cxn>
                <a:cxn ang="0">
                  <a:pos x="89" y="351"/>
                </a:cxn>
                <a:cxn ang="0">
                  <a:pos x="122" y="373"/>
                </a:cxn>
                <a:cxn ang="0">
                  <a:pos x="142" y="385"/>
                </a:cxn>
                <a:cxn ang="0">
                  <a:pos x="152" y="386"/>
                </a:cxn>
                <a:cxn ang="0">
                  <a:pos x="163" y="377"/>
                </a:cxn>
                <a:cxn ang="0">
                  <a:pos x="173" y="363"/>
                </a:cxn>
                <a:cxn ang="0">
                  <a:pos x="178" y="350"/>
                </a:cxn>
                <a:cxn ang="0">
                  <a:pos x="181" y="338"/>
                </a:cxn>
                <a:cxn ang="0">
                  <a:pos x="184" y="323"/>
                </a:cxn>
                <a:cxn ang="0">
                  <a:pos x="195" y="304"/>
                </a:cxn>
                <a:cxn ang="0">
                  <a:pos x="216" y="281"/>
                </a:cxn>
                <a:cxn ang="0">
                  <a:pos x="238" y="263"/>
                </a:cxn>
                <a:cxn ang="0">
                  <a:pos x="264" y="249"/>
                </a:cxn>
                <a:cxn ang="0">
                  <a:pos x="300" y="229"/>
                </a:cxn>
                <a:cxn ang="0">
                  <a:pos x="324" y="212"/>
                </a:cxn>
                <a:cxn ang="0">
                  <a:pos x="338" y="199"/>
                </a:cxn>
                <a:cxn ang="0">
                  <a:pos x="346" y="185"/>
                </a:cxn>
                <a:cxn ang="0">
                  <a:pos x="352" y="169"/>
                </a:cxn>
                <a:cxn ang="0">
                  <a:pos x="351" y="149"/>
                </a:cxn>
                <a:cxn ang="0">
                  <a:pos x="344" y="125"/>
                </a:cxn>
                <a:cxn ang="0">
                  <a:pos x="330" y="91"/>
                </a:cxn>
              </a:cxnLst>
              <a:rect l="0" t="0" r="r" b="b"/>
              <a:pathLst>
                <a:path w="352" h="387">
                  <a:moveTo>
                    <a:pt x="325" y="79"/>
                  </a:moveTo>
                  <a:lnTo>
                    <a:pt x="312" y="79"/>
                  </a:lnTo>
                  <a:lnTo>
                    <a:pt x="299" y="79"/>
                  </a:lnTo>
                  <a:lnTo>
                    <a:pt x="286" y="79"/>
                  </a:lnTo>
                  <a:lnTo>
                    <a:pt x="273" y="79"/>
                  </a:lnTo>
                  <a:lnTo>
                    <a:pt x="265" y="79"/>
                  </a:lnTo>
                  <a:lnTo>
                    <a:pt x="256" y="77"/>
                  </a:lnTo>
                  <a:lnTo>
                    <a:pt x="249" y="74"/>
                  </a:lnTo>
                  <a:lnTo>
                    <a:pt x="240" y="70"/>
                  </a:lnTo>
                  <a:lnTo>
                    <a:pt x="222" y="59"/>
                  </a:lnTo>
                  <a:lnTo>
                    <a:pt x="204" y="46"/>
                  </a:lnTo>
                  <a:lnTo>
                    <a:pt x="168" y="20"/>
                  </a:lnTo>
                  <a:lnTo>
                    <a:pt x="140" y="0"/>
                  </a:lnTo>
                  <a:lnTo>
                    <a:pt x="137" y="6"/>
                  </a:lnTo>
                  <a:lnTo>
                    <a:pt x="133" y="13"/>
                  </a:lnTo>
                  <a:lnTo>
                    <a:pt x="129" y="19"/>
                  </a:lnTo>
                  <a:lnTo>
                    <a:pt x="125" y="25"/>
                  </a:lnTo>
                  <a:lnTo>
                    <a:pt x="119" y="29"/>
                  </a:lnTo>
                  <a:lnTo>
                    <a:pt x="114" y="33"/>
                  </a:lnTo>
                  <a:lnTo>
                    <a:pt x="107" y="35"/>
                  </a:lnTo>
                  <a:lnTo>
                    <a:pt x="100" y="36"/>
                  </a:lnTo>
                  <a:lnTo>
                    <a:pt x="86" y="56"/>
                  </a:lnTo>
                  <a:lnTo>
                    <a:pt x="71" y="76"/>
                  </a:lnTo>
                  <a:lnTo>
                    <a:pt x="53" y="97"/>
                  </a:lnTo>
                  <a:lnTo>
                    <a:pt x="38" y="120"/>
                  </a:lnTo>
                  <a:lnTo>
                    <a:pt x="30" y="131"/>
                  </a:lnTo>
                  <a:lnTo>
                    <a:pt x="22" y="143"/>
                  </a:lnTo>
                  <a:lnTo>
                    <a:pt x="17" y="154"/>
                  </a:lnTo>
                  <a:lnTo>
                    <a:pt x="11" y="165"/>
                  </a:lnTo>
                  <a:lnTo>
                    <a:pt x="7" y="177"/>
                  </a:lnTo>
                  <a:lnTo>
                    <a:pt x="3" y="187"/>
                  </a:lnTo>
                  <a:lnTo>
                    <a:pt x="0" y="198"/>
                  </a:lnTo>
                  <a:lnTo>
                    <a:pt x="0" y="208"/>
                  </a:lnTo>
                  <a:lnTo>
                    <a:pt x="0" y="213"/>
                  </a:lnTo>
                  <a:lnTo>
                    <a:pt x="2" y="217"/>
                  </a:lnTo>
                  <a:lnTo>
                    <a:pt x="3" y="222"/>
                  </a:lnTo>
                  <a:lnTo>
                    <a:pt x="5" y="225"/>
                  </a:lnTo>
                  <a:lnTo>
                    <a:pt x="9" y="231"/>
                  </a:lnTo>
                  <a:lnTo>
                    <a:pt x="16" y="237"/>
                  </a:lnTo>
                  <a:lnTo>
                    <a:pt x="24" y="241"/>
                  </a:lnTo>
                  <a:lnTo>
                    <a:pt x="31" y="243"/>
                  </a:lnTo>
                  <a:lnTo>
                    <a:pt x="39" y="245"/>
                  </a:lnTo>
                  <a:lnTo>
                    <a:pt x="47" y="246"/>
                  </a:lnTo>
                  <a:lnTo>
                    <a:pt x="52" y="245"/>
                  </a:lnTo>
                  <a:lnTo>
                    <a:pt x="58" y="243"/>
                  </a:lnTo>
                  <a:lnTo>
                    <a:pt x="63" y="241"/>
                  </a:lnTo>
                  <a:lnTo>
                    <a:pt x="69" y="238"/>
                  </a:lnTo>
                  <a:lnTo>
                    <a:pt x="73" y="236"/>
                  </a:lnTo>
                  <a:lnTo>
                    <a:pt x="76" y="235"/>
                  </a:lnTo>
                  <a:lnTo>
                    <a:pt x="78" y="236"/>
                  </a:lnTo>
                  <a:lnTo>
                    <a:pt x="80" y="236"/>
                  </a:lnTo>
                  <a:lnTo>
                    <a:pt x="80" y="238"/>
                  </a:lnTo>
                  <a:lnTo>
                    <a:pt x="80" y="240"/>
                  </a:lnTo>
                  <a:lnTo>
                    <a:pt x="80" y="257"/>
                  </a:lnTo>
                  <a:lnTo>
                    <a:pt x="78" y="271"/>
                  </a:lnTo>
                  <a:lnTo>
                    <a:pt x="76" y="279"/>
                  </a:lnTo>
                  <a:lnTo>
                    <a:pt x="74" y="285"/>
                  </a:lnTo>
                  <a:lnTo>
                    <a:pt x="71" y="290"/>
                  </a:lnTo>
                  <a:lnTo>
                    <a:pt x="66" y="295"/>
                  </a:lnTo>
                  <a:lnTo>
                    <a:pt x="73" y="307"/>
                  </a:lnTo>
                  <a:lnTo>
                    <a:pt x="80" y="319"/>
                  </a:lnTo>
                  <a:lnTo>
                    <a:pt x="80" y="331"/>
                  </a:lnTo>
                  <a:lnTo>
                    <a:pt x="80" y="344"/>
                  </a:lnTo>
                  <a:lnTo>
                    <a:pt x="89" y="351"/>
                  </a:lnTo>
                  <a:lnTo>
                    <a:pt x="110" y="366"/>
                  </a:lnTo>
                  <a:lnTo>
                    <a:pt x="122" y="373"/>
                  </a:lnTo>
                  <a:lnTo>
                    <a:pt x="133" y="380"/>
                  </a:lnTo>
                  <a:lnTo>
                    <a:pt x="142" y="385"/>
                  </a:lnTo>
                  <a:lnTo>
                    <a:pt x="147" y="387"/>
                  </a:lnTo>
                  <a:lnTo>
                    <a:pt x="152" y="386"/>
                  </a:lnTo>
                  <a:lnTo>
                    <a:pt x="158" y="382"/>
                  </a:lnTo>
                  <a:lnTo>
                    <a:pt x="163" y="377"/>
                  </a:lnTo>
                  <a:lnTo>
                    <a:pt x="168" y="370"/>
                  </a:lnTo>
                  <a:lnTo>
                    <a:pt x="173" y="363"/>
                  </a:lnTo>
                  <a:lnTo>
                    <a:pt x="176" y="356"/>
                  </a:lnTo>
                  <a:lnTo>
                    <a:pt x="178" y="350"/>
                  </a:lnTo>
                  <a:lnTo>
                    <a:pt x="179" y="344"/>
                  </a:lnTo>
                  <a:lnTo>
                    <a:pt x="181" y="338"/>
                  </a:lnTo>
                  <a:lnTo>
                    <a:pt x="182" y="330"/>
                  </a:lnTo>
                  <a:lnTo>
                    <a:pt x="184" y="323"/>
                  </a:lnTo>
                  <a:lnTo>
                    <a:pt x="187" y="317"/>
                  </a:lnTo>
                  <a:lnTo>
                    <a:pt x="195" y="304"/>
                  </a:lnTo>
                  <a:lnTo>
                    <a:pt x="206" y="292"/>
                  </a:lnTo>
                  <a:lnTo>
                    <a:pt x="216" y="281"/>
                  </a:lnTo>
                  <a:lnTo>
                    <a:pt x="228" y="271"/>
                  </a:lnTo>
                  <a:lnTo>
                    <a:pt x="238" y="263"/>
                  </a:lnTo>
                  <a:lnTo>
                    <a:pt x="246" y="258"/>
                  </a:lnTo>
                  <a:lnTo>
                    <a:pt x="264" y="249"/>
                  </a:lnTo>
                  <a:lnTo>
                    <a:pt x="283" y="239"/>
                  </a:lnTo>
                  <a:lnTo>
                    <a:pt x="300" y="229"/>
                  </a:lnTo>
                  <a:lnTo>
                    <a:pt x="317" y="217"/>
                  </a:lnTo>
                  <a:lnTo>
                    <a:pt x="324" y="212"/>
                  </a:lnTo>
                  <a:lnTo>
                    <a:pt x="331" y="205"/>
                  </a:lnTo>
                  <a:lnTo>
                    <a:pt x="338" y="199"/>
                  </a:lnTo>
                  <a:lnTo>
                    <a:pt x="342" y="192"/>
                  </a:lnTo>
                  <a:lnTo>
                    <a:pt x="346" y="185"/>
                  </a:lnTo>
                  <a:lnTo>
                    <a:pt x="350" y="177"/>
                  </a:lnTo>
                  <a:lnTo>
                    <a:pt x="352" y="169"/>
                  </a:lnTo>
                  <a:lnTo>
                    <a:pt x="352" y="159"/>
                  </a:lnTo>
                  <a:lnTo>
                    <a:pt x="351" y="149"/>
                  </a:lnTo>
                  <a:lnTo>
                    <a:pt x="349" y="137"/>
                  </a:lnTo>
                  <a:lnTo>
                    <a:pt x="344" y="125"/>
                  </a:lnTo>
                  <a:lnTo>
                    <a:pt x="339" y="113"/>
                  </a:lnTo>
                  <a:lnTo>
                    <a:pt x="330" y="91"/>
                  </a:lnTo>
                  <a:lnTo>
                    <a:pt x="325" y="7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412" name="Freeform 364"/>
            <p:cNvSpPr>
              <a:spLocks/>
            </p:cNvSpPr>
            <p:nvPr/>
          </p:nvSpPr>
          <p:spPr bwMode="auto">
            <a:xfrm>
              <a:off x="923" y="2662"/>
              <a:ext cx="17" cy="26"/>
            </a:xfrm>
            <a:custGeom>
              <a:avLst/>
              <a:gdLst/>
              <a:ahLst/>
              <a:cxnLst>
                <a:cxn ang="0">
                  <a:pos x="14" y="0"/>
                </a:cxn>
                <a:cxn ang="0">
                  <a:pos x="20" y="0"/>
                </a:cxn>
                <a:cxn ang="0">
                  <a:pos x="25" y="2"/>
                </a:cxn>
                <a:cxn ang="0">
                  <a:pos x="30" y="6"/>
                </a:cxn>
                <a:cxn ang="0">
                  <a:pos x="36" y="9"/>
                </a:cxn>
                <a:cxn ang="0">
                  <a:pos x="40" y="13"/>
                </a:cxn>
                <a:cxn ang="0">
                  <a:pos x="45" y="17"/>
                </a:cxn>
                <a:cxn ang="0">
                  <a:pos x="47" y="21"/>
                </a:cxn>
                <a:cxn ang="0">
                  <a:pos x="48" y="24"/>
                </a:cxn>
                <a:cxn ang="0">
                  <a:pos x="51" y="34"/>
                </a:cxn>
                <a:cxn ang="0">
                  <a:pos x="52" y="41"/>
                </a:cxn>
                <a:cxn ang="0">
                  <a:pos x="51" y="46"/>
                </a:cxn>
                <a:cxn ang="0">
                  <a:pos x="49" y="50"/>
                </a:cxn>
                <a:cxn ang="0">
                  <a:pos x="47" y="54"/>
                </a:cxn>
                <a:cxn ang="0">
                  <a:pos x="44" y="60"/>
                </a:cxn>
                <a:cxn ang="0">
                  <a:pos x="41" y="65"/>
                </a:cxn>
                <a:cxn ang="0">
                  <a:pos x="41" y="73"/>
                </a:cxn>
                <a:cxn ang="0">
                  <a:pos x="29" y="75"/>
                </a:cxn>
                <a:cxn ang="0">
                  <a:pos x="16" y="78"/>
                </a:cxn>
                <a:cxn ang="0">
                  <a:pos x="11" y="78"/>
                </a:cxn>
                <a:cxn ang="0">
                  <a:pos x="5" y="78"/>
                </a:cxn>
                <a:cxn ang="0">
                  <a:pos x="4" y="78"/>
                </a:cxn>
                <a:cxn ang="0">
                  <a:pos x="2" y="77"/>
                </a:cxn>
                <a:cxn ang="0">
                  <a:pos x="2" y="75"/>
                </a:cxn>
                <a:cxn ang="0">
                  <a:pos x="1" y="73"/>
                </a:cxn>
                <a:cxn ang="0">
                  <a:pos x="0" y="69"/>
                </a:cxn>
                <a:cxn ang="0">
                  <a:pos x="1" y="64"/>
                </a:cxn>
                <a:cxn ang="0">
                  <a:pos x="3" y="60"/>
                </a:cxn>
                <a:cxn ang="0">
                  <a:pos x="7" y="56"/>
                </a:cxn>
                <a:cxn ang="0">
                  <a:pos x="17" y="47"/>
                </a:cxn>
                <a:cxn ang="0">
                  <a:pos x="28" y="42"/>
                </a:cxn>
                <a:cxn ang="0">
                  <a:pos x="24" y="32"/>
                </a:cxn>
                <a:cxn ang="0">
                  <a:pos x="21" y="21"/>
                </a:cxn>
                <a:cxn ang="0">
                  <a:pos x="18" y="10"/>
                </a:cxn>
                <a:cxn ang="0">
                  <a:pos x="14" y="0"/>
                </a:cxn>
              </a:cxnLst>
              <a:rect l="0" t="0" r="r" b="b"/>
              <a:pathLst>
                <a:path w="52" h="78">
                  <a:moveTo>
                    <a:pt x="14" y="0"/>
                  </a:moveTo>
                  <a:lnTo>
                    <a:pt x="20" y="0"/>
                  </a:lnTo>
                  <a:lnTo>
                    <a:pt x="25" y="2"/>
                  </a:lnTo>
                  <a:lnTo>
                    <a:pt x="30" y="6"/>
                  </a:lnTo>
                  <a:lnTo>
                    <a:pt x="36" y="9"/>
                  </a:lnTo>
                  <a:lnTo>
                    <a:pt x="40" y="13"/>
                  </a:lnTo>
                  <a:lnTo>
                    <a:pt x="45" y="17"/>
                  </a:lnTo>
                  <a:lnTo>
                    <a:pt x="47" y="21"/>
                  </a:lnTo>
                  <a:lnTo>
                    <a:pt x="48" y="24"/>
                  </a:lnTo>
                  <a:lnTo>
                    <a:pt x="51" y="34"/>
                  </a:lnTo>
                  <a:lnTo>
                    <a:pt x="52" y="41"/>
                  </a:lnTo>
                  <a:lnTo>
                    <a:pt x="51" y="46"/>
                  </a:lnTo>
                  <a:lnTo>
                    <a:pt x="49" y="50"/>
                  </a:lnTo>
                  <a:lnTo>
                    <a:pt x="47" y="54"/>
                  </a:lnTo>
                  <a:lnTo>
                    <a:pt x="44" y="60"/>
                  </a:lnTo>
                  <a:lnTo>
                    <a:pt x="41" y="65"/>
                  </a:lnTo>
                  <a:lnTo>
                    <a:pt x="41" y="73"/>
                  </a:lnTo>
                  <a:lnTo>
                    <a:pt x="29" y="75"/>
                  </a:lnTo>
                  <a:lnTo>
                    <a:pt x="16" y="78"/>
                  </a:lnTo>
                  <a:lnTo>
                    <a:pt x="11" y="78"/>
                  </a:lnTo>
                  <a:lnTo>
                    <a:pt x="5" y="78"/>
                  </a:lnTo>
                  <a:lnTo>
                    <a:pt x="4" y="78"/>
                  </a:lnTo>
                  <a:lnTo>
                    <a:pt x="2" y="77"/>
                  </a:lnTo>
                  <a:lnTo>
                    <a:pt x="2" y="75"/>
                  </a:lnTo>
                  <a:lnTo>
                    <a:pt x="1" y="73"/>
                  </a:lnTo>
                  <a:lnTo>
                    <a:pt x="0" y="69"/>
                  </a:lnTo>
                  <a:lnTo>
                    <a:pt x="1" y="64"/>
                  </a:lnTo>
                  <a:lnTo>
                    <a:pt x="3" y="60"/>
                  </a:lnTo>
                  <a:lnTo>
                    <a:pt x="7" y="56"/>
                  </a:lnTo>
                  <a:lnTo>
                    <a:pt x="17" y="47"/>
                  </a:lnTo>
                  <a:lnTo>
                    <a:pt x="28" y="42"/>
                  </a:lnTo>
                  <a:lnTo>
                    <a:pt x="24" y="32"/>
                  </a:lnTo>
                  <a:lnTo>
                    <a:pt x="21" y="21"/>
                  </a:lnTo>
                  <a:lnTo>
                    <a:pt x="18" y="10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413" name="Freeform 365"/>
            <p:cNvSpPr>
              <a:spLocks/>
            </p:cNvSpPr>
            <p:nvPr/>
          </p:nvSpPr>
          <p:spPr bwMode="auto">
            <a:xfrm>
              <a:off x="912" y="2666"/>
              <a:ext cx="9" cy="10"/>
            </a:xfrm>
            <a:custGeom>
              <a:avLst/>
              <a:gdLst/>
              <a:ahLst/>
              <a:cxnLst>
                <a:cxn ang="0">
                  <a:pos x="13" y="6"/>
                </a:cxn>
                <a:cxn ang="0">
                  <a:pos x="0" y="24"/>
                </a:cxn>
                <a:cxn ang="0">
                  <a:pos x="7" y="25"/>
                </a:cxn>
                <a:cxn ang="0">
                  <a:pos x="15" y="27"/>
                </a:cxn>
                <a:cxn ang="0">
                  <a:pos x="23" y="29"/>
                </a:cxn>
                <a:cxn ang="0">
                  <a:pos x="33" y="30"/>
                </a:cxn>
                <a:cxn ang="0">
                  <a:pos x="33" y="0"/>
                </a:cxn>
                <a:cxn ang="0">
                  <a:pos x="20" y="0"/>
                </a:cxn>
                <a:cxn ang="0">
                  <a:pos x="13" y="6"/>
                </a:cxn>
              </a:cxnLst>
              <a:rect l="0" t="0" r="r" b="b"/>
              <a:pathLst>
                <a:path w="33" h="30">
                  <a:moveTo>
                    <a:pt x="13" y="6"/>
                  </a:moveTo>
                  <a:lnTo>
                    <a:pt x="0" y="24"/>
                  </a:lnTo>
                  <a:lnTo>
                    <a:pt x="7" y="25"/>
                  </a:lnTo>
                  <a:lnTo>
                    <a:pt x="15" y="27"/>
                  </a:lnTo>
                  <a:lnTo>
                    <a:pt x="23" y="29"/>
                  </a:lnTo>
                  <a:lnTo>
                    <a:pt x="33" y="30"/>
                  </a:lnTo>
                  <a:lnTo>
                    <a:pt x="33" y="0"/>
                  </a:lnTo>
                  <a:lnTo>
                    <a:pt x="20" y="0"/>
                  </a:lnTo>
                  <a:lnTo>
                    <a:pt x="13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2414" name="Freeform 366"/>
          <p:cNvSpPr>
            <a:spLocks/>
          </p:cNvSpPr>
          <p:nvPr>
            <p:custDataLst>
              <p:tags r:id="rId266"/>
            </p:custDataLst>
          </p:nvPr>
        </p:nvSpPr>
        <p:spPr bwMode="auto">
          <a:xfrm>
            <a:off x="5356225" y="3255170"/>
            <a:ext cx="19050" cy="44054"/>
          </a:xfrm>
          <a:custGeom>
            <a:avLst/>
            <a:gdLst/>
            <a:ahLst/>
            <a:cxnLst>
              <a:cxn ang="0">
                <a:pos x="13" y="0"/>
              </a:cxn>
              <a:cxn ang="0">
                <a:pos x="25" y="0"/>
              </a:cxn>
              <a:cxn ang="0">
                <a:pos x="31" y="2"/>
              </a:cxn>
              <a:cxn ang="0">
                <a:pos x="33" y="4"/>
              </a:cxn>
              <a:cxn ang="0">
                <a:pos x="33" y="6"/>
              </a:cxn>
              <a:cxn ang="0">
                <a:pos x="32" y="8"/>
              </a:cxn>
              <a:cxn ang="0">
                <a:pos x="33" y="10"/>
              </a:cxn>
              <a:cxn ang="0">
                <a:pos x="37" y="12"/>
              </a:cxn>
              <a:cxn ang="0">
                <a:pos x="47" y="12"/>
              </a:cxn>
              <a:cxn ang="0">
                <a:pos x="42" y="19"/>
              </a:cxn>
              <a:cxn ang="0">
                <a:pos x="37" y="25"/>
              </a:cxn>
              <a:cxn ang="0">
                <a:pos x="33" y="27"/>
              </a:cxn>
              <a:cxn ang="0">
                <a:pos x="28" y="28"/>
              </a:cxn>
              <a:cxn ang="0">
                <a:pos x="16" y="27"/>
              </a:cxn>
              <a:cxn ang="0">
                <a:pos x="0" y="25"/>
              </a:cxn>
              <a:cxn ang="0">
                <a:pos x="1" y="19"/>
              </a:cxn>
              <a:cxn ang="0">
                <a:pos x="2" y="15"/>
              </a:cxn>
              <a:cxn ang="0">
                <a:pos x="4" y="13"/>
              </a:cxn>
              <a:cxn ang="0">
                <a:pos x="6" y="12"/>
              </a:cxn>
              <a:cxn ang="0">
                <a:pos x="9" y="11"/>
              </a:cxn>
              <a:cxn ang="0">
                <a:pos x="11" y="9"/>
              </a:cxn>
              <a:cxn ang="0">
                <a:pos x="13" y="5"/>
              </a:cxn>
              <a:cxn ang="0">
                <a:pos x="13" y="0"/>
              </a:cxn>
            </a:cxnLst>
            <a:rect l="0" t="0" r="r" b="b"/>
            <a:pathLst>
              <a:path w="47" h="28">
                <a:moveTo>
                  <a:pt x="13" y="0"/>
                </a:moveTo>
                <a:lnTo>
                  <a:pt x="25" y="0"/>
                </a:lnTo>
                <a:lnTo>
                  <a:pt x="31" y="2"/>
                </a:lnTo>
                <a:lnTo>
                  <a:pt x="33" y="4"/>
                </a:lnTo>
                <a:lnTo>
                  <a:pt x="33" y="6"/>
                </a:lnTo>
                <a:lnTo>
                  <a:pt x="32" y="8"/>
                </a:lnTo>
                <a:lnTo>
                  <a:pt x="33" y="10"/>
                </a:lnTo>
                <a:lnTo>
                  <a:pt x="37" y="12"/>
                </a:lnTo>
                <a:lnTo>
                  <a:pt x="47" y="12"/>
                </a:lnTo>
                <a:lnTo>
                  <a:pt x="42" y="19"/>
                </a:lnTo>
                <a:lnTo>
                  <a:pt x="37" y="25"/>
                </a:lnTo>
                <a:lnTo>
                  <a:pt x="33" y="27"/>
                </a:lnTo>
                <a:lnTo>
                  <a:pt x="28" y="28"/>
                </a:lnTo>
                <a:lnTo>
                  <a:pt x="16" y="27"/>
                </a:lnTo>
                <a:lnTo>
                  <a:pt x="0" y="25"/>
                </a:lnTo>
                <a:lnTo>
                  <a:pt x="1" y="19"/>
                </a:lnTo>
                <a:lnTo>
                  <a:pt x="2" y="15"/>
                </a:lnTo>
                <a:lnTo>
                  <a:pt x="4" y="13"/>
                </a:lnTo>
                <a:lnTo>
                  <a:pt x="6" y="12"/>
                </a:lnTo>
                <a:lnTo>
                  <a:pt x="9" y="11"/>
                </a:lnTo>
                <a:lnTo>
                  <a:pt x="11" y="9"/>
                </a:lnTo>
                <a:lnTo>
                  <a:pt x="13" y="5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415" name="Freeform 367"/>
          <p:cNvSpPr>
            <a:spLocks/>
          </p:cNvSpPr>
          <p:nvPr>
            <p:custDataLst>
              <p:tags r:id="rId267"/>
            </p:custDataLst>
          </p:nvPr>
        </p:nvSpPr>
        <p:spPr bwMode="auto">
          <a:xfrm>
            <a:off x="5327657" y="3275415"/>
            <a:ext cx="23813" cy="42863"/>
          </a:xfrm>
          <a:custGeom>
            <a:avLst/>
            <a:gdLst/>
            <a:ahLst/>
            <a:cxnLst>
              <a:cxn ang="0">
                <a:pos x="13" y="0"/>
              </a:cxn>
              <a:cxn ang="0">
                <a:pos x="26" y="1"/>
              </a:cxn>
              <a:cxn ang="0">
                <a:pos x="34" y="1"/>
              </a:cxn>
              <a:cxn ang="0">
                <a:pos x="37" y="3"/>
              </a:cxn>
              <a:cxn ang="0">
                <a:pos x="37" y="4"/>
              </a:cxn>
              <a:cxn ang="0">
                <a:pos x="37" y="6"/>
              </a:cxn>
              <a:cxn ang="0">
                <a:pos x="39" y="8"/>
              </a:cxn>
              <a:cxn ang="0">
                <a:pos x="44" y="10"/>
              </a:cxn>
              <a:cxn ang="0">
                <a:pos x="53" y="12"/>
              </a:cxn>
              <a:cxn ang="0">
                <a:pos x="48" y="22"/>
              </a:cxn>
              <a:cxn ang="0">
                <a:pos x="44" y="28"/>
              </a:cxn>
              <a:cxn ang="0">
                <a:pos x="42" y="31"/>
              </a:cxn>
              <a:cxn ang="0">
                <a:pos x="38" y="32"/>
              </a:cxn>
              <a:cxn ang="0">
                <a:pos x="36" y="33"/>
              </a:cxn>
              <a:cxn ang="0">
                <a:pos x="34" y="33"/>
              </a:cxn>
              <a:cxn ang="0">
                <a:pos x="20" y="30"/>
              </a:cxn>
              <a:cxn ang="0">
                <a:pos x="0" y="24"/>
              </a:cxn>
              <a:cxn ang="0">
                <a:pos x="0" y="19"/>
              </a:cxn>
              <a:cxn ang="0">
                <a:pos x="2" y="16"/>
              </a:cxn>
              <a:cxn ang="0">
                <a:pos x="4" y="14"/>
              </a:cxn>
              <a:cxn ang="0">
                <a:pos x="7" y="12"/>
              </a:cxn>
              <a:cxn ang="0">
                <a:pos x="9" y="11"/>
              </a:cxn>
              <a:cxn ang="0">
                <a:pos x="11" y="9"/>
              </a:cxn>
              <a:cxn ang="0">
                <a:pos x="12" y="6"/>
              </a:cxn>
              <a:cxn ang="0">
                <a:pos x="13" y="0"/>
              </a:cxn>
            </a:cxnLst>
            <a:rect l="0" t="0" r="r" b="b"/>
            <a:pathLst>
              <a:path w="53" h="33">
                <a:moveTo>
                  <a:pt x="13" y="0"/>
                </a:moveTo>
                <a:lnTo>
                  <a:pt x="26" y="1"/>
                </a:lnTo>
                <a:lnTo>
                  <a:pt x="34" y="1"/>
                </a:lnTo>
                <a:lnTo>
                  <a:pt x="37" y="3"/>
                </a:lnTo>
                <a:lnTo>
                  <a:pt x="37" y="4"/>
                </a:lnTo>
                <a:lnTo>
                  <a:pt x="37" y="6"/>
                </a:lnTo>
                <a:lnTo>
                  <a:pt x="39" y="8"/>
                </a:lnTo>
                <a:lnTo>
                  <a:pt x="44" y="10"/>
                </a:lnTo>
                <a:lnTo>
                  <a:pt x="53" y="12"/>
                </a:lnTo>
                <a:lnTo>
                  <a:pt x="48" y="22"/>
                </a:lnTo>
                <a:lnTo>
                  <a:pt x="44" y="28"/>
                </a:lnTo>
                <a:lnTo>
                  <a:pt x="42" y="31"/>
                </a:lnTo>
                <a:lnTo>
                  <a:pt x="38" y="32"/>
                </a:lnTo>
                <a:lnTo>
                  <a:pt x="36" y="33"/>
                </a:lnTo>
                <a:lnTo>
                  <a:pt x="34" y="33"/>
                </a:lnTo>
                <a:lnTo>
                  <a:pt x="20" y="30"/>
                </a:lnTo>
                <a:lnTo>
                  <a:pt x="0" y="24"/>
                </a:lnTo>
                <a:lnTo>
                  <a:pt x="0" y="19"/>
                </a:lnTo>
                <a:lnTo>
                  <a:pt x="2" y="16"/>
                </a:lnTo>
                <a:lnTo>
                  <a:pt x="4" y="14"/>
                </a:lnTo>
                <a:lnTo>
                  <a:pt x="7" y="12"/>
                </a:lnTo>
                <a:lnTo>
                  <a:pt x="9" y="11"/>
                </a:lnTo>
                <a:lnTo>
                  <a:pt x="11" y="9"/>
                </a:lnTo>
                <a:lnTo>
                  <a:pt x="12" y="6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grpSp>
        <p:nvGrpSpPr>
          <p:cNvPr id="12" name="Group 368"/>
          <p:cNvGrpSpPr>
            <a:grpSpLocks/>
          </p:cNvGrpSpPr>
          <p:nvPr>
            <p:custDataLst>
              <p:tags r:id="rId268"/>
            </p:custDataLst>
          </p:nvPr>
        </p:nvGrpSpPr>
        <p:grpSpPr bwMode="auto">
          <a:xfrm>
            <a:off x="5168900" y="2894413"/>
            <a:ext cx="168275" cy="77390"/>
            <a:chOff x="3481" y="2773"/>
            <a:chExt cx="125" cy="65"/>
          </a:xfrm>
        </p:grpSpPr>
        <p:sp>
          <p:nvSpPr>
            <p:cNvPr id="2417" name="Freeform 369"/>
            <p:cNvSpPr>
              <a:spLocks/>
            </p:cNvSpPr>
            <p:nvPr/>
          </p:nvSpPr>
          <p:spPr bwMode="auto">
            <a:xfrm>
              <a:off x="3583" y="2798"/>
              <a:ext cx="5" cy="6"/>
            </a:xfrm>
            <a:custGeom>
              <a:avLst/>
              <a:gdLst/>
              <a:ahLst/>
              <a:cxnLst>
                <a:cxn ang="0">
                  <a:pos x="13" y="0"/>
                </a:cxn>
                <a:cxn ang="0">
                  <a:pos x="10" y="9"/>
                </a:cxn>
                <a:cxn ang="0">
                  <a:pos x="6" y="18"/>
                </a:cxn>
                <a:cxn ang="0">
                  <a:pos x="5" y="17"/>
                </a:cxn>
                <a:cxn ang="0">
                  <a:pos x="3" y="14"/>
                </a:cxn>
                <a:cxn ang="0">
                  <a:pos x="1" y="10"/>
                </a:cxn>
                <a:cxn ang="0">
                  <a:pos x="0" y="6"/>
                </a:cxn>
              </a:cxnLst>
              <a:rect l="0" t="0" r="r" b="b"/>
              <a:pathLst>
                <a:path w="13" h="18">
                  <a:moveTo>
                    <a:pt x="13" y="0"/>
                  </a:moveTo>
                  <a:lnTo>
                    <a:pt x="10" y="9"/>
                  </a:lnTo>
                  <a:lnTo>
                    <a:pt x="6" y="18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1" y="10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418" name="Line 370"/>
            <p:cNvSpPr>
              <a:spLocks noChangeShapeType="1"/>
            </p:cNvSpPr>
            <p:nvPr/>
          </p:nvSpPr>
          <p:spPr bwMode="auto">
            <a:xfrm>
              <a:off x="3583" y="2800"/>
              <a:ext cx="2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419" name="Freeform 371"/>
            <p:cNvSpPr>
              <a:spLocks/>
            </p:cNvSpPr>
            <p:nvPr/>
          </p:nvSpPr>
          <p:spPr bwMode="auto">
            <a:xfrm>
              <a:off x="3554" y="2819"/>
              <a:ext cx="5" cy="6"/>
            </a:xfrm>
            <a:custGeom>
              <a:avLst/>
              <a:gdLst/>
              <a:ahLst/>
              <a:cxnLst>
                <a:cxn ang="0">
                  <a:pos x="14" y="19"/>
                </a:cxn>
                <a:cxn ang="0">
                  <a:pos x="0" y="0"/>
                </a:cxn>
                <a:cxn ang="0">
                  <a:pos x="14" y="19"/>
                </a:cxn>
              </a:cxnLst>
              <a:rect l="0" t="0" r="r" b="b"/>
              <a:pathLst>
                <a:path w="14" h="19">
                  <a:moveTo>
                    <a:pt x="14" y="19"/>
                  </a:moveTo>
                  <a:lnTo>
                    <a:pt x="0" y="0"/>
                  </a:lnTo>
                  <a:lnTo>
                    <a:pt x="14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420" name="Freeform 372"/>
            <p:cNvSpPr>
              <a:spLocks/>
            </p:cNvSpPr>
            <p:nvPr/>
          </p:nvSpPr>
          <p:spPr bwMode="auto">
            <a:xfrm>
              <a:off x="3528" y="2832"/>
              <a:ext cx="2" cy="6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7" y="18"/>
                </a:cxn>
                <a:cxn ang="0">
                  <a:pos x="0" y="18"/>
                </a:cxn>
                <a:cxn ang="0">
                  <a:pos x="0" y="0"/>
                </a:cxn>
                <a:cxn ang="0">
                  <a:pos x="7" y="0"/>
                </a:cxn>
              </a:cxnLst>
              <a:rect l="0" t="0" r="r" b="b"/>
              <a:pathLst>
                <a:path w="7" h="18">
                  <a:moveTo>
                    <a:pt x="0" y="6"/>
                  </a:moveTo>
                  <a:lnTo>
                    <a:pt x="7" y="1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421" name="Freeform 373"/>
            <p:cNvSpPr>
              <a:spLocks/>
            </p:cNvSpPr>
            <p:nvPr/>
          </p:nvSpPr>
          <p:spPr bwMode="auto">
            <a:xfrm>
              <a:off x="3599" y="2773"/>
              <a:ext cx="7" cy="4"/>
            </a:xfrm>
            <a:custGeom>
              <a:avLst/>
              <a:gdLst/>
              <a:ahLst/>
              <a:cxnLst>
                <a:cxn ang="0">
                  <a:pos x="20" y="12"/>
                </a:cxn>
                <a:cxn ang="0">
                  <a:pos x="10" y="9"/>
                </a:cxn>
                <a:cxn ang="0">
                  <a:pos x="0" y="6"/>
                </a:cxn>
                <a:cxn ang="0">
                  <a:pos x="1" y="5"/>
                </a:cxn>
                <a:cxn ang="0">
                  <a:pos x="3" y="3"/>
                </a:cxn>
                <a:cxn ang="0">
                  <a:pos x="8" y="1"/>
                </a:cxn>
                <a:cxn ang="0">
                  <a:pos x="13" y="0"/>
                </a:cxn>
              </a:cxnLst>
              <a:rect l="0" t="0" r="r" b="b"/>
              <a:pathLst>
                <a:path w="20" h="12">
                  <a:moveTo>
                    <a:pt x="20" y="12"/>
                  </a:moveTo>
                  <a:lnTo>
                    <a:pt x="10" y="9"/>
                  </a:lnTo>
                  <a:lnTo>
                    <a:pt x="0" y="6"/>
                  </a:lnTo>
                  <a:lnTo>
                    <a:pt x="1" y="5"/>
                  </a:lnTo>
                  <a:lnTo>
                    <a:pt x="3" y="3"/>
                  </a:lnTo>
                  <a:lnTo>
                    <a:pt x="8" y="1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422" name="Line 374"/>
            <p:cNvSpPr>
              <a:spLocks noChangeShapeType="1"/>
            </p:cNvSpPr>
            <p:nvPr/>
          </p:nvSpPr>
          <p:spPr bwMode="auto">
            <a:xfrm>
              <a:off x="3603" y="2773"/>
              <a:ext cx="1" cy="2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423" name="Freeform 375"/>
            <p:cNvSpPr>
              <a:spLocks/>
            </p:cNvSpPr>
            <p:nvPr/>
          </p:nvSpPr>
          <p:spPr bwMode="auto">
            <a:xfrm>
              <a:off x="3481" y="2828"/>
              <a:ext cx="7" cy="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8"/>
                </a:cxn>
                <a:cxn ang="0">
                  <a:pos x="20" y="18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0" y="18"/>
                  </a:lnTo>
                  <a:lnTo>
                    <a:pt x="2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424" name="Freeform 376"/>
            <p:cNvSpPr>
              <a:spLocks/>
            </p:cNvSpPr>
            <p:nvPr/>
          </p:nvSpPr>
          <p:spPr bwMode="auto">
            <a:xfrm>
              <a:off x="3485" y="2830"/>
              <a:ext cx="3" cy="4"/>
            </a:xfrm>
            <a:custGeom>
              <a:avLst/>
              <a:gdLst/>
              <a:ahLst/>
              <a:cxnLst>
                <a:cxn ang="0">
                  <a:pos x="7" y="12"/>
                </a:cxn>
                <a:cxn ang="0">
                  <a:pos x="4" y="6"/>
                </a:cxn>
                <a:cxn ang="0">
                  <a:pos x="0" y="0"/>
                </a:cxn>
              </a:cxnLst>
              <a:rect l="0" t="0" r="r" b="b"/>
              <a:pathLst>
                <a:path w="7" h="12">
                  <a:moveTo>
                    <a:pt x="7" y="12"/>
                  </a:moveTo>
                  <a:lnTo>
                    <a:pt x="4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425" name="Freeform 377"/>
            <p:cNvSpPr>
              <a:spLocks/>
            </p:cNvSpPr>
            <p:nvPr/>
          </p:nvSpPr>
          <p:spPr bwMode="auto">
            <a:xfrm>
              <a:off x="3481" y="2828"/>
              <a:ext cx="7" cy="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8"/>
                </a:cxn>
                <a:cxn ang="0">
                  <a:pos x="20" y="18"/>
                </a:cxn>
                <a:cxn ang="0">
                  <a:pos x="17" y="12"/>
                </a:cxn>
                <a:cxn ang="0">
                  <a:pos x="13" y="6"/>
                </a:cxn>
                <a:cxn ang="0">
                  <a:pos x="0" y="0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0" y="18"/>
                  </a:lnTo>
                  <a:lnTo>
                    <a:pt x="20" y="18"/>
                  </a:lnTo>
                  <a:lnTo>
                    <a:pt x="17" y="12"/>
                  </a:lnTo>
                  <a:lnTo>
                    <a:pt x="13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426" name="Freeform 378"/>
            <p:cNvSpPr>
              <a:spLocks/>
            </p:cNvSpPr>
            <p:nvPr/>
          </p:nvSpPr>
          <p:spPr bwMode="auto">
            <a:xfrm>
              <a:off x="3528" y="2832"/>
              <a:ext cx="2" cy="6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7" y="18"/>
                </a:cxn>
                <a:cxn ang="0">
                  <a:pos x="0" y="18"/>
                </a:cxn>
                <a:cxn ang="0">
                  <a:pos x="0" y="0"/>
                </a:cxn>
                <a:cxn ang="0">
                  <a:pos x="7" y="0"/>
                </a:cxn>
                <a:cxn ang="0">
                  <a:pos x="0" y="6"/>
                </a:cxn>
              </a:cxnLst>
              <a:rect l="0" t="0" r="r" b="b"/>
              <a:pathLst>
                <a:path w="7" h="18">
                  <a:moveTo>
                    <a:pt x="0" y="6"/>
                  </a:moveTo>
                  <a:lnTo>
                    <a:pt x="7" y="1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0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427" name="Freeform 379"/>
            <p:cNvSpPr>
              <a:spLocks/>
            </p:cNvSpPr>
            <p:nvPr/>
          </p:nvSpPr>
          <p:spPr bwMode="auto">
            <a:xfrm>
              <a:off x="3583" y="2798"/>
              <a:ext cx="5" cy="6"/>
            </a:xfrm>
            <a:custGeom>
              <a:avLst/>
              <a:gdLst/>
              <a:ahLst/>
              <a:cxnLst>
                <a:cxn ang="0">
                  <a:pos x="13" y="0"/>
                </a:cxn>
                <a:cxn ang="0">
                  <a:pos x="10" y="9"/>
                </a:cxn>
                <a:cxn ang="0">
                  <a:pos x="6" y="18"/>
                </a:cxn>
                <a:cxn ang="0">
                  <a:pos x="5" y="17"/>
                </a:cxn>
                <a:cxn ang="0">
                  <a:pos x="3" y="14"/>
                </a:cxn>
                <a:cxn ang="0">
                  <a:pos x="1" y="10"/>
                </a:cxn>
                <a:cxn ang="0">
                  <a:pos x="0" y="6"/>
                </a:cxn>
                <a:cxn ang="0">
                  <a:pos x="6" y="6"/>
                </a:cxn>
                <a:cxn ang="0">
                  <a:pos x="13" y="0"/>
                </a:cxn>
              </a:cxnLst>
              <a:rect l="0" t="0" r="r" b="b"/>
              <a:pathLst>
                <a:path w="13" h="18">
                  <a:moveTo>
                    <a:pt x="13" y="0"/>
                  </a:moveTo>
                  <a:lnTo>
                    <a:pt x="10" y="9"/>
                  </a:lnTo>
                  <a:lnTo>
                    <a:pt x="6" y="18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1" y="10"/>
                  </a:lnTo>
                  <a:lnTo>
                    <a:pt x="0" y="6"/>
                  </a:lnTo>
                  <a:lnTo>
                    <a:pt x="6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2428" name="Freeform 380"/>
          <p:cNvSpPr>
            <a:spLocks/>
          </p:cNvSpPr>
          <p:nvPr>
            <p:custDataLst>
              <p:tags r:id="rId269"/>
            </p:custDataLst>
          </p:nvPr>
        </p:nvSpPr>
        <p:spPr bwMode="auto">
          <a:xfrm>
            <a:off x="4297365" y="2888460"/>
            <a:ext cx="319087" cy="284560"/>
          </a:xfrm>
          <a:custGeom>
            <a:avLst/>
            <a:gdLst/>
            <a:ahLst/>
            <a:cxnLst>
              <a:cxn ang="0">
                <a:pos x="60" y="685"/>
              </a:cxn>
              <a:cxn ang="0">
                <a:pos x="91" y="668"/>
              </a:cxn>
              <a:cxn ang="0">
                <a:pos x="126" y="668"/>
              </a:cxn>
              <a:cxn ang="0">
                <a:pos x="196" y="692"/>
              </a:cxn>
              <a:cxn ang="0">
                <a:pos x="245" y="705"/>
              </a:cxn>
              <a:cxn ang="0">
                <a:pos x="292" y="703"/>
              </a:cxn>
              <a:cxn ang="0">
                <a:pos x="611" y="717"/>
              </a:cxn>
              <a:cxn ang="0">
                <a:pos x="651" y="707"/>
              </a:cxn>
              <a:cxn ang="0">
                <a:pos x="627" y="657"/>
              </a:cxn>
              <a:cxn ang="0">
                <a:pos x="664" y="433"/>
              </a:cxn>
              <a:cxn ang="0">
                <a:pos x="709" y="429"/>
              </a:cxn>
              <a:cxn ang="0">
                <a:pos x="723" y="416"/>
              </a:cxn>
              <a:cxn ang="0">
                <a:pos x="734" y="360"/>
              </a:cxn>
              <a:cxn ang="0">
                <a:pos x="722" y="302"/>
              </a:cxn>
              <a:cxn ang="0">
                <a:pos x="708" y="304"/>
              </a:cxn>
              <a:cxn ang="0">
                <a:pos x="676" y="300"/>
              </a:cxn>
              <a:cxn ang="0">
                <a:pos x="634" y="299"/>
              </a:cxn>
              <a:cxn ang="0">
                <a:pos x="623" y="290"/>
              </a:cxn>
              <a:cxn ang="0">
                <a:pos x="617" y="253"/>
              </a:cxn>
              <a:cxn ang="0">
                <a:pos x="607" y="219"/>
              </a:cxn>
              <a:cxn ang="0">
                <a:pos x="597" y="186"/>
              </a:cxn>
              <a:cxn ang="0">
                <a:pos x="607" y="167"/>
              </a:cxn>
              <a:cxn ang="0">
                <a:pos x="617" y="148"/>
              </a:cxn>
              <a:cxn ang="0">
                <a:pos x="611" y="100"/>
              </a:cxn>
              <a:cxn ang="0">
                <a:pos x="544" y="70"/>
              </a:cxn>
              <a:cxn ang="0">
                <a:pos x="477" y="66"/>
              </a:cxn>
              <a:cxn ang="0">
                <a:pos x="471" y="81"/>
              </a:cxn>
              <a:cxn ang="0">
                <a:pos x="463" y="101"/>
              </a:cxn>
              <a:cxn ang="0">
                <a:pos x="440" y="122"/>
              </a:cxn>
              <a:cxn ang="0">
                <a:pos x="392" y="130"/>
              </a:cxn>
              <a:cxn ang="0">
                <a:pos x="364" y="115"/>
              </a:cxn>
              <a:cxn ang="0">
                <a:pos x="339" y="82"/>
              </a:cxn>
              <a:cxn ang="0">
                <a:pos x="319" y="39"/>
              </a:cxn>
              <a:cxn ang="0">
                <a:pos x="312" y="0"/>
              </a:cxn>
              <a:cxn ang="0">
                <a:pos x="30" y="15"/>
              </a:cxn>
              <a:cxn ang="0">
                <a:pos x="47" y="29"/>
              </a:cxn>
              <a:cxn ang="0">
                <a:pos x="75" y="75"/>
              </a:cxn>
              <a:cxn ang="0">
                <a:pos x="102" y="130"/>
              </a:cxn>
              <a:cxn ang="0">
                <a:pos x="103" y="171"/>
              </a:cxn>
              <a:cxn ang="0">
                <a:pos x="93" y="203"/>
              </a:cxn>
              <a:cxn ang="0">
                <a:pos x="96" y="229"/>
              </a:cxn>
              <a:cxn ang="0">
                <a:pos x="119" y="272"/>
              </a:cxn>
              <a:cxn ang="0">
                <a:pos x="131" y="307"/>
              </a:cxn>
              <a:cxn ang="0">
                <a:pos x="127" y="352"/>
              </a:cxn>
              <a:cxn ang="0">
                <a:pos x="106" y="403"/>
              </a:cxn>
              <a:cxn ang="0">
                <a:pos x="77" y="446"/>
              </a:cxn>
              <a:cxn ang="0">
                <a:pos x="41" y="477"/>
              </a:cxn>
              <a:cxn ang="0">
                <a:pos x="25" y="591"/>
              </a:cxn>
              <a:cxn ang="0">
                <a:pos x="11" y="627"/>
              </a:cxn>
            </a:cxnLst>
            <a:rect l="0" t="0" r="r" b="b"/>
            <a:pathLst>
              <a:path w="736" h="721">
                <a:moveTo>
                  <a:pt x="0" y="691"/>
                </a:moveTo>
                <a:lnTo>
                  <a:pt x="46" y="697"/>
                </a:lnTo>
                <a:lnTo>
                  <a:pt x="53" y="690"/>
                </a:lnTo>
                <a:lnTo>
                  <a:pt x="60" y="685"/>
                </a:lnTo>
                <a:lnTo>
                  <a:pt x="68" y="679"/>
                </a:lnTo>
                <a:lnTo>
                  <a:pt x="75" y="674"/>
                </a:lnTo>
                <a:lnTo>
                  <a:pt x="83" y="671"/>
                </a:lnTo>
                <a:lnTo>
                  <a:pt x="91" y="668"/>
                </a:lnTo>
                <a:lnTo>
                  <a:pt x="97" y="666"/>
                </a:lnTo>
                <a:lnTo>
                  <a:pt x="105" y="666"/>
                </a:lnTo>
                <a:lnTo>
                  <a:pt x="116" y="666"/>
                </a:lnTo>
                <a:lnTo>
                  <a:pt x="126" y="668"/>
                </a:lnTo>
                <a:lnTo>
                  <a:pt x="137" y="671"/>
                </a:lnTo>
                <a:lnTo>
                  <a:pt x="149" y="674"/>
                </a:lnTo>
                <a:lnTo>
                  <a:pt x="172" y="683"/>
                </a:lnTo>
                <a:lnTo>
                  <a:pt x="196" y="692"/>
                </a:lnTo>
                <a:lnTo>
                  <a:pt x="208" y="696"/>
                </a:lnTo>
                <a:lnTo>
                  <a:pt x="220" y="700"/>
                </a:lnTo>
                <a:lnTo>
                  <a:pt x="232" y="703"/>
                </a:lnTo>
                <a:lnTo>
                  <a:pt x="245" y="705"/>
                </a:lnTo>
                <a:lnTo>
                  <a:pt x="257" y="706"/>
                </a:lnTo>
                <a:lnTo>
                  <a:pt x="269" y="707"/>
                </a:lnTo>
                <a:lnTo>
                  <a:pt x="280" y="706"/>
                </a:lnTo>
                <a:lnTo>
                  <a:pt x="292" y="703"/>
                </a:lnTo>
                <a:lnTo>
                  <a:pt x="411" y="703"/>
                </a:lnTo>
                <a:lnTo>
                  <a:pt x="411" y="721"/>
                </a:lnTo>
                <a:lnTo>
                  <a:pt x="604" y="721"/>
                </a:lnTo>
                <a:lnTo>
                  <a:pt x="611" y="717"/>
                </a:lnTo>
                <a:lnTo>
                  <a:pt x="619" y="714"/>
                </a:lnTo>
                <a:lnTo>
                  <a:pt x="627" y="712"/>
                </a:lnTo>
                <a:lnTo>
                  <a:pt x="634" y="710"/>
                </a:lnTo>
                <a:lnTo>
                  <a:pt x="651" y="707"/>
                </a:lnTo>
                <a:lnTo>
                  <a:pt x="671" y="703"/>
                </a:lnTo>
                <a:lnTo>
                  <a:pt x="658" y="691"/>
                </a:lnTo>
                <a:lnTo>
                  <a:pt x="643" y="674"/>
                </a:lnTo>
                <a:lnTo>
                  <a:pt x="627" y="657"/>
                </a:lnTo>
                <a:lnTo>
                  <a:pt x="610" y="641"/>
                </a:lnTo>
                <a:lnTo>
                  <a:pt x="610" y="432"/>
                </a:lnTo>
                <a:lnTo>
                  <a:pt x="631" y="433"/>
                </a:lnTo>
                <a:lnTo>
                  <a:pt x="664" y="433"/>
                </a:lnTo>
                <a:lnTo>
                  <a:pt x="680" y="433"/>
                </a:lnTo>
                <a:lnTo>
                  <a:pt x="696" y="432"/>
                </a:lnTo>
                <a:lnTo>
                  <a:pt x="703" y="431"/>
                </a:lnTo>
                <a:lnTo>
                  <a:pt x="709" y="429"/>
                </a:lnTo>
                <a:lnTo>
                  <a:pt x="713" y="428"/>
                </a:lnTo>
                <a:lnTo>
                  <a:pt x="717" y="426"/>
                </a:lnTo>
                <a:lnTo>
                  <a:pt x="720" y="421"/>
                </a:lnTo>
                <a:lnTo>
                  <a:pt x="723" y="416"/>
                </a:lnTo>
                <a:lnTo>
                  <a:pt x="725" y="408"/>
                </a:lnTo>
                <a:lnTo>
                  <a:pt x="728" y="400"/>
                </a:lnTo>
                <a:lnTo>
                  <a:pt x="732" y="380"/>
                </a:lnTo>
                <a:lnTo>
                  <a:pt x="734" y="360"/>
                </a:lnTo>
                <a:lnTo>
                  <a:pt x="736" y="324"/>
                </a:lnTo>
                <a:lnTo>
                  <a:pt x="736" y="309"/>
                </a:lnTo>
                <a:lnTo>
                  <a:pt x="728" y="304"/>
                </a:lnTo>
                <a:lnTo>
                  <a:pt x="722" y="302"/>
                </a:lnTo>
                <a:lnTo>
                  <a:pt x="718" y="302"/>
                </a:lnTo>
                <a:lnTo>
                  <a:pt x="714" y="303"/>
                </a:lnTo>
                <a:lnTo>
                  <a:pt x="711" y="304"/>
                </a:lnTo>
                <a:lnTo>
                  <a:pt x="708" y="304"/>
                </a:lnTo>
                <a:lnTo>
                  <a:pt x="703" y="302"/>
                </a:lnTo>
                <a:lnTo>
                  <a:pt x="697" y="297"/>
                </a:lnTo>
                <a:lnTo>
                  <a:pt x="685" y="298"/>
                </a:lnTo>
                <a:lnTo>
                  <a:pt x="676" y="300"/>
                </a:lnTo>
                <a:lnTo>
                  <a:pt x="666" y="302"/>
                </a:lnTo>
                <a:lnTo>
                  <a:pt x="650" y="303"/>
                </a:lnTo>
                <a:lnTo>
                  <a:pt x="641" y="302"/>
                </a:lnTo>
                <a:lnTo>
                  <a:pt x="634" y="299"/>
                </a:lnTo>
                <a:lnTo>
                  <a:pt x="631" y="298"/>
                </a:lnTo>
                <a:lnTo>
                  <a:pt x="628" y="295"/>
                </a:lnTo>
                <a:lnTo>
                  <a:pt x="626" y="293"/>
                </a:lnTo>
                <a:lnTo>
                  <a:pt x="623" y="290"/>
                </a:lnTo>
                <a:lnTo>
                  <a:pt x="620" y="282"/>
                </a:lnTo>
                <a:lnTo>
                  <a:pt x="619" y="274"/>
                </a:lnTo>
                <a:lnTo>
                  <a:pt x="618" y="264"/>
                </a:lnTo>
                <a:lnTo>
                  <a:pt x="617" y="253"/>
                </a:lnTo>
                <a:lnTo>
                  <a:pt x="616" y="244"/>
                </a:lnTo>
                <a:lnTo>
                  <a:pt x="613" y="236"/>
                </a:lnTo>
                <a:lnTo>
                  <a:pt x="610" y="227"/>
                </a:lnTo>
                <a:lnTo>
                  <a:pt x="607" y="219"/>
                </a:lnTo>
                <a:lnTo>
                  <a:pt x="604" y="211"/>
                </a:lnTo>
                <a:lnTo>
                  <a:pt x="600" y="203"/>
                </a:lnTo>
                <a:lnTo>
                  <a:pt x="598" y="195"/>
                </a:lnTo>
                <a:lnTo>
                  <a:pt x="597" y="186"/>
                </a:lnTo>
                <a:lnTo>
                  <a:pt x="598" y="181"/>
                </a:lnTo>
                <a:lnTo>
                  <a:pt x="600" y="177"/>
                </a:lnTo>
                <a:lnTo>
                  <a:pt x="604" y="171"/>
                </a:lnTo>
                <a:lnTo>
                  <a:pt x="607" y="167"/>
                </a:lnTo>
                <a:lnTo>
                  <a:pt x="610" y="162"/>
                </a:lnTo>
                <a:lnTo>
                  <a:pt x="613" y="157"/>
                </a:lnTo>
                <a:lnTo>
                  <a:pt x="616" y="153"/>
                </a:lnTo>
                <a:lnTo>
                  <a:pt x="617" y="148"/>
                </a:lnTo>
                <a:lnTo>
                  <a:pt x="616" y="136"/>
                </a:lnTo>
                <a:lnTo>
                  <a:pt x="612" y="120"/>
                </a:lnTo>
                <a:lnTo>
                  <a:pt x="611" y="109"/>
                </a:lnTo>
                <a:lnTo>
                  <a:pt x="611" y="100"/>
                </a:lnTo>
                <a:lnTo>
                  <a:pt x="613" y="90"/>
                </a:lnTo>
                <a:lnTo>
                  <a:pt x="617" y="81"/>
                </a:lnTo>
                <a:lnTo>
                  <a:pt x="594" y="77"/>
                </a:lnTo>
                <a:lnTo>
                  <a:pt x="544" y="70"/>
                </a:lnTo>
                <a:lnTo>
                  <a:pt x="517" y="67"/>
                </a:lnTo>
                <a:lnTo>
                  <a:pt x="494" y="66"/>
                </a:lnTo>
                <a:lnTo>
                  <a:pt x="484" y="65"/>
                </a:lnTo>
                <a:lnTo>
                  <a:pt x="477" y="66"/>
                </a:lnTo>
                <a:lnTo>
                  <a:pt x="473" y="67"/>
                </a:lnTo>
                <a:lnTo>
                  <a:pt x="471" y="69"/>
                </a:lnTo>
                <a:lnTo>
                  <a:pt x="471" y="73"/>
                </a:lnTo>
                <a:lnTo>
                  <a:pt x="471" y="81"/>
                </a:lnTo>
                <a:lnTo>
                  <a:pt x="470" y="86"/>
                </a:lnTo>
                <a:lnTo>
                  <a:pt x="469" y="91"/>
                </a:lnTo>
                <a:lnTo>
                  <a:pt x="466" y="96"/>
                </a:lnTo>
                <a:lnTo>
                  <a:pt x="463" y="101"/>
                </a:lnTo>
                <a:lnTo>
                  <a:pt x="460" y="107"/>
                </a:lnTo>
                <a:lnTo>
                  <a:pt x="454" y="112"/>
                </a:lnTo>
                <a:lnTo>
                  <a:pt x="448" y="117"/>
                </a:lnTo>
                <a:lnTo>
                  <a:pt x="440" y="122"/>
                </a:lnTo>
                <a:lnTo>
                  <a:pt x="430" y="125"/>
                </a:lnTo>
                <a:lnTo>
                  <a:pt x="419" y="128"/>
                </a:lnTo>
                <a:lnTo>
                  <a:pt x="406" y="130"/>
                </a:lnTo>
                <a:lnTo>
                  <a:pt x="392" y="130"/>
                </a:lnTo>
                <a:lnTo>
                  <a:pt x="385" y="129"/>
                </a:lnTo>
                <a:lnTo>
                  <a:pt x="378" y="127"/>
                </a:lnTo>
                <a:lnTo>
                  <a:pt x="372" y="122"/>
                </a:lnTo>
                <a:lnTo>
                  <a:pt x="364" y="115"/>
                </a:lnTo>
                <a:lnTo>
                  <a:pt x="358" y="108"/>
                </a:lnTo>
                <a:lnTo>
                  <a:pt x="351" y="100"/>
                </a:lnTo>
                <a:lnTo>
                  <a:pt x="344" y="91"/>
                </a:lnTo>
                <a:lnTo>
                  <a:pt x="339" y="82"/>
                </a:lnTo>
                <a:lnTo>
                  <a:pt x="333" y="72"/>
                </a:lnTo>
                <a:lnTo>
                  <a:pt x="328" y="60"/>
                </a:lnTo>
                <a:lnTo>
                  <a:pt x="324" y="50"/>
                </a:lnTo>
                <a:lnTo>
                  <a:pt x="319" y="39"/>
                </a:lnTo>
                <a:lnTo>
                  <a:pt x="316" y="29"/>
                </a:lnTo>
                <a:lnTo>
                  <a:pt x="314" y="19"/>
                </a:lnTo>
                <a:lnTo>
                  <a:pt x="312" y="10"/>
                </a:lnTo>
                <a:lnTo>
                  <a:pt x="312" y="0"/>
                </a:lnTo>
                <a:lnTo>
                  <a:pt x="26" y="0"/>
                </a:lnTo>
                <a:lnTo>
                  <a:pt x="26" y="5"/>
                </a:lnTo>
                <a:lnTo>
                  <a:pt x="28" y="10"/>
                </a:lnTo>
                <a:lnTo>
                  <a:pt x="30" y="15"/>
                </a:lnTo>
                <a:lnTo>
                  <a:pt x="34" y="19"/>
                </a:lnTo>
                <a:lnTo>
                  <a:pt x="38" y="22"/>
                </a:lnTo>
                <a:lnTo>
                  <a:pt x="42" y="26"/>
                </a:lnTo>
                <a:lnTo>
                  <a:pt x="47" y="29"/>
                </a:lnTo>
                <a:lnTo>
                  <a:pt x="52" y="31"/>
                </a:lnTo>
                <a:lnTo>
                  <a:pt x="58" y="47"/>
                </a:lnTo>
                <a:lnTo>
                  <a:pt x="67" y="61"/>
                </a:lnTo>
                <a:lnTo>
                  <a:pt x="75" y="75"/>
                </a:lnTo>
                <a:lnTo>
                  <a:pt x="84" y="89"/>
                </a:lnTo>
                <a:lnTo>
                  <a:pt x="92" y="104"/>
                </a:lnTo>
                <a:lnTo>
                  <a:pt x="98" y="121"/>
                </a:lnTo>
                <a:lnTo>
                  <a:pt x="102" y="130"/>
                </a:lnTo>
                <a:lnTo>
                  <a:pt x="104" y="139"/>
                </a:lnTo>
                <a:lnTo>
                  <a:pt x="105" y="150"/>
                </a:lnTo>
                <a:lnTo>
                  <a:pt x="105" y="161"/>
                </a:lnTo>
                <a:lnTo>
                  <a:pt x="103" y="171"/>
                </a:lnTo>
                <a:lnTo>
                  <a:pt x="98" y="183"/>
                </a:lnTo>
                <a:lnTo>
                  <a:pt x="96" y="190"/>
                </a:lnTo>
                <a:lnTo>
                  <a:pt x="94" y="196"/>
                </a:lnTo>
                <a:lnTo>
                  <a:pt x="93" y="203"/>
                </a:lnTo>
                <a:lnTo>
                  <a:pt x="92" y="210"/>
                </a:lnTo>
                <a:lnTo>
                  <a:pt x="93" y="217"/>
                </a:lnTo>
                <a:lnTo>
                  <a:pt x="94" y="223"/>
                </a:lnTo>
                <a:lnTo>
                  <a:pt x="96" y="229"/>
                </a:lnTo>
                <a:lnTo>
                  <a:pt x="98" y="236"/>
                </a:lnTo>
                <a:lnTo>
                  <a:pt x="105" y="248"/>
                </a:lnTo>
                <a:lnTo>
                  <a:pt x="112" y="260"/>
                </a:lnTo>
                <a:lnTo>
                  <a:pt x="119" y="272"/>
                </a:lnTo>
                <a:lnTo>
                  <a:pt x="126" y="285"/>
                </a:lnTo>
                <a:lnTo>
                  <a:pt x="128" y="293"/>
                </a:lnTo>
                <a:lnTo>
                  <a:pt x="130" y="300"/>
                </a:lnTo>
                <a:lnTo>
                  <a:pt x="131" y="307"/>
                </a:lnTo>
                <a:lnTo>
                  <a:pt x="133" y="315"/>
                </a:lnTo>
                <a:lnTo>
                  <a:pt x="131" y="326"/>
                </a:lnTo>
                <a:lnTo>
                  <a:pt x="129" y="338"/>
                </a:lnTo>
                <a:lnTo>
                  <a:pt x="127" y="352"/>
                </a:lnTo>
                <a:lnTo>
                  <a:pt x="123" y="364"/>
                </a:lnTo>
                <a:lnTo>
                  <a:pt x="118" y="377"/>
                </a:lnTo>
                <a:lnTo>
                  <a:pt x="113" y="389"/>
                </a:lnTo>
                <a:lnTo>
                  <a:pt x="106" y="403"/>
                </a:lnTo>
                <a:lnTo>
                  <a:pt x="100" y="414"/>
                </a:lnTo>
                <a:lnTo>
                  <a:pt x="92" y="426"/>
                </a:lnTo>
                <a:lnTo>
                  <a:pt x="84" y="436"/>
                </a:lnTo>
                <a:lnTo>
                  <a:pt x="77" y="446"/>
                </a:lnTo>
                <a:lnTo>
                  <a:pt x="68" y="457"/>
                </a:lnTo>
                <a:lnTo>
                  <a:pt x="59" y="465"/>
                </a:lnTo>
                <a:lnTo>
                  <a:pt x="50" y="471"/>
                </a:lnTo>
                <a:lnTo>
                  <a:pt x="41" y="477"/>
                </a:lnTo>
                <a:lnTo>
                  <a:pt x="33" y="481"/>
                </a:lnTo>
                <a:lnTo>
                  <a:pt x="33" y="586"/>
                </a:lnTo>
                <a:lnTo>
                  <a:pt x="28" y="588"/>
                </a:lnTo>
                <a:lnTo>
                  <a:pt x="25" y="591"/>
                </a:lnTo>
                <a:lnTo>
                  <a:pt x="23" y="595"/>
                </a:lnTo>
                <a:lnTo>
                  <a:pt x="19" y="600"/>
                </a:lnTo>
                <a:lnTo>
                  <a:pt x="15" y="612"/>
                </a:lnTo>
                <a:lnTo>
                  <a:pt x="11" y="627"/>
                </a:lnTo>
                <a:lnTo>
                  <a:pt x="4" y="659"/>
                </a:lnTo>
                <a:lnTo>
                  <a:pt x="0" y="69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429" name="Freeform 381"/>
          <p:cNvSpPr>
            <a:spLocks/>
          </p:cNvSpPr>
          <p:nvPr>
            <p:custDataLst>
              <p:tags r:id="rId270"/>
            </p:custDataLst>
          </p:nvPr>
        </p:nvSpPr>
        <p:spPr bwMode="auto">
          <a:xfrm>
            <a:off x="4308475" y="2868216"/>
            <a:ext cx="15875" cy="45244"/>
          </a:xfrm>
          <a:custGeom>
            <a:avLst/>
            <a:gdLst/>
            <a:ahLst/>
            <a:cxnLst>
              <a:cxn ang="0">
                <a:pos x="0" y="31"/>
              </a:cxn>
              <a:cxn ang="0">
                <a:pos x="12" y="28"/>
              </a:cxn>
              <a:cxn ang="0">
                <a:pos x="22" y="28"/>
              </a:cxn>
              <a:cxn ang="0">
                <a:pos x="26" y="28"/>
              </a:cxn>
              <a:cxn ang="0">
                <a:pos x="30" y="28"/>
              </a:cxn>
              <a:cxn ang="0">
                <a:pos x="35" y="27"/>
              </a:cxn>
              <a:cxn ang="0">
                <a:pos x="39" y="25"/>
              </a:cxn>
              <a:cxn ang="0">
                <a:pos x="39" y="0"/>
              </a:cxn>
              <a:cxn ang="0">
                <a:pos x="26" y="0"/>
              </a:cxn>
              <a:cxn ang="0">
                <a:pos x="17" y="0"/>
              </a:cxn>
              <a:cxn ang="0">
                <a:pos x="8" y="0"/>
              </a:cxn>
              <a:cxn ang="0">
                <a:pos x="0" y="0"/>
              </a:cxn>
              <a:cxn ang="0">
                <a:pos x="0" y="31"/>
              </a:cxn>
            </a:cxnLst>
            <a:rect l="0" t="0" r="r" b="b"/>
            <a:pathLst>
              <a:path w="39" h="31">
                <a:moveTo>
                  <a:pt x="0" y="31"/>
                </a:moveTo>
                <a:lnTo>
                  <a:pt x="12" y="28"/>
                </a:lnTo>
                <a:lnTo>
                  <a:pt x="22" y="28"/>
                </a:lnTo>
                <a:lnTo>
                  <a:pt x="26" y="28"/>
                </a:lnTo>
                <a:lnTo>
                  <a:pt x="30" y="28"/>
                </a:lnTo>
                <a:lnTo>
                  <a:pt x="35" y="27"/>
                </a:lnTo>
                <a:lnTo>
                  <a:pt x="39" y="25"/>
                </a:lnTo>
                <a:lnTo>
                  <a:pt x="39" y="0"/>
                </a:lnTo>
                <a:lnTo>
                  <a:pt x="26" y="0"/>
                </a:lnTo>
                <a:lnTo>
                  <a:pt x="17" y="0"/>
                </a:lnTo>
                <a:lnTo>
                  <a:pt x="8" y="0"/>
                </a:lnTo>
                <a:lnTo>
                  <a:pt x="0" y="0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430" name="Freeform 382"/>
          <p:cNvSpPr>
            <a:spLocks/>
          </p:cNvSpPr>
          <p:nvPr>
            <p:custDataLst>
              <p:tags r:id="rId271"/>
            </p:custDataLst>
          </p:nvPr>
        </p:nvSpPr>
        <p:spPr bwMode="auto">
          <a:xfrm>
            <a:off x="4410079" y="3275415"/>
            <a:ext cx="396875" cy="298847"/>
          </a:xfrm>
          <a:custGeom>
            <a:avLst/>
            <a:gdLst/>
            <a:ahLst/>
            <a:cxnLst>
              <a:cxn ang="0">
                <a:pos x="899" y="291"/>
              </a:cxn>
              <a:cxn ang="0">
                <a:pos x="863" y="388"/>
              </a:cxn>
              <a:cxn ang="0">
                <a:pos x="832" y="414"/>
              </a:cxn>
              <a:cxn ang="0">
                <a:pos x="761" y="507"/>
              </a:cxn>
              <a:cxn ang="0">
                <a:pos x="720" y="561"/>
              </a:cxn>
              <a:cxn ang="0">
                <a:pos x="647" y="613"/>
              </a:cxn>
              <a:cxn ang="0">
                <a:pos x="583" y="666"/>
              </a:cxn>
              <a:cxn ang="0">
                <a:pos x="557" y="698"/>
              </a:cxn>
              <a:cxn ang="0">
                <a:pos x="520" y="705"/>
              </a:cxn>
              <a:cxn ang="0">
                <a:pos x="496" y="710"/>
              </a:cxn>
              <a:cxn ang="0">
                <a:pos x="485" y="727"/>
              </a:cxn>
              <a:cxn ang="0">
                <a:pos x="372" y="727"/>
              </a:cxn>
              <a:cxn ang="0">
                <a:pos x="339" y="732"/>
              </a:cxn>
              <a:cxn ang="0">
                <a:pos x="316" y="732"/>
              </a:cxn>
              <a:cxn ang="0">
                <a:pos x="286" y="727"/>
              </a:cxn>
              <a:cxn ang="0">
                <a:pos x="263" y="737"/>
              </a:cxn>
              <a:cxn ang="0">
                <a:pos x="146" y="759"/>
              </a:cxn>
              <a:cxn ang="0">
                <a:pos x="116" y="753"/>
              </a:cxn>
              <a:cxn ang="0">
                <a:pos x="90" y="739"/>
              </a:cxn>
              <a:cxn ang="0">
                <a:pos x="76" y="719"/>
              </a:cxn>
              <a:cxn ang="0">
                <a:pos x="79" y="697"/>
              </a:cxn>
              <a:cxn ang="0">
                <a:pos x="75" y="628"/>
              </a:cxn>
              <a:cxn ang="0">
                <a:pos x="79" y="608"/>
              </a:cxn>
              <a:cxn ang="0">
                <a:pos x="68" y="572"/>
              </a:cxn>
              <a:cxn ang="0">
                <a:pos x="22" y="516"/>
              </a:cxn>
              <a:cxn ang="0">
                <a:pos x="12" y="484"/>
              </a:cxn>
              <a:cxn ang="0">
                <a:pos x="10" y="439"/>
              </a:cxn>
              <a:cxn ang="0">
                <a:pos x="0" y="377"/>
              </a:cxn>
              <a:cxn ang="0">
                <a:pos x="39" y="377"/>
              </a:cxn>
              <a:cxn ang="0">
                <a:pos x="57" y="396"/>
              </a:cxn>
              <a:cxn ang="0">
                <a:pos x="94" y="410"/>
              </a:cxn>
              <a:cxn ang="0">
                <a:pos x="135" y="411"/>
              </a:cxn>
              <a:cxn ang="0">
                <a:pos x="160" y="400"/>
              </a:cxn>
              <a:cxn ang="0">
                <a:pos x="182" y="372"/>
              </a:cxn>
              <a:cxn ang="0">
                <a:pos x="197" y="229"/>
              </a:cxn>
              <a:cxn ang="0">
                <a:pos x="204" y="184"/>
              </a:cxn>
              <a:cxn ang="0">
                <a:pos x="210" y="168"/>
              </a:cxn>
              <a:cxn ang="0">
                <a:pos x="239" y="178"/>
              </a:cxn>
              <a:cxn ang="0">
                <a:pos x="245" y="238"/>
              </a:cxn>
              <a:cxn ang="0">
                <a:pos x="247" y="274"/>
              </a:cxn>
              <a:cxn ang="0">
                <a:pos x="256" y="287"/>
              </a:cxn>
              <a:cxn ang="0">
                <a:pos x="287" y="295"/>
              </a:cxn>
              <a:cxn ang="0">
                <a:pos x="312" y="293"/>
              </a:cxn>
              <a:cxn ang="0">
                <a:pos x="333" y="272"/>
              </a:cxn>
              <a:cxn ang="0">
                <a:pos x="350" y="234"/>
              </a:cxn>
              <a:cxn ang="0">
                <a:pos x="368" y="201"/>
              </a:cxn>
              <a:cxn ang="0">
                <a:pos x="387" y="191"/>
              </a:cxn>
              <a:cxn ang="0">
                <a:pos x="414" y="193"/>
              </a:cxn>
              <a:cxn ang="0">
                <a:pos x="451" y="208"/>
              </a:cxn>
              <a:cxn ang="0">
                <a:pos x="478" y="216"/>
              </a:cxn>
              <a:cxn ang="0">
                <a:pos x="512" y="213"/>
              </a:cxn>
              <a:cxn ang="0">
                <a:pos x="531" y="200"/>
              </a:cxn>
              <a:cxn ang="0">
                <a:pos x="564" y="127"/>
              </a:cxn>
              <a:cxn ang="0">
                <a:pos x="620" y="80"/>
              </a:cxn>
              <a:cxn ang="0">
                <a:pos x="732" y="11"/>
              </a:cxn>
              <a:cxn ang="0">
                <a:pos x="806" y="3"/>
              </a:cxn>
              <a:cxn ang="0">
                <a:pos x="830" y="6"/>
              </a:cxn>
              <a:cxn ang="0">
                <a:pos x="854" y="35"/>
              </a:cxn>
              <a:cxn ang="0">
                <a:pos x="873" y="71"/>
              </a:cxn>
              <a:cxn ang="0">
                <a:pos x="883" y="107"/>
              </a:cxn>
              <a:cxn ang="0">
                <a:pos x="868" y="207"/>
              </a:cxn>
              <a:cxn ang="0">
                <a:pos x="830" y="204"/>
              </a:cxn>
              <a:cxn ang="0">
                <a:pos x="826" y="281"/>
              </a:cxn>
            </a:cxnLst>
            <a:rect l="0" t="0" r="r" b="b"/>
            <a:pathLst>
              <a:path w="903" h="759">
                <a:moveTo>
                  <a:pt x="870" y="296"/>
                </a:moveTo>
                <a:lnTo>
                  <a:pt x="875" y="295"/>
                </a:lnTo>
                <a:lnTo>
                  <a:pt x="886" y="293"/>
                </a:lnTo>
                <a:lnTo>
                  <a:pt x="899" y="291"/>
                </a:lnTo>
                <a:lnTo>
                  <a:pt x="903" y="290"/>
                </a:lnTo>
                <a:lnTo>
                  <a:pt x="863" y="364"/>
                </a:lnTo>
                <a:lnTo>
                  <a:pt x="863" y="376"/>
                </a:lnTo>
                <a:lnTo>
                  <a:pt x="863" y="388"/>
                </a:lnTo>
                <a:lnTo>
                  <a:pt x="857" y="392"/>
                </a:lnTo>
                <a:lnTo>
                  <a:pt x="849" y="397"/>
                </a:lnTo>
                <a:lnTo>
                  <a:pt x="840" y="405"/>
                </a:lnTo>
                <a:lnTo>
                  <a:pt x="832" y="414"/>
                </a:lnTo>
                <a:lnTo>
                  <a:pt x="813" y="436"/>
                </a:lnTo>
                <a:lnTo>
                  <a:pt x="794" y="460"/>
                </a:lnTo>
                <a:lnTo>
                  <a:pt x="776" y="485"/>
                </a:lnTo>
                <a:lnTo>
                  <a:pt x="761" y="507"/>
                </a:lnTo>
                <a:lnTo>
                  <a:pt x="749" y="525"/>
                </a:lnTo>
                <a:lnTo>
                  <a:pt x="744" y="537"/>
                </a:lnTo>
                <a:lnTo>
                  <a:pt x="732" y="550"/>
                </a:lnTo>
                <a:lnTo>
                  <a:pt x="720" y="561"/>
                </a:lnTo>
                <a:lnTo>
                  <a:pt x="706" y="571"/>
                </a:lnTo>
                <a:lnTo>
                  <a:pt x="694" y="581"/>
                </a:lnTo>
                <a:lnTo>
                  <a:pt x="670" y="598"/>
                </a:lnTo>
                <a:lnTo>
                  <a:pt x="647" y="613"/>
                </a:lnTo>
                <a:lnTo>
                  <a:pt x="624" y="628"/>
                </a:lnTo>
                <a:lnTo>
                  <a:pt x="603" y="646"/>
                </a:lnTo>
                <a:lnTo>
                  <a:pt x="592" y="655"/>
                </a:lnTo>
                <a:lnTo>
                  <a:pt x="583" y="666"/>
                </a:lnTo>
                <a:lnTo>
                  <a:pt x="574" y="677"/>
                </a:lnTo>
                <a:lnTo>
                  <a:pt x="565" y="690"/>
                </a:lnTo>
                <a:lnTo>
                  <a:pt x="561" y="694"/>
                </a:lnTo>
                <a:lnTo>
                  <a:pt x="557" y="698"/>
                </a:lnTo>
                <a:lnTo>
                  <a:pt x="553" y="700"/>
                </a:lnTo>
                <a:lnTo>
                  <a:pt x="546" y="702"/>
                </a:lnTo>
                <a:lnTo>
                  <a:pt x="534" y="704"/>
                </a:lnTo>
                <a:lnTo>
                  <a:pt x="520" y="705"/>
                </a:lnTo>
                <a:lnTo>
                  <a:pt x="513" y="705"/>
                </a:lnTo>
                <a:lnTo>
                  <a:pt x="507" y="706"/>
                </a:lnTo>
                <a:lnTo>
                  <a:pt x="501" y="708"/>
                </a:lnTo>
                <a:lnTo>
                  <a:pt x="496" y="710"/>
                </a:lnTo>
                <a:lnTo>
                  <a:pt x="491" y="713"/>
                </a:lnTo>
                <a:lnTo>
                  <a:pt x="488" y="716"/>
                </a:lnTo>
                <a:lnTo>
                  <a:pt x="486" y="721"/>
                </a:lnTo>
                <a:lnTo>
                  <a:pt x="485" y="727"/>
                </a:lnTo>
                <a:lnTo>
                  <a:pt x="444" y="727"/>
                </a:lnTo>
                <a:lnTo>
                  <a:pt x="415" y="727"/>
                </a:lnTo>
                <a:lnTo>
                  <a:pt x="395" y="727"/>
                </a:lnTo>
                <a:lnTo>
                  <a:pt x="372" y="727"/>
                </a:lnTo>
                <a:lnTo>
                  <a:pt x="359" y="727"/>
                </a:lnTo>
                <a:lnTo>
                  <a:pt x="348" y="729"/>
                </a:lnTo>
                <a:lnTo>
                  <a:pt x="344" y="730"/>
                </a:lnTo>
                <a:lnTo>
                  <a:pt x="339" y="732"/>
                </a:lnTo>
                <a:lnTo>
                  <a:pt x="332" y="735"/>
                </a:lnTo>
                <a:lnTo>
                  <a:pt x="325" y="739"/>
                </a:lnTo>
                <a:lnTo>
                  <a:pt x="320" y="735"/>
                </a:lnTo>
                <a:lnTo>
                  <a:pt x="316" y="732"/>
                </a:lnTo>
                <a:lnTo>
                  <a:pt x="310" y="730"/>
                </a:lnTo>
                <a:lnTo>
                  <a:pt x="306" y="729"/>
                </a:lnTo>
                <a:lnTo>
                  <a:pt x="296" y="727"/>
                </a:lnTo>
                <a:lnTo>
                  <a:pt x="286" y="727"/>
                </a:lnTo>
                <a:lnTo>
                  <a:pt x="283" y="730"/>
                </a:lnTo>
                <a:lnTo>
                  <a:pt x="278" y="732"/>
                </a:lnTo>
                <a:lnTo>
                  <a:pt x="272" y="735"/>
                </a:lnTo>
                <a:lnTo>
                  <a:pt x="263" y="737"/>
                </a:lnTo>
                <a:lnTo>
                  <a:pt x="242" y="742"/>
                </a:lnTo>
                <a:lnTo>
                  <a:pt x="218" y="747"/>
                </a:lnTo>
                <a:lnTo>
                  <a:pt x="173" y="756"/>
                </a:lnTo>
                <a:lnTo>
                  <a:pt x="146" y="759"/>
                </a:lnTo>
                <a:lnTo>
                  <a:pt x="139" y="758"/>
                </a:lnTo>
                <a:lnTo>
                  <a:pt x="131" y="757"/>
                </a:lnTo>
                <a:lnTo>
                  <a:pt x="123" y="756"/>
                </a:lnTo>
                <a:lnTo>
                  <a:pt x="116" y="753"/>
                </a:lnTo>
                <a:lnTo>
                  <a:pt x="109" y="750"/>
                </a:lnTo>
                <a:lnTo>
                  <a:pt x="103" y="746"/>
                </a:lnTo>
                <a:lnTo>
                  <a:pt x="96" y="743"/>
                </a:lnTo>
                <a:lnTo>
                  <a:pt x="90" y="739"/>
                </a:lnTo>
                <a:lnTo>
                  <a:pt x="85" y="734"/>
                </a:lnTo>
                <a:lnTo>
                  <a:pt x="82" y="730"/>
                </a:lnTo>
                <a:lnTo>
                  <a:pt x="78" y="725"/>
                </a:lnTo>
                <a:lnTo>
                  <a:pt x="76" y="719"/>
                </a:lnTo>
                <a:lnTo>
                  <a:pt x="75" y="714"/>
                </a:lnTo>
                <a:lnTo>
                  <a:pt x="75" y="708"/>
                </a:lnTo>
                <a:lnTo>
                  <a:pt x="76" y="703"/>
                </a:lnTo>
                <a:lnTo>
                  <a:pt x="79" y="697"/>
                </a:lnTo>
                <a:lnTo>
                  <a:pt x="60" y="648"/>
                </a:lnTo>
                <a:lnTo>
                  <a:pt x="65" y="639"/>
                </a:lnTo>
                <a:lnTo>
                  <a:pt x="72" y="632"/>
                </a:lnTo>
                <a:lnTo>
                  <a:pt x="75" y="628"/>
                </a:lnTo>
                <a:lnTo>
                  <a:pt x="77" y="625"/>
                </a:lnTo>
                <a:lnTo>
                  <a:pt x="79" y="621"/>
                </a:lnTo>
                <a:lnTo>
                  <a:pt x="79" y="616"/>
                </a:lnTo>
                <a:lnTo>
                  <a:pt x="79" y="608"/>
                </a:lnTo>
                <a:lnTo>
                  <a:pt x="78" y="600"/>
                </a:lnTo>
                <a:lnTo>
                  <a:pt x="76" y="592"/>
                </a:lnTo>
                <a:lnTo>
                  <a:pt x="74" y="584"/>
                </a:lnTo>
                <a:lnTo>
                  <a:pt x="68" y="572"/>
                </a:lnTo>
                <a:lnTo>
                  <a:pt x="61" y="561"/>
                </a:lnTo>
                <a:lnTo>
                  <a:pt x="43" y="542"/>
                </a:lnTo>
                <a:lnTo>
                  <a:pt x="27" y="524"/>
                </a:lnTo>
                <a:lnTo>
                  <a:pt x="22" y="516"/>
                </a:lnTo>
                <a:lnTo>
                  <a:pt x="18" y="509"/>
                </a:lnTo>
                <a:lnTo>
                  <a:pt x="16" y="502"/>
                </a:lnTo>
                <a:lnTo>
                  <a:pt x="14" y="496"/>
                </a:lnTo>
                <a:lnTo>
                  <a:pt x="12" y="484"/>
                </a:lnTo>
                <a:lnTo>
                  <a:pt x="11" y="472"/>
                </a:lnTo>
                <a:lnTo>
                  <a:pt x="11" y="461"/>
                </a:lnTo>
                <a:lnTo>
                  <a:pt x="11" y="450"/>
                </a:lnTo>
                <a:lnTo>
                  <a:pt x="10" y="439"/>
                </a:lnTo>
                <a:lnTo>
                  <a:pt x="7" y="426"/>
                </a:lnTo>
                <a:lnTo>
                  <a:pt x="6" y="412"/>
                </a:lnTo>
                <a:lnTo>
                  <a:pt x="4" y="395"/>
                </a:lnTo>
                <a:lnTo>
                  <a:pt x="0" y="377"/>
                </a:lnTo>
                <a:lnTo>
                  <a:pt x="0" y="364"/>
                </a:lnTo>
                <a:lnTo>
                  <a:pt x="33" y="364"/>
                </a:lnTo>
                <a:lnTo>
                  <a:pt x="36" y="371"/>
                </a:lnTo>
                <a:lnTo>
                  <a:pt x="39" y="377"/>
                </a:lnTo>
                <a:lnTo>
                  <a:pt x="43" y="382"/>
                </a:lnTo>
                <a:lnTo>
                  <a:pt x="48" y="387"/>
                </a:lnTo>
                <a:lnTo>
                  <a:pt x="52" y="392"/>
                </a:lnTo>
                <a:lnTo>
                  <a:pt x="57" y="396"/>
                </a:lnTo>
                <a:lnTo>
                  <a:pt x="63" y="399"/>
                </a:lnTo>
                <a:lnTo>
                  <a:pt x="68" y="402"/>
                </a:lnTo>
                <a:lnTo>
                  <a:pt x="81" y="407"/>
                </a:lnTo>
                <a:lnTo>
                  <a:pt x="94" y="410"/>
                </a:lnTo>
                <a:lnTo>
                  <a:pt x="107" y="412"/>
                </a:lnTo>
                <a:lnTo>
                  <a:pt x="119" y="413"/>
                </a:lnTo>
                <a:lnTo>
                  <a:pt x="128" y="412"/>
                </a:lnTo>
                <a:lnTo>
                  <a:pt x="135" y="411"/>
                </a:lnTo>
                <a:lnTo>
                  <a:pt x="142" y="409"/>
                </a:lnTo>
                <a:lnTo>
                  <a:pt x="149" y="407"/>
                </a:lnTo>
                <a:lnTo>
                  <a:pt x="154" y="404"/>
                </a:lnTo>
                <a:lnTo>
                  <a:pt x="160" y="400"/>
                </a:lnTo>
                <a:lnTo>
                  <a:pt x="164" y="396"/>
                </a:lnTo>
                <a:lnTo>
                  <a:pt x="168" y="392"/>
                </a:lnTo>
                <a:lnTo>
                  <a:pt x="176" y="382"/>
                </a:lnTo>
                <a:lnTo>
                  <a:pt x="182" y="372"/>
                </a:lnTo>
                <a:lnTo>
                  <a:pt x="187" y="361"/>
                </a:lnTo>
                <a:lnTo>
                  <a:pt x="193" y="351"/>
                </a:lnTo>
                <a:lnTo>
                  <a:pt x="193" y="240"/>
                </a:lnTo>
                <a:lnTo>
                  <a:pt x="197" y="229"/>
                </a:lnTo>
                <a:lnTo>
                  <a:pt x="199" y="217"/>
                </a:lnTo>
                <a:lnTo>
                  <a:pt x="201" y="206"/>
                </a:lnTo>
                <a:lnTo>
                  <a:pt x="202" y="194"/>
                </a:lnTo>
                <a:lnTo>
                  <a:pt x="204" y="184"/>
                </a:lnTo>
                <a:lnTo>
                  <a:pt x="206" y="176"/>
                </a:lnTo>
                <a:lnTo>
                  <a:pt x="207" y="173"/>
                </a:lnTo>
                <a:lnTo>
                  <a:pt x="208" y="170"/>
                </a:lnTo>
                <a:lnTo>
                  <a:pt x="210" y="168"/>
                </a:lnTo>
                <a:lnTo>
                  <a:pt x="212" y="167"/>
                </a:lnTo>
                <a:lnTo>
                  <a:pt x="220" y="171"/>
                </a:lnTo>
                <a:lnTo>
                  <a:pt x="229" y="175"/>
                </a:lnTo>
                <a:lnTo>
                  <a:pt x="239" y="178"/>
                </a:lnTo>
                <a:lnTo>
                  <a:pt x="245" y="179"/>
                </a:lnTo>
                <a:lnTo>
                  <a:pt x="245" y="201"/>
                </a:lnTo>
                <a:lnTo>
                  <a:pt x="245" y="219"/>
                </a:lnTo>
                <a:lnTo>
                  <a:pt x="245" y="238"/>
                </a:lnTo>
                <a:lnTo>
                  <a:pt x="245" y="259"/>
                </a:lnTo>
                <a:lnTo>
                  <a:pt x="246" y="265"/>
                </a:lnTo>
                <a:lnTo>
                  <a:pt x="246" y="270"/>
                </a:lnTo>
                <a:lnTo>
                  <a:pt x="247" y="274"/>
                </a:lnTo>
                <a:lnTo>
                  <a:pt x="250" y="278"/>
                </a:lnTo>
                <a:lnTo>
                  <a:pt x="252" y="281"/>
                </a:lnTo>
                <a:lnTo>
                  <a:pt x="254" y="284"/>
                </a:lnTo>
                <a:lnTo>
                  <a:pt x="256" y="287"/>
                </a:lnTo>
                <a:lnTo>
                  <a:pt x="260" y="289"/>
                </a:lnTo>
                <a:lnTo>
                  <a:pt x="267" y="292"/>
                </a:lnTo>
                <a:lnTo>
                  <a:pt x="276" y="294"/>
                </a:lnTo>
                <a:lnTo>
                  <a:pt x="287" y="295"/>
                </a:lnTo>
                <a:lnTo>
                  <a:pt x="299" y="296"/>
                </a:lnTo>
                <a:lnTo>
                  <a:pt x="303" y="295"/>
                </a:lnTo>
                <a:lnTo>
                  <a:pt x="308" y="295"/>
                </a:lnTo>
                <a:lnTo>
                  <a:pt x="312" y="293"/>
                </a:lnTo>
                <a:lnTo>
                  <a:pt x="316" y="291"/>
                </a:lnTo>
                <a:lnTo>
                  <a:pt x="322" y="286"/>
                </a:lnTo>
                <a:lnTo>
                  <a:pt x="329" y="280"/>
                </a:lnTo>
                <a:lnTo>
                  <a:pt x="333" y="272"/>
                </a:lnTo>
                <a:lnTo>
                  <a:pt x="337" y="263"/>
                </a:lnTo>
                <a:lnTo>
                  <a:pt x="342" y="254"/>
                </a:lnTo>
                <a:lnTo>
                  <a:pt x="345" y="243"/>
                </a:lnTo>
                <a:lnTo>
                  <a:pt x="350" y="234"/>
                </a:lnTo>
                <a:lnTo>
                  <a:pt x="353" y="224"/>
                </a:lnTo>
                <a:lnTo>
                  <a:pt x="357" y="216"/>
                </a:lnTo>
                <a:lnTo>
                  <a:pt x="363" y="208"/>
                </a:lnTo>
                <a:lnTo>
                  <a:pt x="368" y="201"/>
                </a:lnTo>
                <a:lnTo>
                  <a:pt x="375" y="195"/>
                </a:lnTo>
                <a:lnTo>
                  <a:pt x="378" y="193"/>
                </a:lnTo>
                <a:lnTo>
                  <a:pt x="382" y="192"/>
                </a:lnTo>
                <a:lnTo>
                  <a:pt x="387" y="191"/>
                </a:lnTo>
                <a:lnTo>
                  <a:pt x="392" y="191"/>
                </a:lnTo>
                <a:lnTo>
                  <a:pt x="400" y="191"/>
                </a:lnTo>
                <a:lnTo>
                  <a:pt x="408" y="192"/>
                </a:lnTo>
                <a:lnTo>
                  <a:pt x="414" y="193"/>
                </a:lnTo>
                <a:lnTo>
                  <a:pt x="421" y="195"/>
                </a:lnTo>
                <a:lnTo>
                  <a:pt x="431" y="200"/>
                </a:lnTo>
                <a:lnTo>
                  <a:pt x="441" y="204"/>
                </a:lnTo>
                <a:lnTo>
                  <a:pt x="451" y="208"/>
                </a:lnTo>
                <a:lnTo>
                  <a:pt x="460" y="212"/>
                </a:lnTo>
                <a:lnTo>
                  <a:pt x="466" y="214"/>
                </a:lnTo>
                <a:lnTo>
                  <a:pt x="471" y="215"/>
                </a:lnTo>
                <a:lnTo>
                  <a:pt x="478" y="216"/>
                </a:lnTo>
                <a:lnTo>
                  <a:pt x="485" y="216"/>
                </a:lnTo>
                <a:lnTo>
                  <a:pt x="496" y="216"/>
                </a:lnTo>
                <a:lnTo>
                  <a:pt x="504" y="215"/>
                </a:lnTo>
                <a:lnTo>
                  <a:pt x="512" y="213"/>
                </a:lnTo>
                <a:lnTo>
                  <a:pt x="518" y="211"/>
                </a:lnTo>
                <a:lnTo>
                  <a:pt x="523" y="208"/>
                </a:lnTo>
                <a:lnTo>
                  <a:pt x="527" y="204"/>
                </a:lnTo>
                <a:lnTo>
                  <a:pt x="531" y="200"/>
                </a:lnTo>
                <a:lnTo>
                  <a:pt x="534" y="194"/>
                </a:lnTo>
                <a:lnTo>
                  <a:pt x="544" y="169"/>
                </a:lnTo>
                <a:lnTo>
                  <a:pt x="558" y="135"/>
                </a:lnTo>
                <a:lnTo>
                  <a:pt x="564" y="127"/>
                </a:lnTo>
                <a:lnTo>
                  <a:pt x="572" y="119"/>
                </a:lnTo>
                <a:lnTo>
                  <a:pt x="582" y="110"/>
                </a:lnTo>
                <a:lnTo>
                  <a:pt x="593" y="100"/>
                </a:lnTo>
                <a:lnTo>
                  <a:pt x="620" y="80"/>
                </a:lnTo>
                <a:lnTo>
                  <a:pt x="649" y="61"/>
                </a:lnTo>
                <a:lnTo>
                  <a:pt x="679" y="43"/>
                </a:lnTo>
                <a:lnTo>
                  <a:pt x="708" y="25"/>
                </a:lnTo>
                <a:lnTo>
                  <a:pt x="732" y="11"/>
                </a:lnTo>
                <a:lnTo>
                  <a:pt x="750" y="0"/>
                </a:lnTo>
                <a:lnTo>
                  <a:pt x="777" y="1"/>
                </a:lnTo>
                <a:lnTo>
                  <a:pt x="798" y="3"/>
                </a:lnTo>
                <a:lnTo>
                  <a:pt x="806" y="3"/>
                </a:lnTo>
                <a:lnTo>
                  <a:pt x="815" y="3"/>
                </a:lnTo>
                <a:lnTo>
                  <a:pt x="823" y="2"/>
                </a:lnTo>
                <a:lnTo>
                  <a:pt x="830" y="0"/>
                </a:lnTo>
                <a:lnTo>
                  <a:pt x="830" y="6"/>
                </a:lnTo>
                <a:lnTo>
                  <a:pt x="850" y="6"/>
                </a:lnTo>
                <a:lnTo>
                  <a:pt x="850" y="17"/>
                </a:lnTo>
                <a:lnTo>
                  <a:pt x="851" y="26"/>
                </a:lnTo>
                <a:lnTo>
                  <a:pt x="854" y="35"/>
                </a:lnTo>
                <a:lnTo>
                  <a:pt x="856" y="41"/>
                </a:lnTo>
                <a:lnTo>
                  <a:pt x="861" y="52"/>
                </a:lnTo>
                <a:lnTo>
                  <a:pt x="867" y="62"/>
                </a:lnTo>
                <a:lnTo>
                  <a:pt x="873" y="71"/>
                </a:lnTo>
                <a:lnTo>
                  <a:pt x="879" y="82"/>
                </a:lnTo>
                <a:lnTo>
                  <a:pt x="880" y="90"/>
                </a:lnTo>
                <a:lnTo>
                  <a:pt x="882" y="98"/>
                </a:lnTo>
                <a:lnTo>
                  <a:pt x="883" y="107"/>
                </a:lnTo>
                <a:lnTo>
                  <a:pt x="883" y="117"/>
                </a:lnTo>
                <a:lnTo>
                  <a:pt x="883" y="204"/>
                </a:lnTo>
                <a:lnTo>
                  <a:pt x="875" y="206"/>
                </a:lnTo>
                <a:lnTo>
                  <a:pt x="868" y="207"/>
                </a:lnTo>
                <a:lnTo>
                  <a:pt x="860" y="207"/>
                </a:lnTo>
                <a:lnTo>
                  <a:pt x="852" y="206"/>
                </a:lnTo>
                <a:lnTo>
                  <a:pt x="838" y="205"/>
                </a:lnTo>
                <a:lnTo>
                  <a:pt x="830" y="204"/>
                </a:lnTo>
                <a:lnTo>
                  <a:pt x="826" y="236"/>
                </a:lnTo>
                <a:lnTo>
                  <a:pt x="825" y="262"/>
                </a:lnTo>
                <a:lnTo>
                  <a:pt x="826" y="272"/>
                </a:lnTo>
                <a:lnTo>
                  <a:pt x="826" y="281"/>
                </a:lnTo>
                <a:lnTo>
                  <a:pt x="828" y="289"/>
                </a:lnTo>
                <a:lnTo>
                  <a:pt x="830" y="296"/>
                </a:lnTo>
                <a:lnTo>
                  <a:pt x="870" y="296"/>
                </a:lnTo>
              </a:path>
            </a:pathLst>
          </a:custGeom>
          <a:solidFill>
            <a:srgbClr val="007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431" name="Freeform 383"/>
          <p:cNvSpPr>
            <a:spLocks/>
          </p:cNvSpPr>
          <p:nvPr>
            <p:custDataLst>
              <p:tags r:id="rId272"/>
            </p:custDataLst>
          </p:nvPr>
        </p:nvSpPr>
        <p:spPr bwMode="auto">
          <a:xfrm>
            <a:off x="4557713" y="2201472"/>
            <a:ext cx="411162" cy="458390"/>
          </a:xfrm>
          <a:custGeom>
            <a:avLst/>
            <a:gdLst/>
            <a:ahLst/>
            <a:cxnLst>
              <a:cxn ang="0">
                <a:pos x="742" y="5"/>
              </a:cxn>
              <a:cxn ang="0">
                <a:pos x="765" y="23"/>
              </a:cxn>
              <a:cxn ang="0">
                <a:pos x="803" y="30"/>
              </a:cxn>
              <a:cxn ang="0">
                <a:pos x="814" y="55"/>
              </a:cxn>
              <a:cxn ang="0">
                <a:pos x="835" y="109"/>
              </a:cxn>
              <a:cxn ang="0">
                <a:pos x="837" y="187"/>
              </a:cxn>
              <a:cxn ang="0">
                <a:pos x="857" y="243"/>
              </a:cxn>
              <a:cxn ang="0">
                <a:pos x="922" y="292"/>
              </a:cxn>
              <a:cxn ang="0">
                <a:pos x="879" y="361"/>
              </a:cxn>
              <a:cxn ang="0">
                <a:pos x="851" y="410"/>
              </a:cxn>
              <a:cxn ang="0">
                <a:pos x="809" y="635"/>
              </a:cxn>
              <a:cxn ang="0">
                <a:pos x="770" y="677"/>
              </a:cxn>
              <a:cxn ang="0">
                <a:pos x="763" y="721"/>
              </a:cxn>
              <a:cxn ang="0">
                <a:pos x="745" y="735"/>
              </a:cxn>
              <a:cxn ang="0">
                <a:pos x="723" y="798"/>
              </a:cxn>
              <a:cxn ang="0">
                <a:pos x="692" y="877"/>
              </a:cxn>
              <a:cxn ang="0">
                <a:pos x="662" y="903"/>
              </a:cxn>
              <a:cxn ang="0">
                <a:pos x="664" y="934"/>
              </a:cxn>
              <a:cxn ang="0">
                <a:pos x="686" y="939"/>
              </a:cxn>
              <a:cxn ang="0">
                <a:pos x="709" y="950"/>
              </a:cxn>
              <a:cxn ang="0">
                <a:pos x="742" y="971"/>
              </a:cxn>
              <a:cxn ang="0">
                <a:pos x="756" y="1007"/>
              </a:cxn>
              <a:cxn ang="0">
                <a:pos x="775" y="1043"/>
              </a:cxn>
              <a:cxn ang="0">
                <a:pos x="803" y="1053"/>
              </a:cxn>
              <a:cxn ang="0">
                <a:pos x="809" y="1094"/>
              </a:cxn>
              <a:cxn ang="0">
                <a:pos x="718" y="1115"/>
              </a:cxn>
              <a:cxn ang="0">
                <a:pos x="687" y="1157"/>
              </a:cxn>
              <a:cxn ang="0">
                <a:pos x="598" y="1170"/>
              </a:cxn>
              <a:cxn ang="0">
                <a:pos x="515" y="1158"/>
              </a:cxn>
              <a:cxn ang="0">
                <a:pos x="464" y="1123"/>
              </a:cxn>
              <a:cxn ang="0">
                <a:pos x="390" y="1125"/>
              </a:cxn>
              <a:cxn ang="0">
                <a:pos x="319" y="1120"/>
              </a:cxn>
              <a:cxn ang="0">
                <a:pos x="297" y="1104"/>
              </a:cxn>
              <a:cxn ang="0">
                <a:pos x="294" y="1075"/>
              </a:cxn>
              <a:cxn ang="0">
                <a:pos x="274" y="1029"/>
              </a:cxn>
              <a:cxn ang="0">
                <a:pos x="216" y="974"/>
              </a:cxn>
              <a:cxn ang="0">
                <a:pos x="193" y="925"/>
              </a:cxn>
              <a:cxn ang="0">
                <a:pos x="152" y="903"/>
              </a:cxn>
              <a:cxn ang="0">
                <a:pos x="120" y="846"/>
              </a:cxn>
              <a:cxn ang="0">
                <a:pos x="97" y="788"/>
              </a:cxn>
              <a:cxn ang="0">
                <a:pos x="65" y="758"/>
              </a:cxn>
              <a:cxn ang="0">
                <a:pos x="33" y="676"/>
              </a:cxn>
              <a:cxn ang="0">
                <a:pos x="4" y="611"/>
              </a:cxn>
              <a:cxn ang="0">
                <a:pos x="18" y="577"/>
              </a:cxn>
              <a:cxn ang="0">
                <a:pos x="29" y="521"/>
              </a:cxn>
              <a:cxn ang="0">
                <a:pos x="64" y="474"/>
              </a:cxn>
              <a:cxn ang="0">
                <a:pos x="113" y="222"/>
              </a:cxn>
              <a:cxn ang="0">
                <a:pos x="123" y="179"/>
              </a:cxn>
              <a:cxn ang="0">
                <a:pos x="153" y="171"/>
              </a:cxn>
              <a:cxn ang="0">
                <a:pos x="160" y="122"/>
              </a:cxn>
              <a:cxn ang="0">
                <a:pos x="159" y="67"/>
              </a:cxn>
              <a:cxn ang="0">
                <a:pos x="679" y="69"/>
              </a:cxn>
            </a:cxnLst>
            <a:rect l="0" t="0" r="r" b="b"/>
            <a:pathLst>
              <a:path w="943" h="1172">
                <a:moveTo>
                  <a:pt x="711" y="30"/>
                </a:moveTo>
                <a:lnTo>
                  <a:pt x="715" y="25"/>
                </a:lnTo>
                <a:lnTo>
                  <a:pt x="728" y="15"/>
                </a:lnTo>
                <a:lnTo>
                  <a:pt x="735" y="9"/>
                </a:lnTo>
                <a:lnTo>
                  <a:pt x="742" y="5"/>
                </a:lnTo>
                <a:lnTo>
                  <a:pt x="747" y="1"/>
                </a:lnTo>
                <a:lnTo>
                  <a:pt x="751" y="0"/>
                </a:lnTo>
                <a:lnTo>
                  <a:pt x="755" y="10"/>
                </a:lnTo>
                <a:lnTo>
                  <a:pt x="759" y="17"/>
                </a:lnTo>
                <a:lnTo>
                  <a:pt x="765" y="23"/>
                </a:lnTo>
                <a:lnTo>
                  <a:pt x="769" y="26"/>
                </a:lnTo>
                <a:lnTo>
                  <a:pt x="776" y="28"/>
                </a:lnTo>
                <a:lnTo>
                  <a:pt x="784" y="30"/>
                </a:lnTo>
                <a:lnTo>
                  <a:pt x="792" y="30"/>
                </a:lnTo>
                <a:lnTo>
                  <a:pt x="803" y="30"/>
                </a:lnTo>
                <a:lnTo>
                  <a:pt x="804" y="40"/>
                </a:lnTo>
                <a:lnTo>
                  <a:pt x="808" y="48"/>
                </a:lnTo>
                <a:lnTo>
                  <a:pt x="810" y="51"/>
                </a:lnTo>
                <a:lnTo>
                  <a:pt x="812" y="53"/>
                </a:lnTo>
                <a:lnTo>
                  <a:pt x="814" y="55"/>
                </a:lnTo>
                <a:lnTo>
                  <a:pt x="816" y="55"/>
                </a:lnTo>
                <a:lnTo>
                  <a:pt x="823" y="76"/>
                </a:lnTo>
                <a:lnTo>
                  <a:pt x="830" y="94"/>
                </a:lnTo>
                <a:lnTo>
                  <a:pt x="832" y="102"/>
                </a:lnTo>
                <a:lnTo>
                  <a:pt x="835" y="109"/>
                </a:lnTo>
                <a:lnTo>
                  <a:pt x="836" y="116"/>
                </a:lnTo>
                <a:lnTo>
                  <a:pt x="837" y="123"/>
                </a:lnTo>
                <a:lnTo>
                  <a:pt x="836" y="150"/>
                </a:lnTo>
                <a:lnTo>
                  <a:pt x="836" y="175"/>
                </a:lnTo>
                <a:lnTo>
                  <a:pt x="837" y="187"/>
                </a:lnTo>
                <a:lnTo>
                  <a:pt x="838" y="200"/>
                </a:lnTo>
                <a:lnTo>
                  <a:pt x="842" y="211"/>
                </a:lnTo>
                <a:lnTo>
                  <a:pt x="845" y="222"/>
                </a:lnTo>
                <a:lnTo>
                  <a:pt x="851" y="232"/>
                </a:lnTo>
                <a:lnTo>
                  <a:pt x="857" y="243"/>
                </a:lnTo>
                <a:lnTo>
                  <a:pt x="866" y="253"/>
                </a:lnTo>
                <a:lnTo>
                  <a:pt x="876" y="264"/>
                </a:lnTo>
                <a:lnTo>
                  <a:pt x="889" y="273"/>
                </a:lnTo>
                <a:lnTo>
                  <a:pt x="904" y="283"/>
                </a:lnTo>
                <a:lnTo>
                  <a:pt x="922" y="292"/>
                </a:lnTo>
                <a:lnTo>
                  <a:pt x="943" y="301"/>
                </a:lnTo>
                <a:lnTo>
                  <a:pt x="928" y="314"/>
                </a:lnTo>
                <a:lnTo>
                  <a:pt x="913" y="328"/>
                </a:lnTo>
                <a:lnTo>
                  <a:pt x="896" y="344"/>
                </a:lnTo>
                <a:lnTo>
                  <a:pt x="879" y="361"/>
                </a:lnTo>
                <a:lnTo>
                  <a:pt x="871" y="370"/>
                </a:lnTo>
                <a:lnTo>
                  <a:pt x="865" y="380"/>
                </a:lnTo>
                <a:lnTo>
                  <a:pt x="859" y="389"/>
                </a:lnTo>
                <a:lnTo>
                  <a:pt x="854" y="399"/>
                </a:lnTo>
                <a:lnTo>
                  <a:pt x="851" y="410"/>
                </a:lnTo>
                <a:lnTo>
                  <a:pt x="849" y="420"/>
                </a:lnTo>
                <a:lnTo>
                  <a:pt x="848" y="432"/>
                </a:lnTo>
                <a:lnTo>
                  <a:pt x="851" y="443"/>
                </a:lnTo>
                <a:lnTo>
                  <a:pt x="830" y="616"/>
                </a:lnTo>
                <a:lnTo>
                  <a:pt x="809" y="635"/>
                </a:lnTo>
                <a:lnTo>
                  <a:pt x="787" y="652"/>
                </a:lnTo>
                <a:lnTo>
                  <a:pt x="782" y="658"/>
                </a:lnTo>
                <a:lnTo>
                  <a:pt x="778" y="663"/>
                </a:lnTo>
                <a:lnTo>
                  <a:pt x="774" y="670"/>
                </a:lnTo>
                <a:lnTo>
                  <a:pt x="770" y="677"/>
                </a:lnTo>
                <a:lnTo>
                  <a:pt x="767" y="686"/>
                </a:lnTo>
                <a:lnTo>
                  <a:pt x="766" y="696"/>
                </a:lnTo>
                <a:lnTo>
                  <a:pt x="764" y="708"/>
                </a:lnTo>
                <a:lnTo>
                  <a:pt x="764" y="721"/>
                </a:lnTo>
                <a:lnTo>
                  <a:pt x="763" y="721"/>
                </a:lnTo>
                <a:lnTo>
                  <a:pt x="758" y="721"/>
                </a:lnTo>
                <a:lnTo>
                  <a:pt x="755" y="723"/>
                </a:lnTo>
                <a:lnTo>
                  <a:pt x="752" y="726"/>
                </a:lnTo>
                <a:lnTo>
                  <a:pt x="748" y="730"/>
                </a:lnTo>
                <a:lnTo>
                  <a:pt x="745" y="735"/>
                </a:lnTo>
                <a:lnTo>
                  <a:pt x="741" y="743"/>
                </a:lnTo>
                <a:lnTo>
                  <a:pt x="736" y="752"/>
                </a:lnTo>
                <a:lnTo>
                  <a:pt x="732" y="766"/>
                </a:lnTo>
                <a:lnTo>
                  <a:pt x="728" y="780"/>
                </a:lnTo>
                <a:lnTo>
                  <a:pt x="723" y="798"/>
                </a:lnTo>
                <a:lnTo>
                  <a:pt x="719" y="821"/>
                </a:lnTo>
                <a:lnTo>
                  <a:pt x="714" y="845"/>
                </a:lnTo>
                <a:lnTo>
                  <a:pt x="711" y="875"/>
                </a:lnTo>
                <a:lnTo>
                  <a:pt x="701" y="875"/>
                </a:lnTo>
                <a:lnTo>
                  <a:pt x="692" y="877"/>
                </a:lnTo>
                <a:lnTo>
                  <a:pt x="684" y="880"/>
                </a:lnTo>
                <a:lnTo>
                  <a:pt x="677" y="884"/>
                </a:lnTo>
                <a:lnTo>
                  <a:pt x="670" y="890"/>
                </a:lnTo>
                <a:lnTo>
                  <a:pt x="665" y="896"/>
                </a:lnTo>
                <a:lnTo>
                  <a:pt x="662" y="903"/>
                </a:lnTo>
                <a:lnTo>
                  <a:pt x="659" y="910"/>
                </a:lnTo>
                <a:lnTo>
                  <a:pt x="658" y="917"/>
                </a:lnTo>
                <a:lnTo>
                  <a:pt x="658" y="924"/>
                </a:lnTo>
                <a:lnTo>
                  <a:pt x="661" y="929"/>
                </a:lnTo>
                <a:lnTo>
                  <a:pt x="664" y="934"/>
                </a:lnTo>
                <a:lnTo>
                  <a:pt x="666" y="936"/>
                </a:lnTo>
                <a:lnTo>
                  <a:pt x="669" y="937"/>
                </a:lnTo>
                <a:lnTo>
                  <a:pt x="673" y="938"/>
                </a:lnTo>
                <a:lnTo>
                  <a:pt x="677" y="939"/>
                </a:lnTo>
                <a:lnTo>
                  <a:pt x="686" y="939"/>
                </a:lnTo>
                <a:lnTo>
                  <a:pt x="697" y="936"/>
                </a:lnTo>
                <a:lnTo>
                  <a:pt x="700" y="941"/>
                </a:lnTo>
                <a:lnTo>
                  <a:pt x="702" y="944"/>
                </a:lnTo>
                <a:lnTo>
                  <a:pt x="706" y="947"/>
                </a:lnTo>
                <a:lnTo>
                  <a:pt x="709" y="950"/>
                </a:lnTo>
                <a:lnTo>
                  <a:pt x="717" y="955"/>
                </a:lnTo>
                <a:lnTo>
                  <a:pt x="724" y="958"/>
                </a:lnTo>
                <a:lnTo>
                  <a:pt x="731" y="963"/>
                </a:lnTo>
                <a:lnTo>
                  <a:pt x="739" y="968"/>
                </a:lnTo>
                <a:lnTo>
                  <a:pt x="742" y="971"/>
                </a:lnTo>
                <a:lnTo>
                  <a:pt x="745" y="975"/>
                </a:lnTo>
                <a:lnTo>
                  <a:pt x="747" y="981"/>
                </a:lnTo>
                <a:lnTo>
                  <a:pt x="751" y="986"/>
                </a:lnTo>
                <a:lnTo>
                  <a:pt x="753" y="996"/>
                </a:lnTo>
                <a:lnTo>
                  <a:pt x="756" y="1007"/>
                </a:lnTo>
                <a:lnTo>
                  <a:pt x="759" y="1018"/>
                </a:lnTo>
                <a:lnTo>
                  <a:pt x="765" y="1028"/>
                </a:lnTo>
                <a:lnTo>
                  <a:pt x="767" y="1033"/>
                </a:lnTo>
                <a:lnTo>
                  <a:pt x="771" y="1039"/>
                </a:lnTo>
                <a:lnTo>
                  <a:pt x="775" y="1043"/>
                </a:lnTo>
                <a:lnTo>
                  <a:pt x="779" y="1046"/>
                </a:lnTo>
                <a:lnTo>
                  <a:pt x="785" y="1049"/>
                </a:lnTo>
                <a:lnTo>
                  <a:pt x="790" y="1052"/>
                </a:lnTo>
                <a:lnTo>
                  <a:pt x="797" y="1053"/>
                </a:lnTo>
                <a:lnTo>
                  <a:pt x="803" y="1053"/>
                </a:lnTo>
                <a:lnTo>
                  <a:pt x="810" y="1063"/>
                </a:lnTo>
                <a:lnTo>
                  <a:pt x="814" y="1071"/>
                </a:lnTo>
                <a:lnTo>
                  <a:pt x="815" y="1076"/>
                </a:lnTo>
                <a:lnTo>
                  <a:pt x="815" y="1081"/>
                </a:lnTo>
                <a:lnTo>
                  <a:pt x="809" y="1094"/>
                </a:lnTo>
                <a:lnTo>
                  <a:pt x="797" y="1115"/>
                </a:lnTo>
                <a:lnTo>
                  <a:pt x="776" y="1115"/>
                </a:lnTo>
                <a:lnTo>
                  <a:pt x="755" y="1115"/>
                </a:lnTo>
                <a:lnTo>
                  <a:pt x="734" y="1115"/>
                </a:lnTo>
                <a:lnTo>
                  <a:pt x="718" y="1115"/>
                </a:lnTo>
                <a:lnTo>
                  <a:pt x="718" y="1127"/>
                </a:lnTo>
                <a:lnTo>
                  <a:pt x="718" y="1139"/>
                </a:lnTo>
                <a:lnTo>
                  <a:pt x="711" y="1143"/>
                </a:lnTo>
                <a:lnTo>
                  <a:pt x="697" y="1152"/>
                </a:lnTo>
                <a:lnTo>
                  <a:pt x="687" y="1157"/>
                </a:lnTo>
                <a:lnTo>
                  <a:pt x="675" y="1161"/>
                </a:lnTo>
                <a:lnTo>
                  <a:pt x="663" y="1163"/>
                </a:lnTo>
                <a:lnTo>
                  <a:pt x="651" y="1164"/>
                </a:lnTo>
                <a:lnTo>
                  <a:pt x="628" y="1166"/>
                </a:lnTo>
                <a:lnTo>
                  <a:pt x="598" y="1170"/>
                </a:lnTo>
                <a:lnTo>
                  <a:pt x="583" y="1171"/>
                </a:lnTo>
                <a:lnTo>
                  <a:pt x="566" y="1172"/>
                </a:lnTo>
                <a:lnTo>
                  <a:pt x="549" y="1172"/>
                </a:lnTo>
                <a:lnTo>
                  <a:pt x="531" y="1170"/>
                </a:lnTo>
                <a:lnTo>
                  <a:pt x="515" y="1158"/>
                </a:lnTo>
                <a:lnTo>
                  <a:pt x="496" y="1141"/>
                </a:lnTo>
                <a:lnTo>
                  <a:pt x="486" y="1133"/>
                </a:lnTo>
                <a:lnTo>
                  <a:pt x="475" y="1127"/>
                </a:lnTo>
                <a:lnTo>
                  <a:pt x="470" y="1124"/>
                </a:lnTo>
                <a:lnTo>
                  <a:pt x="464" y="1123"/>
                </a:lnTo>
                <a:lnTo>
                  <a:pt x="457" y="1121"/>
                </a:lnTo>
                <a:lnTo>
                  <a:pt x="452" y="1121"/>
                </a:lnTo>
                <a:lnTo>
                  <a:pt x="432" y="1122"/>
                </a:lnTo>
                <a:lnTo>
                  <a:pt x="405" y="1124"/>
                </a:lnTo>
                <a:lnTo>
                  <a:pt x="390" y="1125"/>
                </a:lnTo>
                <a:lnTo>
                  <a:pt x="375" y="1126"/>
                </a:lnTo>
                <a:lnTo>
                  <a:pt x="360" y="1126"/>
                </a:lnTo>
                <a:lnTo>
                  <a:pt x="345" y="1125"/>
                </a:lnTo>
                <a:lnTo>
                  <a:pt x="331" y="1123"/>
                </a:lnTo>
                <a:lnTo>
                  <a:pt x="319" y="1120"/>
                </a:lnTo>
                <a:lnTo>
                  <a:pt x="314" y="1117"/>
                </a:lnTo>
                <a:lnTo>
                  <a:pt x="308" y="1115"/>
                </a:lnTo>
                <a:lnTo>
                  <a:pt x="304" y="1112"/>
                </a:lnTo>
                <a:lnTo>
                  <a:pt x="300" y="1108"/>
                </a:lnTo>
                <a:lnTo>
                  <a:pt x="297" y="1104"/>
                </a:lnTo>
                <a:lnTo>
                  <a:pt x="295" y="1100"/>
                </a:lnTo>
                <a:lnTo>
                  <a:pt x="293" y="1095"/>
                </a:lnTo>
                <a:lnTo>
                  <a:pt x="292" y="1088"/>
                </a:lnTo>
                <a:lnTo>
                  <a:pt x="293" y="1082"/>
                </a:lnTo>
                <a:lnTo>
                  <a:pt x="294" y="1075"/>
                </a:lnTo>
                <a:lnTo>
                  <a:pt x="295" y="1068"/>
                </a:lnTo>
                <a:lnTo>
                  <a:pt x="298" y="1060"/>
                </a:lnTo>
                <a:lnTo>
                  <a:pt x="291" y="1049"/>
                </a:lnTo>
                <a:lnTo>
                  <a:pt x="283" y="1039"/>
                </a:lnTo>
                <a:lnTo>
                  <a:pt x="274" y="1029"/>
                </a:lnTo>
                <a:lnTo>
                  <a:pt x="265" y="1021"/>
                </a:lnTo>
                <a:lnTo>
                  <a:pt x="248" y="1005"/>
                </a:lnTo>
                <a:lnTo>
                  <a:pt x="230" y="990"/>
                </a:lnTo>
                <a:lnTo>
                  <a:pt x="222" y="983"/>
                </a:lnTo>
                <a:lnTo>
                  <a:pt x="216" y="974"/>
                </a:lnTo>
                <a:lnTo>
                  <a:pt x="209" y="966"/>
                </a:lnTo>
                <a:lnTo>
                  <a:pt x="204" y="957"/>
                </a:lnTo>
                <a:lnTo>
                  <a:pt x="198" y="947"/>
                </a:lnTo>
                <a:lnTo>
                  <a:pt x="195" y="937"/>
                </a:lnTo>
                <a:lnTo>
                  <a:pt x="193" y="925"/>
                </a:lnTo>
                <a:lnTo>
                  <a:pt x="193" y="911"/>
                </a:lnTo>
                <a:lnTo>
                  <a:pt x="180" y="911"/>
                </a:lnTo>
                <a:lnTo>
                  <a:pt x="169" y="909"/>
                </a:lnTo>
                <a:lnTo>
                  <a:pt x="160" y="907"/>
                </a:lnTo>
                <a:lnTo>
                  <a:pt x="152" y="903"/>
                </a:lnTo>
                <a:lnTo>
                  <a:pt x="146" y="898"/>
                </a:lnTo>
                <a:lnTo>
                  <a:pt x="140" y="893"/>
                </a:lnTo>
                <a:lnTo>
                  <a:pt x="136" y="887"/>
                </a:lnTo>
                <a:lnTo>
                  <a:pt x="131" y="880"/>
                </a:lnTo>
                <a:lnTo>
                  <a:pt x="120" y="846"/>
                </a:lnTo>
                <a:lnTo>
                  <a:pt x="106" y="806"/>
                </a:lnTo>
                <a:lnTo>
                  <a:pt x="105" y="801"/>
                </a:lnTo>
                <a:lnTo>
                  <a:pt x="103" y="796"/>
                </a:lnTo>
                <a:lnTo>
                  <a:pt x="99" y="792"/>
                </a:lnTo>
                <a:lnTo>
                  <a:pt x="97" y="788"/>
                </a:lnTo>
                <a:lnTo>
                  <a:pt x="90" y="780"/>
                </a:lnTo>
                <a:lnTo>
                  <a:pt x="83" y="774"/>
                </a:lnTo>
                <a:lnTo>
                  <a:pt x="75" y="768"/>
                </a:lnTo>
                <a:lnTo>
                  <a:pt x="69" y="761"/>
                </a:lnTo>
                <a:lnTo>
                  <a:pt x="65" y="758"/>
                </a:lnTo>
                <a:lnTo>
                  <a:pt x="63" y="753"/>
                </a:lnTo>
                <a:lnTo>
                  <a:pt x="61" y="749"/>
                </a:lnTo>
                <a:lnTo>
                  <a:pt x="60" y="745"/>
                </a:lnTo>
                <a:lnTo>
                  <a:pt x="46" y="711"/>
                </a:lnTo>
                <a:lnTo>
                  <a:pt x="33" y="676"/>
                </a:lnTo>
                <a:lnTo>
                  <a:pt x="25" y="659"/>
                </a:lnTo>
                <a:lnTo>
                  <a:pt x="17" y="643"/>
                </a:lnTo>
                <a:lnTo>
                  <a:pt x="9" y="628"/>
                </a:lnTo>
                <a:lnTo>
                  <a:pt x="0" y="616"/>
                </a:lnTo>
                <a:lnTo>
                  <a:pt x="4" y="611"/>
                </a:lnTo>
                <a:lnTo>
                  <a:pt x="8" y="607"/>
                </a:lnTo>
                <a:lnTo>
                  <a:pt x="11" y="602"/>
                </a:lnTo>
                <a:lnTo>
                  <a:pt x="13" y="598"/>
                </a:lnTo>
                <a:lnTo>
                  <a:pt x="16" y="587"/>
                </a:lnTo>
                <a:lnTo>
                  <a:pt x="18" y="577"/>
                </a:lnTo>
                <a:lnTo>
                  <a:pt x="19" y="567"/>
                </a:lnTo>
                <a:lnTo>
                  <a:pt x="20" y="555"/>
                </a:lnTo>
                <a:lnTo>
                  <a:pt x="23" y="543"/>
                </a:lnTo>
                <a:lnTo>
                  <a:pt x="26" y="529"/>
                </a:lnTo>
                <a:lnTo>
                  <a:pt x="29" y="521"/>
                </a:lnTo>
                <a:lnTo>
                  <a:pt x="33" y="514"/>
                </a:lnTo>
                <a:lnTo>
                  <a:pt x="37" y="507"/>
                </a:lnTo>
                <a:lnTo>
                  <a:pt x="41" y="500"/>
                </a:lnTo>
                <a:lnTo>
                  <a:pt x="52" y="487"/>
                </a:lnTo>
                <a:lnTo>
                  <a:pt x="64" y="474"/>
                </a:lnTo>
                <a:lnTo>
                  <a:pt x="78" y="464"/>
                </a:lnTo>
                <a:lnTo>
                  <a:pt x="90" y="456"/>
                </a:lnTo>
                <a:lnTo>
                  <a:pt x="102" y="449"/>
                </a:lnTo>
                <a:lnTo>
                  <a:pt x="113" y="443"/>
                </a:lnTo>
                <a:lnTo>
                  <a:pt x="113" y="222"/>
                </a:lnTo>
                <a:lnTo>
                  <a:pt x="113" y="212"/>
                </a:lnTo>
                <a:lnTo>
                  <a:pt x="113" y="200"/>
                </a:lnTo>
                <a:lnTo>
                  <a:pt x="113" y="188"/>
                </a:lnTo>
                <a:lnTo>
                  <a:pt x="113" y="178"/>
                </a:lnTo>
                <a:lnTo>
                  <a:pt x="123" y="179"/>
                </a:lnTo>
                <a:lnTo>
                  <a:pt x="131" y="179"/>
                </a:lnTo>
                <a:lnTo>
                  <a:pt x="139" y="178"/>
                </a:lnTo>
                <a:lnTo>
                  <a:pt x="146" y="176"/>
                </a:lnTo>
                <a:lnTo>
                  <a:pt x="150" y="174"/>
                </a:lnTo>
                <a:lnTo>
                  <a:pt x="153" y="171"/>
                </a:lnTo>
                <a:lnTo>
                  <a:pt x="157" y="167"/>
                </a:lnTo>
                <a:lnTo>
                  <a:pt x="159" y="162"/>
                </a:lnTo>
                <a:lnTo>
                  <a:pt x="160" y="152"/>
                </a:lnTo>
                <a:lnTo>
                  <a:pt x="160" y="137"/>
                </a:lnTo>
                <a:lnTo>
                  <a:pt x="160" y="122"/>
                </a:lnTo>
                <a:lnTo>
                  <a:pt x="159" y="105"/>
                </a:lnTo>
                <a:lnTo>
                  <a:pt x="159" y="93"/>
                </a:lnTo>
                <a:lnTo>
                  <a:pt x="159" y="83"/>
                </a:lnTo>
                <a:lnTo>
                  <a:pt x="159" y="76"/>
                </a:lnTo>
                <a:lnTo>
                  <a:pt x="159" y="67"/>
                </a:lnTo>
                <a:lnTo>
                  <a:pt x="664" y="73"/>
                </a:lnTo>
                <a:lnTo>
                  <a:pt x="668" y="74"/>
                </a:lnTo>
                <a:lnTo>
                  <a:pt x="672" y="73"/>
                </a:lnTo>
                <a:lnTo>
                  <a:pt x="676" y="72"/>
                </a:lnTo>
                <a:lnTo>
                  <a:pt x="679" y="69"/>
                </a:lnTo>
                <a:lnTo>
                  <a:pt x="688" y="63"/>
                </a:lnTo>
                <a:lnTo>
                  <a:pt x="695" y="54"/>
                </a:lnTo>
                <a:lnTo>
                  <a:pt x="707" y="38"/>
                </a:lnTo>
                <a:lnTo>
                  <a:pt x="711" y="3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grpSp>
        <p:nvGrpSpPr>
          <p:cNvPr id="13" name="Group 384"/>
          <p:cNvGrpSpPr>
            <a:grpSpLocks/>
          </p:cNvGrpSpPr>
          <p:nvPr>
            <p:custDataLst>
              <p:tags r:id="rId273"/>
            </p:custDataLst>
          </p:nvPr>
        </p:nvGrpSpPr>
        <p:grpSpPr bwMode="auto">
          <a:xfrm>
            <a:off x="3341689" y="2352679"/>
            <a:ext cx="80962" cy="61913"/>
            <a:chOff x="2352" y="2343"/>
            <a:chExt cx="65" cy="53"/>
          </a:xfrm>
        </p:grpSpPr>
        <p:sp>
          <p:nvSpPr>
            <p:cNvPr id="2433" name="Freeform 385"/>
            <p:cNvSpPr>
              <a:spLocks/>
            </p:cNvSpPr>
            <p:nvPr/>
          </p:nvSpPr>
          <p:spPr bwMode="auto">
            <a:xfrm>
              <a:off x="2352" y="2343"/>
              <a:ext cx="16" cy="11"/>
            </a:xfrm>
            <a:custGeom>
              <a:avLst/>
              <a:gdLst/>
              <a:ahLst/>
              <a:cxnLst>
                <a:cxn ang="0">
                  <a:pos x="46" y="0"/>
                </a:cxn>
                <a:cxn ang="0">
                  <a:pos x="0" y="5"/>
                </a:cxn>
                <a:cxn ang="0">
                  <a:pos x="4" y="28"/>
                </a:cxn>
                <a:cxn ang="0">
                  <a:pos x="10" y="33"/>
                </a:cxn>
                <a:cxn ang="0">
                  <a:pos x="35" y="25"/>
                </a:cxn>
                <a:cxn ang="0">
                  <a:pos x="48" y="15"/>
                </a:cxn>
                <a:cxn ang="0">
                  <a:pos x="51" y="8"/>
                </a:cxn>
                <a:cxn ang="0">
                  <a:pos x="46" y="0"/>
                </a:cxn>
              </a:cxnLst>
              <a:rect l="0" t="0" r="r" b="b"/>
              <a:pathLst>
                <a:path w="51" h="33">
                  <a:moveTo>
                    <a:pt x="46" y="0"/>
                  </a:moveTo>
                  <a:lnTo>
                    <a:pt x="0" y="5"/>
                  </a:lnTo>
                  <a:lnTo>
                    <a:pt x="4" y="28"/>
                  </a:lnTo>
                  <a:lnTo>
                    <a:pt x="10" y="33"/>
                  </a:lnTo>
                  <a:lnTo>
                    <a:pt x="35" y="25"/>
                  </a:lnTo>
                  <a:lnTo>
                    <a:pt x="48" y="15"/>
                  </a:lnTo>
                  <a:lnTo>
                    <a:pt x="51" y="8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434" name="Freeform 386"/>
            <p:cNvSpPr>
              <a:spLocks/>
            </p:cNvSpPr>
            <p:nvPr/>
          </p:nvSpPr>
          <p:spPr bwMode="auto">
            <a:xfrm>
              <a:off x="2372" y="2354"/>
              <a:ext cx="20" cy="7"/>
            </a:xfrm>
            <a:custGeom>
              <a:avLst/>
              <a:gdLst/>
              <a:ahLst/>
              <a:cxnLst>
                <a:cxn ang="0">
                  <a:pos x="61" y="6"/>
                </a:cxn>
                <a:cxn ang="0">
                  <a:pos x="53" y="2"/>
                </a:cxn>
                <a:cxn ang="0">
                  <a:pos x="0" y="0"/>
                </a:cxn>
                <a:cxn ang="0">
                  <a:pos x="2" y="14"/>
                </a:cxn>
                <a:cxn ang="0">
                  <a:pos x="7" y="20"/>
                </a:cxn>
                <a:cxn ang="0">
                  <a:pos x="18" y="13"/>
                </a:cxn>
                <a:cxn ang="0">
                  <a:pos x="61" y="6"/>
                </a:cxn>
              </a:cxnLst>
              <a:rect l="0" t="0" r="r" b="b"/>
              <a:pathLst>
                <a:path w="61" h="20">
                  <a:moveTo>
                    <a:pt x="61" y="6"/>
                  </a:moveTo>
                  <a:lnTo>
                    <a:pt x="53" y="2"/>
                  </a:lnTo>
                  <a:lnTo>
                    <a:pt x="0" y="0"/>
                  </a:lnTo>
                  <a:lnTo>
                    <a:pt x="2" y="14"/>
                  </a:lnTo>
                  <a:lnTo>
                    <a:pt x="7" y="20"/>
                  </a:lnTo>
                  <a:lnTo>
                    <a:pt x="18" y="13"/>
                  </a:lnTo>
                  <a:lnTo>
                    <a:pt x="61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435" name="Freeform 387"/>
            <p:cNvSpPr>
              <a:spLocks/>
            </p:cNvSpPr>
            <p:nvPr/>
          </p:nvSpPr>
          <p:spPr bwMode="auto">
            <a:xfrm>
              <a:off x="2407" y="2346"/>
              <a:ext cx="5" cy="12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20"/>
                </a:cxn>
                <a:cxn ang="0">
                  <a:pos x="0" y="36"/>
                </a:cxn>
                <a:cxn ang="0">
                  <a:pos x="11" y="35"/>
                </a:cxn>
                <a:cxn ang="0">
                  <a:pos x="15" y="14"/>
                </a:cxn>
                <a:cxn ang="0">
                  <a:pos x="2" y="0"/>
                </a:cxn>
              </a:cxnLst>
              <a:rect l="0" t="0" r="r" b="b"/>
              <a:pathLst>
                <a:path w="15" h="36">
                  <a:moveTo>
                    <a:pt x="2" y="0"/>
                  </a:moveTo>
                  <a:lnTo>
                    <a:pt x="0" y="20"/>
                  </a:lnTo>
                  <a:lnTo>
                    <a:pt x="0" y="36"/>
                  </a:lnTo>
                  <a:lnTo>
                    <a:pt x="11" y="35"/>
                  </a:lnTo>
                  <a:lnTo>
                    <a:pt x="15" y="14"/>
                  </a:lnTo>
                  <a:lnTo>
                    <a:pt x="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436" name="Freeform 388"/>
            <p:cNvSpPr>
              <a:spLocks/>
            </p:cNvSpPr>
            <p:nvPr/>
          </p:nvSpPr>
          <p:spPr bwMode="auto">
            <a:xfrm>
              <a:off x="2406" y="2361"/>
              <a:ext cx="11" cy="11"/>
            </a:xfrm>
            <a:custGeom>
              <a:avLst/>
              <a:gdLst/>
              <a:ahLst/>
              <a:cxnLst>
                <a:cxn ang="0">
                  <a:pos x="4" y="4"/>
                </a:cxn>
                <a:cxn ang="0">
                  <a:pos x="22" y="0"/>
                </a:cxn>
                <a:cxn ang="0">
                  <a:pos x="35" y="6"/>
                </a:cxn>
                <a:cxn ang="0">
                  <a:pos x="37" y="22"/>
                </a:cxn>
                <a:cxn ang="0">
                  <a:pos x="24" y="33"/>
                </a:cxn>
                <a:cxn ang="0">
                  <a:pos x="11" y="33"/>
                </a:cxn>
                <a:cxn ang="0">
                  <a:pos x="2" y="24"/>
                </a:cxn>
                <a:cxn ang="0">
                  <a:pos x="0" y="16"/>
                </a:cxn>
                <a:cxn ang="0">
                  <a:pos x="4" y="4"/>
                </a:cxn>
              </a:cxnLst>
              <a:rect l="0" t="0" r="r" b="b"/>
              <a:pathLst>
                <a:path w="37" h="33">
                  <a:moveTo>
                    <a:pt x="4" y="4"/>
                  </a:moveTo>
                  <a:lnTo>
                    <a:pt x="22" y="0"/>
                  </a:lnTo>
                  <a:lnTo>
                    <a:pt x="35" y="6"/>
                  </a:lnTo>
                  <a:lnTo>
                    <a:pt x="37" y="22"/>
                  </a:lnTo>
                  <a:lnTo>
                    <a:pt x="24" y="33"/>
                  </a:lnTo>
                  <a:lnTo>
                    <a:pt x="11" y="33"/>
                  </a:lnTo>
                  <a:lnTo>
                    <a:pt x="2" y="24"/>
                  </a:lnTo>
                  <a:lnTo>
                    <a:pt x="0" y="16"/>
                  </a:lnTo>
                  <a:lnTo>
                    <a:pt x="4" y="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437" name="Freeform 389"/>
            <p:cNvSpPr>
              <a:spLocks/>
            </p:cNvSpPr>
            <p:nvPr/>
          </p:nvSpPr>
          <p:spPr bwMode="auto">
            <a:xfrm>
              <a:off x="2388" y="2378"/>
              <a:ext cx="16" cy="18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2" y="50"/>
                </a:cxn>
                <a:cxn ang="0">
                  <a:pos x="18" y="54"/>
                </a:cxn>
                <a:cxn ang="0">
                  <a:pos x="44" y="45"/>
                </a:cxn>
                <a:cxn ang="0">
                  <a:pos x="49" y="31"/>
                </a:cxn>
                <a:cxn ang="0">
                  <a:pos x="40" y="21"/>
                </a:cxn>
                <a:cxn ang="0">
                  <a:pos x="19" y="8"/>
                </a:cxn>
                <a:cxn ang="0">
                  <a:pos x="2" y="0"/>
                </a:cxn>
              </a:cxnLst>
              <a:rect l="0" t="0" r="r" b="b"/>
              <a:pathLst>
                <a:path w="49" h="54">
                  <a:moveTo>
                    <a:pt x="2" y="0"/>
                  </a:moveTo>
                  <a:lnTo>
                    <a:pt x="0" y="0"/>
                  </a:lnTo>
                  <a:lnTo>
                    <a:pt x="2" y="50"/>
                  </a:lnTo>
                  <a:lnTo>
                    <a:pt x="18" y="54"/>
                  </a:lnTo>
                  <a:lnTo>
                    <a:pt x="44" y="45"/>
                  </a:lnTo>
                  <a:lnTo>
                    <a:pt x="49" y="31"/>
                  </a:lnTo>
                  <a:lnTo>
                    <a:pt x="40" y="21"/>
                  </a:lnTo>
                  <a:lnTo>
                    <a:pt x="19" y="8"/>
                  </a:lnTo>
                  <a:lnTo>
                    <a:pt x="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438" name="Freeform 390"/>
            <p:cNvSpPr>
              <a:spLocks/>
            </p:cNvSpPr>
            <p:nvPr/>
          </p:nvSpPr>
          <p:spPr bwMode="auto">
            <a:xfrm>
              <a:off x="2374" y="2388"/>
              <a:ext cx="9" cy="7"/>
            </a:xfrm>
            <a:custGeom>
              <a:avLst/>
              <a:gdLst/>
              <a:ahLst/>
              <a:cxnLst>
                <a:cxn ang="0">
                  <a:pos x="18" y="0"/>
                </a:cxn>
                <a:cxn ang="0">
                  <a:pos x="3" y="2"/>
                </a:cxn>
                <a:cxn ang="0">
                  <a:pos x="0" y="15"/>
                </a:cxn>
                <a:cxn ang="0">
                  <a:pos x="6" y="21"/>
                </a:cxn>
                <a:cxn ang="0">
                  <a:pos x="19" y="22"/>
                </a:cxn>
                <a:cxn ang="0">
                  <a:pos x="26" y="11"/>
                </a:cxn>
                <a:cxn ang="0">
                  <a:pos x="18" y="0"/>
                </a:cxn>
              </a:cxnLst>
              <a:rect l="0" t="0" r="r" b="b"/>
              <a:pathLst>
                <a:path w="26" h="22">
                  <a:moveTo>
                    <a:pt x="18" y="0"/>
                  </a:moveTo>
                  <a:lnTo>
                    <a:pt x="3" y="2"/>
                  </a:lnTo>
                  <a:lnTo>
                    <a:pt x="0" y="15"/>
                  </a:lnTo>
                  <a:lnTo>
                    <a:pt x="6" y="21"/>
                  </a:lnTo>
                  <a:lnTo>
                    <a:pt x="19" y="22"/>
                  </a:lnTo>
                  <a:lnTo>
                    <a:pt x="26" y="11"/>
                  </a:lnTo>
                  <a:lnTo>
                    <a:pt x="18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</p:grpSp>
      <p:grpSp>
        <p:nvGrpSpPr>
          <p:cNvPr id="14" name="Group 391"/>
          <p:cNvGrpSpPr>
            <a:grpSpLocks/>
          </p:cNvGrpSpPr>
          <p:nvPr>
            <p:custDataLst>
              <p:tags r:id="rId274"/>
            </p:custDataLst>
          </p:nvPr>
        </p:nvGrpSpPr>
        <p:grpSpPr bwMode="auto">
          <a:xfrm>
            <a:off x="1187457" y="897732"/>
            <a:ext cx="1897063" cy="850106"/>
            <a:chOff x="527" y="1110"/>
            <a:chExt cx="1410" cy="709"/>
          </a:xfrm>
          <a:solidFill>
            <a:srgbClr val="0070C0"/>
          </a:solidFill>
        </p:grpSpPr>
        <p:sp>
          <p:nvSpPr>
            <p:cNvPr id="2440" name="Freeform 392"/>
            <p:cNvSpPr>
              <a:spLocks/>
            </p:cNvSpPr>
            <p:nvPr/>
          </p:nvSpPr>
          <p:spPr bwMode="auto">
            <a:xfrm>
              <a:off x="1401" y="1427"/>
              <a:ext cx="31" cy="17"/>
            </a:xfrm>
            <a:custGeom>
              <a:avLst/>
              <a:gdLst/>
              <a:ahLst/>
              <a:cxnLst>
                <a:cxn ang="0">
                  <a:pos x="0" y="41"/>
                </a:cxn>
                <a:cxn ang="0">
                  <a:pos x="5" y="46"/>
                </a:cxn>
                <a:cxn ang="0">
                  <a:pos x="13" y="50"/>
                </a:cxn>
                <a:cxn ang="0">
                  <a:pos x="23" y="53"/>
                </a:cxn>
                <a:cxn ang="0">
                  <a:pos x="32" y="54"/>
                </a:cxn>
                <a:cxn ang="0">
                  <a:pos x="38" y="54"/>
                </a:cxn>
                <a:cxn ang="0">
                  <a:pos x="45" y="53"/>
                </a:cxn>
                <a:cxn ang="0">
                  <a:pos x="50" y="51"/>
                </a:cxn>
                <a:cxn ang="0">
                  <a:pos x="56" y="49"/>
                </a:cxn>
                <a:cxn ang="0">
                  <a:pos x="67" y="42"/>
                </a:cxn>
                <a:cxn ang="0">
                  <a:pos x="75" y="35"/>
                </a:cxn>
                <a:cxn ang="0">
                  <a:pos x="84" y="28"/>
                </a:cxn>
                <a:cxn ang="0">
                  <a:pos x="91" y="20"/>
                </a:cxn>
                <a:cxn ang="0">
                  <a:pos x="95" y="12"/>
                </a:cxn>
                <a:cxn ang="0">
                  <a:pos x="98" y="4"/>
                </a:cxn>
                <a:cxn ang="0">
                  <a:pos x="91" y="2"/>
                </a:cxn>
                <a:cxn ang="0">
                  <a:pos x="83" y="0"/>
                </a:cxn>
                <a:cxn ang="0">
                  <a:pos x="75" y="0"/>
                </a:cxn>
                <a:cxn ang="0">
                  <a:pos x="68" y="0"/>
                </a:cxn>
                <a:cxn ang="0">
                  <a:pos x="59" y="1"/>
                </a:cxn>
                <a:cxn ang="0">
                  <a:pos x="51" y="3"/>
                </a:cxn>
                <a:cxn ang="0">
                  <a:pos x="43" y="6"/>
                </a:cxn>
                <a:cxn ang="0">
                  <a:pos x="37" y="9"/>
                </a:cxn>
                <a:cxn ang="0">
                  <a:pos x="23" y="17"/>
                </a:cxn>
                <a:cxn ang="0">
                  <a:pos x="12" y="25"/>
                </a:cxn>
                <a:cxn ang="0">
                  <a:pos x="7" y="29"/>
                </a:cxn>
                <a:cxn ang="0">
                  <a:pos x="4" y="33"/>
                </a:cxn>
                <a:cxn ang="0">
                  <a:pos x="1" y="37"/>
                </a:cxn>
                <a:cxn ang="0">
                  <a:pos x="0" y="41"/>
                </a:cxn>
              </a:cxnLst>
              <a:rect l="0" t="0" r="r" b="b"/>
              <a:pathLst>
                <a:path w="98" h="54">
                  <a:moveTo>
                    <a:pt x="0" y="41"/>
                  </a:moveTo>
                  <a:lnTo>
                    <a:pt x="5" y="46"/>
                  </a:lnTo>
                  <a:lnTo>
                    <a:pt x="13" y="50"/>
                  </a:lnTo>
                  <a:lnTo>
                    <a:pt x="23" y="53"/>
                  </a:lnTo>
                  <a:lnTo>
                    <a:pt x="32" y="54"/>
                  </a:lnTo>
                  <a:lnTo>
                    <a:pt x="38" y="54"/>
                  </a:lnTo>
                  <a:lnTo>
                    <a:pt x="45" y="53"/>
                  </a:lnTo>
                  <a:lnTo>
                    <a:pt x="50" y="51"/>
                  </a:lnTo>
                  <a:lnTo>
                    <a:pt x="56" y="49"/>
                  </a:lnTo>
                  <a:lnTo>
                    <a:pt x="67" y="42"/>
                  </a:lnTo>
                  <a:lnTo>
                    <a:pt x="75" y="35"/>
                  </a:lnTo>
                  <a:lnTo>
                    <a:pt x="84" y="28"/>
                  </a:lnTo>
                  <a:lnTo>
                    <a:pt x="91" y="20"/>
                  </a:lnTo>
                  <a:lnTo>
                    <a:pt x="95" y="12"/>
                  </a:lnTo>
                  <a:lnTo>
                    <a:pt x="98" y="4"/>
                  </a:lnTo>
                  <a:lnTo>
                    <a:pt x="91" y="2"/>
                  </a:lnTo>
                  <a:lnTo>
                    <a:pt x="83" y="0"/>
                  </a:lnTo>
                  <a:lnTo>
                    <a:pt x="75" y="0"/>
                  </a:lnTo>
                  <a:lnTo>
                    <a:pt x="68" y="0"/>
                  </a:lnTo>
                  <a:lnTo>
                    <a:pt x="59" y="1"/>
                  </a:lnTo>
                  <a:lnTo>
                    <a:pt x="51" y="3"/>
                  </a:lnTo>
                  <a:lnTo>
                    <a:pt x="43" y="6"/>
                  </a:lnTo>
                  <a:lnTo>
                    <a:pt x="37" y="9"/>
                  </a:lnTo>
                  <a:lnTo>
                    <a:pt x="23" y="17"/>
                  </a:lnTo>
                  <a:lnTo>
                    <a:pt x="12" y="25"/>
                  </a:lnTo>
                  <a:lnTo>
                    <a:pt x="7" y="29"/>
                  </a:lnTo>
                  <a:lnTo>
                    <a:pt x="4" y="33"/>
                  </a:lnTo>
                  <a:lnTo>
                    <a:pt x="1" y="37"/>
                  </a:lnTo>
                  <a:lnTo>
                    <a:pt x="0" y="4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441" name="Freeform 393"/>
            <p:cNvSpPr>
              <a:spLocks/>
            </p:cNvSpPr>
            <p:nvPr/>
          </p:nvSpPr>
          <p:spPr bwMode="auto">
            <a:xfrm>
              <a:off x="1387" y="1551"/>
              <a:ext cx="21" cy="8"/>
            </a:xfrm>
            <a:custGeom>
              <a:avLst/>
              <a:gdLst/>
              <a:ahLst/>
              <a:cxnLst>
                <a:cxn ang="0">
                  <a:pos x="0" y="27"/>
                </a:cxn>
                <a:cxn ang="0">
                  <a:pos x="11" y="28"/>
                </a:cxn>
                <a:cxn ang="0">
                  <a:pos x="21" y="27"/>
                </a:cxn>
                <a:cxn ang="0">
                  <a:pos x="31" y="25"/>
                </a:cxn>
                <a:cxn ang="0">
                  <a:pos x="41" y="21"/>
                </a:cxn>
                <a:cxn ang="0">
                  <a:pos x="49" y="17"/>
                </a:cxn>
                <a:cxn ang="0">
                  <a:pos x="57" y="12"/>
                </a:cxn>
                <a:cxn ang="0">
                  <a:pos x="63" y="7"/>
                </a:cxn>
                <a:cxn ang="0">
                  <a:pos x="67" y="3"/>
                </a:cxn>
                <a:cxn ang="0">
                  <a:pos x="57" y="1"/>
                </a:cxn>
                <a:cxn ang="0">
                  <a:pos x="46" y="0"/>
                </a:cxn>
                <a:cxn ang="0">
                  <a:pos x="36" y="1"/>
                </a:cxn>
                <a:cxn ang="0">
                  <a:pos x="26" y="3"/>
                </a:cxn>
                <a:cxn ang="0">
                  <a:pos x="17" y="7"/>
                </a:cxn>
                <a:cxn ang="0">
                  <a:pos x="10" y="12"/>
                </a:cxn>
                <a:cxn ang="0">
                  <a:pos x="7" y="15"/>
                </a:cxn>
                <a:cxn ang="0">
                  <a:pos x="4" y="19"/>
                </a:cxn>
                <a:cxn ang="0">
                  <a:pos x="2" y="22"/>
                </a:cxn>
                <a:cxn ang="0">
                  <a:pos x="0" y="27"/>
                </a:cxn>
              </a:cxnLst>
              <a:rect l="0" t="0" r="r" b="b"/>
              <a:pathLst>
                <a:path w="67" h="28">
                  <a:moveTo>
                    <a:pt x="0" y="27"/>
                  </a:moveTo>
                  <a:lnTo>
                    <a:pt x="11" y="28"/>
                  </a:lnTo>
                  <a:lnTo>
                    <a:pt x="21" y="27"/>
                  </a:lnTo>
                  <a:lnTo>
                    <a:pt x="31" y="25"/>
                  </a:lnTo>
                  <a:lnTo>
                    <a:pt x="41" y="21"/>
                  </a:lnTo>
                  <a:lnTo>
                    <a:pt x="49" y="17"/>
                  </a:lnTo>
                  <a:lnTo>
                    <a:pt x="57" y="12"/>
                  </a:lnTo>
                  <a:lnTo>
                    <a:pt x="63" y="7"/>
                  </a:lnTo>
                  <a:lnTo>
                    <a:pt x="67" y="3"/>
                  </a:lnTo>
                  <a:lnTo>
                    <a:pt x="57" y="1"/>
                  </a:lnTo>
                  <a:lnTo>
                    <a:pt x="46" y="0"/>
                  </a:lnTo>
                  <a:lnTo>
                    <a:pt x="36" y="1"/>
                  </a:lnTo>
                  <a:lnTo>
                    <a:pt x="26" y="3"/>
                  </a:lnTo>
                  <a:lnTo>
                    <a:pt x="17" y="7"/>
                  </a:lnTo>
                  <a:lnTo>
                    <a:pt x="10" y="12"/>
                  </a:lnTo>
                  <a:lnTo>
                    <a:pt x="7" y="15"/>
                  </a:lnTo>
                  <a:lnTo>
                    <a:pt x="4" y="19"/>
                  </a:lnTo>
                  <a:lnTo>
                    <a:pt x="2" y="22"/>
                  </a:lnTo>
                  <a:lnTo>
                    <a:pt x="0" y="2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442" name="Freeform 394"/>
            <p:cNvSpPr>
              <a:spLocks/>
            </p:cNvSpPr>
            <p:nvPr/>
          </p:nvSpPr>
          <p:spPr bwMode="auto">
            <a:xfrm>
              <a:off x="1332" y="1608"/>
              <a:ext cx="11" cy="11"/>
            </a:xfrm>
            <a:custGeom>
              <a:avLst/>
              <a:gdLst/>
              <a:ahLst/>
              <a:cxnLst>
                <a:cxn ang="0">
                  <a:pos x="0" y="18"/>
                </a:cxn>
                <a:cxn ang="0">
                  <a:pos x="1" y="24"/>
                </a:cxn>
                <a:cxn ang="0">
                  <a:pos x="4" y="29"/>
                </a:cxn>
                <a:cxn ang="0">
                  <a:pos x="6" y="32"/>
                </a:cxn>
                <a:cxn ang="0">
                  <a:pos x="8" y="34"/>
                </a:cxn>
                <a:cxn ang="0">
                  <a:pos x="11" y="36"/>
                </a:cxn>
                <a:cxn ang="0">
                  <a:pos x="13" y="36"/>
                </a:cxn>
                <a:cxn ang="0">
                  <a:pos x="32" y="36"/>
                </a:cxn>
                <a:cxn ang="0">
                  <a:pos x="32" y="22"/>
                </a:cxn>
                <a:cxn ang="0">
                  <a:pos x="31" y="14"/>
                </a:cxn>
                <a:cxn ang="0">
                  <a:pos x="30" y="7"/>
                </a:cxn>
                <a:cxn ang="0">
                  <a:pos x="26" y="0"/>
                </a:cxn>
                <a:cxn ang="0">
                  <a:pos x="19" y="2"/>
                </a:cxn>
                <a:cxn ang="0">
                  <a:pos x="11" y="7"/>
                </a:cxn>
                <a:cxn ang="0">
                  <a:pos x="6" y="10"/>
                </a:cxn>
                <a:cxn ang="0">
                  <a:pos x="3" y="13"/>
                </a:cxn>
                <a:cxn ang="0">
                  <a:pos x="1" y="16"/>
                </a:cxn>
                <a:cxn ang="0">
                  <a:pos x="0" y="18"/>
                </a:cxn>
              </a:cxnLst>
              <a:rect l="0" t="0" r="r" b="b"/>
              <a:pathLst>
                <a:path w="32" h="36">
                  <a:moveTo>
                    <a:pt x="0" y="18"/>
                  </a:moveTo>
                  <a:lnTo>
                    <a:pt x="1" y="24"/>
                  </a:lnTo>
                  <a:lnTo>
                    <a:pt x="4" y="29"/>
                  </a:lnTo>
                  <a:lnTo>
                    <a:pt x="6" y="32"/>
                  </a:lnTo>
                  <a:lnTo>
                    <a:pt x="8" y="34"/>
                  </a:lnTo>
                  <a:lnTo>
                    <a:pt x="11" y="36"/>
                  </a:lnTo>
                  <a:lnTo>
                    <a:pt x="13" y="36"/>
                  </a:lnTo>
                  <a:lnTo>
                    <a:pt x="32" y="36"/>
                  </a:lnTo>
                  <a:lnTo>
                    <a:pt x="32" y="22"/>
                  </a:lnTo>
                  <a:lnTo>
                    <a:pt x="31" y="14"/>
                  </a:lnTo>
                  <a:lnTo>
                    <a:pt x="30" y="7"/>
                  </a:lnTo>
                  <a:lnTo>
                    <a:pt x="26" y="0"/>
                  </a:lnTo>
                  <a:lnTo>
                    <a:pt x="19" y="2"/>
                  </a:lnTo>
                  <a:lnTo>
                    <a:pt x="11" y="7"/>
                  </a:lnTo>
                  <a:lnTo>
                    <a:pt x="6" y="10"/>
                  </a:lnTo>
                  <a:lnTo>
                    <a:pt x="3" y="13"/>
                  </a:lnTo>
                  <a:lnTo>
                    <a:pt x="1" y="16"/>
                  </a:lnTo>
                  <a:lnTo>
                    <a:pt x="0" y="1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443" name="Freeform 395"/>
            <p:cNvSpPr>
              <a:spLocks/>
            </p:cNvSpPr>
            <p:nvPr/>
          </p:nvSpPr>
          <p:spPr bwMode="auto">
            <a:xfrm>
              <a:off x="1279" y="1314"/>
              <a:ext cx="46" cy="17"/>
            </a:xfrm>
            <a:custGeom>
              <a:avLst/>
              <a:gdLst/>
              <a:ahLst/>
              <a:cxnLst>
                <a:cxn ang="0">
                  <a:pos x="0" y="43"/>
                </a:cxn>
                <a:cxn ang="0">
                  <a:pos x="11" y="46"/>
                </a:cxn>
                <a:cxn ang="0">
                  <a:pos x="22" y="48"/>
                </a:cxn>
                <a:cxn ang="0">
                  <a:pos x="33" y="51"/>
                </a:cxn>
                <a:cxn ang="0">
                  <a:pos x="43" y="52"/>
                </a:cxn>
                <a:cxn ang="0">
                  <a:pos x="63" y="52"/>
                </a:cxn>
                <a:cxn ang="0">
                  <a:pos x="82" y="51"/>
                </a:cxn>
                <a:cxn ang="0">
                  <a:pos x="117" y="46"/>
                </a:cxn>
                <a:cxn ang="0">
                  <a:pos x="146" y="43"/>
                </a:cxn>
                <a:cxn ang="0">
                  <a:pos x="144" y="36"/>
                </a:cxn>
                <a:cxn ang="0">
                  <a:pos x="142" y="30"/>
                </a:cxn>
                <a:cxn ang="0">
                  <a:pos x="139" y="24"/>
                </a:cxn>
                <a:cxn ang="0">
                  <a:pos x="137" y="19"/>
                </a:cxn>
                <a:cxn ang="0">
                  <a:pos x="134" y="15"/>
                </a:cxn>
                <a:cxn ang="0">
                  <a:pos x="129" y="11"/>
                </a:cxn>
                <a:cxn ang="0">
                  <a:pos x="125" y="8"/>
                </a:cxn>
                <a:cxn ang="0">
                  <a:pos x="121" y="6"/>
                </a:cxn>
                <a:cxn ang="0">
                  <a:pos x="111" y="2"/>
                </a:cxn>
                <a:cxn ang="0">
                  <a:pos x="101" y="0"/>
                </a:cxn>
                <a:cxn ang="0">
                  <a:pos x="89" y="1"/>
                </a:cxn>
                <a:cxn ang="0">
                  <a:pos x="78" y="2"/>
                </a:cxn>
                <a:cxn ang="0">
                  <a:pos x="66" y="5"/>
                </a:cxn>
                <a:cxn ang="0">
                  <a:pos x="54" y="9"/>
                </a:cxn>
                <a:cxn ang="0">
                  <a:pos x="43" y="14"/>
                </a:cxn>
                <a:cxn ang="0">
                  <a:pos x="32" y="19"/>
                </a:cxn>
                <a:cxn ang="0">
                  <a:pos x="22" y="25"/>
                </a:cxn>
                <a:cxn ang="0">
                  <a:pos x="13" y="31"/>
                </a:cxn>
                <a:cxn ang="0">
                  <a:pos x="5" y="37"/>
                </a:cxn>
                <a:cxn ang="0">
                  <a:pos x="0" y="43"/>
                </a:cxn>
              </a:cxnLst>
              <a:rect l="0" t="0" r="r" b="b"/>
              <a:pathLst>
                <a:path w="146" h="52">
                  <a:moveTo>
                    <a:pt x="0" y="43"/>
                  </a:moveTo>
                  <a:lnTo>
                    <a:pt x="11" y="46"/>
                  </a:lnTo>
                  <a:lnTo>
                    <a:pt x="22" y="48"/>
                  </a:lnTo>
                  <a:lnTo>
                    <a:pt x="33" y="51"/>
                  </a:lnTo>
                  <a:lnTo>
                    <a:pt x="43" y="52"/>
                  </a:lnTo>
                  <a:lnTo>
                    <a:pt x="63" y="52"/>
                  </a:lnTo>
                  <a:lnTo>
                    <a:pt x="82" y="51"/>
                  </a:lnTo>
                  <a:lnTo>
                    <a:pt x="117" y="46"/>
                  </a:lnTo>
                  <a:lnTo>
                    <a:pt x="146" y="43"/>
                  </a:lnTo>
                  <a:lnTo>
                    <a:pt x="144" y="36"/>
                  </a:lnTo>
                  <a:lnTo>
                    <a:pt x="142" y="30"/>
                  </a:lnTo>
                  <a:lnTo>
                    <a:pt x="139" y="24"/>
                  </a:lnTo>
                  <a:lnTo>
                    <a:pt x="137" y="19"/>
                  </a:lnTo>
                  <a:lnTo>
                    <a:pt x="134" y="15"/>
                  </a:lnTo>
                  <a:lnTo>
                    <a:pt x="129" y="11"/>
                  </a:lnTo>
                  <a:lnTo>
                    <a:pt x="125" y="8"/>
                  </a:lnTo>
                  <a:lnTo>
                    <a:pt x="121" y="6"/>
                  </a:lnTo>
                  <a:lnTo>
                    <a:pt x="111" y="2"/>
                  </a:lnTo>
                  <a:lnTo>
                    <a:pt x="101" y="0"/>
                  </a:lnTo>
                  <a:lnTo>
                    <a:pt x="89" y="1"/>
                  </a:lnTo>
                  <a:lnTo>
                    <a:pt x="78" y="2"/>
                  </a:lnTo>
                  <a:lnTo>
                    <a:pt x="66" y="5"/>
                  </a:lnTo>
                  <a:lnTo>
                    <a:pt x="54" y="9"/>
                  </a:lnTo>
                  <a:lnTo>
                    <a:pt x="43" y="14"/>
                  </a:lnTo>
                  <a:lnTo>
                    <a:pt x="32" y="19"/>
                  </a:lnTo>
                  <a:lnTo>
                    <a:pt x="22" y="25"/>
                  </a:lnTo>
                  <a:lnTo>
                    <a:pt x="13" y="31"/>
                  </a:lnTo>
                  <a:lnTo>
                    <a:pt x="5" y="37"/>
                  </a:lnTo>
                  <a:lnTo>
                    <a:pt x="0" y="4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444" name="Freeform 396"/>
            <p:cNvSpPr>
              <a:spLocks/>
            </p:cNvSpPr>
            <p:nvPr/>
          </p:nvSpPr>
          <p:spPr bwMode="auto">
            <a:xfrm>
              <a:off x="1261" y="1252"/>
              <a:ext cx="20" cy="10"/>
            </a:xfrm>
            <a:custGeom>
              <a:avLst/>
              <a:gdLst/>
              <a:ahLst/>
              <a:cxnLst>
                <a:cxn ang="0">
                  <a:pos x="60" y="0"/>
                </a:cxn>
                <a:cxn ang="0">
                  <a:pos x="49" y="0"/>
                </a:cxn>
                <a:cxn ang="0">
                  <a:pos x="38" y="0"/>
                </a:cxn>
                <a:cxn ang="0">
                  <a:pos x="31" y="0"/>
                </a:cxn>
                <a:cxn ang="0">
                  <a:pos x="27" y="0"/>
                </a:cxn>
                <a:cxn ang="0">
                  <a:pos x="18" y="0"/>
                </a:cxn>
                <a:cxn ang="0">
                  <a:pos x="9" y="2"/>
                </a:cxn>
                <a:cxn ang="0">
                  <a:pos x="5" y="3"/>
                </a:cxn>
                <a:cxn ang="0">
                  <a:pos x="2" y="5"/>
                </a:cxn>
                <a:cxn ang="0">
                  <a:pos x="1" y="8"/>
                </a:cxn>
                <a:cxn ang="0">
                  <a:pos x="0" y="12"/>
                </a:cxn>
                <a:cxn ang="0">
                  <a:pos x="1" y="15"/>
                </a:cxn>
                <a:cxn ang="0">
                  <a:pos x="2" y="18"/>
                </a:cxn>
                <a:cxn ang="0">
                  <a:pos x="5" y="22"/>
                </a:cxn>
                <a:cxn ang="0">
                  <a:pos x="9" y="24"/>
                </a:cxn>
                <a:cxn ang="0">
                  <a:pos x="12" y="27"/>
                </a:cxn>
                <a:cxn ang="0">
                  <a:pos x="18" y="29"/>
                </a:cxn>
                <a:cxn ang="0">
                  <a:pos x="22" y="31"/>
                </a:cxn>
                <a:cxn ang="0">
                  <a:pos x="27" y="31"/>
                </a:cxn>
                <a:cxn ang="0">
                  <a:pos x="32" y="30"/>
                </a:cxn>
                <a:cxn ang="0">
                  <a:pos x="37" y="28"/>
                </a:cxn>
                <a:cxn ang="0">
                  <a:pos x="43" y="24"/>
                </a:cxn>
                <a:cxn ang="0">
                  <a:pos x="48" y="18"/>
                </a:cxn>
                <a:cxn ang="0">
                  <a:pos x="57" y="10"/>
                </a:cxn>
                <a:cxn ang="0">
                  <a:pos x="60" y="6"/>
                </a:cxn>
                <a:cxn ang="0">
                  <a:pos x="60" y="0"/>
                </a:cxn>
              </a:cxnLst>
              <a:rect l="0" t="0" r="r" b="b"/>
              <a:pathLst>
                <a:path w="60" h="31">
                  <a:moveTo>
                    <a:pt x="60" y="0"/>
                  </a:moveTo>
                  <a:lnTo>
                    <a:pt x="49" y="0"/>
                  </a:lnTo>
                  <a:lnTo>
                    <a:pt x="38" y="0"/>
                  </a:lnTo>
                  <a:lnTo>
                    <a:pt x="31" y="0"/>
                  </a:lnTo>
                  <a:lnTo>
                    <a:pt x="27" y="0"/>
                  </a:lnTo>
                  <a:lnTo>
                    <a:pt x="18" y="0"/>
                  </a:lnTo>
                  <a:lnTo>
                    <a:pt x="9" y="2"/>
                  </a:lnTo>
                  <a:lnTo>
                    <a:pt x="5" y="3"/>
                  </a:lnTo>
                  <a:lnTo>
                    <a:pt x="2" y="5"/>
                  </a:lnTo>
                  <a:lnTo>
                    <a:pt x="1" y="8"/>
                  </a:lnTo>
                  <a:lnTo>
                    <a:pt x="0" y="12"/>
                  </a:lnTo>
                  <a:lnTo>
                    <a:pt x="1" y="15"/>
                  </a:lnTo>
                  <a:lnTo>
                    <a:pt x="2" y="18"/>
                  </a:lnTo>
                  <a:lnTo>
                    <a:pt x="5" y="22"/>
                  </a:lnTo>
                  <a:lnTo>
                    <a:pt x="9" y="24"/>
                  </a:lnTo>
                  <a:lnTo>
                    <a:pt x="12" y="27"/>
                  </a:lnTo>
                  <a:lnTo>
                    <a:pt x="18" y="29"/>
                  </a:lnTo>
                  <a:lnTo>
                    <a:pt x="22" y="31"/>
                  </a:lnTo>
                  <a:lnTo>
                    <a:pt x="27" y="31"/>
                  </a:lnTo>
                  <a:lnTo>
                    <a:pt x="32" y="30"/>
                  </a:lnTo>
                  <a:lnTo>
                    <a:pt x="37" y="28"/>
                  </a:lnTo>
                  <a:lnTo>
                    <a:pt x="43" y="24"/>
                  </a:lnTo>
                  <a:lnTo>
                    <a:pt x="48" y="18"/>
                  </a:lnTo>
                  <a:lnTo>
                    <a:pt x="57" y="10"/>
                  </a:lnTo>
                  <a:lnTo>
                    <a:pt x="60" y="6"/>
                  </a:lnTo>
                  <a:lnTo>
                    <a:pt x="6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445" name="Freeform 397"/>
            <p:cNvSpPr>
              <a:spLocks/>
            </p:cNvSpPr>
            <p:nvPr/>
          </p:nvSpPr>
          <p:spPr bwMode="auto">
            <a:xfrm>
              <a:off x="1730" y="1713"/>
              <a:ext cx="26" cy="20"/>
            </a:xfrm>
            <a:custGeom>
              <a:avLst/>
              <a:gdLst/>
              <a:ahLst/>
              <a:cxnLst>
                <a:cxn ang="0">
                  <a:pos x="0" y="43"/>
                </a:cxn>
                <a:cxn ang="0">
                  <a:pos x="1" y="46"/>
                </a:cxn>
                <a:cxn ang="0">
                  <a:pos x="1" y="49"/>
                </a:cxn>
                <a:cxn ang="0">
                  <a:pos x="3" y="51"/>
                </a:cxn>
                <a:cxn ang="0">
                  <a:pos x="4" y="53"/>
                </a:cxn>
                <a:cxn ang="0">
                  <a:pos x="10" y="57"/>
                </a:cxn>
                <a:cxn ang="0">
                  <a:pos x="15" y="59"/>
                </a:cxn>
                <a:cxn ang="0">
                  <a:pos x="28" y="62"/>
                </a:cxn>
                <a:cxn ang="0">
                  <a:pos x="40" y="62"/>
                </a:cxn>
                <a:cxn ang="0">
                  <a:pos x="45" y="62"/>
                </a:cxn>
                <a:cxn ang="0">
                  <a:pos x="49" y="59"/>
                </a:cxn>
                <a:cxn ang="0">
                  <a:pos x="54" y="57"/>
                </a:cxn>
                <a:cxn ang="0">
                  <a:pos x="58" y="54"/>
                </a:cxn>
                <a:cxn ang="0">
                  <a:pos x="65" y="47"/>
                </a:cxn>
                <a:cxn ang="0">
                  <a:pos x="70" y="38"/>
                </a:cxn>
                <a:cxn ang="0">
                  <a:pos x="74" y="28"/>
                </a:cxn>
                <a:cxn ang="0">
                  <a:pos x="78" y="18"/>
                </a:cxn>
                <a:cxn ang="0">
                  <a:pos x="79" y="8"/>
                </a:cxn>
                <a:cxn ang="0">
                  <a:pos x="80" y="0"/>
                </a:cxn>
                <a:cxn ang="0">
                  <a:pos x="71" y="0"/>
                </a:cxn>
                <a:cxn ang="0">
                  <a:pos x="59" y="3"/>
                </a:cxn>
                <a:cxn ang="0">
                  <a:pos x="46" y="8"/>
                </a:cxn>
                <a:cxn ang="0">
                  <a:pos x="33" y="13"/>
                </a:cxn>
                <a:cxn ang="0">
                  <a:pos x="21" y="19"/>
                </a:cxn>
                <a:cxn ang="0">
                  <a:pos x="10" y="26"/>
                </a:cxn>
                <a:cxn ang="0">
                  <a:pos x="6" y="30"/>
                </a:cxn>
                <a:cxn ang="0">
                  <a:pos x="3" y="34"/>
                </a:cxn>
                <a:cxn ang="0">
                  <a:pos x="1" y="39"/>
                </a:cxn>
                <a:cxn ang="0">
                  <a:pos x="0" y="43"/>
                </a:cxn>
              </a:cxnLst>
              <a:rect l="0" t="0" r="r" b="b"/>
              <a:pathLst>
                <a:path w="80" h="62">
                  <a:moveTo>
                    <a:pt x="0" y="43"/>
                  </a:moveTo>
                  <a:lnTo>
                    <a:pt x="1" y="46"/>
                  </a:lnTo>
                  <a:lnTo>
                    <a:pt x="1" y="49"/>
                  </a:lnTo>
                  <a:lnTo>
                    <a:pt x="3" y="51"/>
                  </a:lnTo>
                  <a:lnTo>
                    <a:pt x="4" y="53"/>
                  </a:lnTo>
                  <a:lnTo>
                    <a:pt x="10" y="57"/>
                  </a:lnTo>
                  <a:lnTo>
                    <a:pt x="15" y="59"/>
                  </a:lnTo>
                  <a:lnTo>
                    <a:pt x="28" y="62"/>
                  </a:lnTo>
                  <a:lnTo>
                    <a:pt x="40" y="62"/>
                  </a:lnTo>
                  <a:lnTo>
                    <a:pt x="45" y="62"/>
                  </a:lnTo>
                  <a:lnTo>
                    <a:pt x="49" y="59"/>
                  </a:lnTo>
                  <a:lnTo>
                    <a:pt x="54" y="57"/>
                  </a:lnTo>
                  <a:lnTo>
                    <a:pt x="58" y="54"/>
                  </a:lnTo>
                  <a:lnTo>
                    <a:pt x="65" y="47"/>
                  </a:lnTo>
                  <a:lnTo>
                    <a:pt x="70" y="38"/>
                  </a:lnTo>
                  <a:lnTo>
                    <a:pt x="74" y="28"/>
                  </a:lnTo>
                  <a:lnTo>
                    <a:pt x="78" y="18"/>
                  </a:lnTo>
                  <a:lnTo>
                    <a:pt x="79" y="8"/>
                  </a:lnTo>
                  <a:lnTo>
                    <a:pt x="80" y="0"/>
                  </a:lnTo>
                  <a:lnTo>
                    <a:pt x="71" y="0"/>
                  </a:lnTo>
                  <a:lnTo>
                    <a:pt x="59" y="3"/>
                  </a:lnTo>
                  <a:lnTo>
                    <a:pt x="46" y="8"/>
                  </a:lnTo>
                  <a:lnTo>
                    <a:pt x="33" y="13"/>
                  </a:lnTo>
                  <a:lnTo>
                    <a:pt x="21" y="19"/>
                  </a:lnTo>
                  <a:lnTo>
                    <a:pt x="10" y="26"/>
                  </a:lnTo>
                  <a:lnTo>
                    <a:pt x="6" y="30"/>
                  </a:lnTo>
                  <a:lnTo>
                    <a:pt x="3" y="34"/>
                  </a:lnTo>
                  <a:lnTo>
                    <a:pt x="1" y="39"/>
                  </a:lnTo>
                  <a:lnTo>
                    <a:pt x="0" y="4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446" name="Freeform 398"/>
            <p:cNvSpPr>
              <a:spLocks/>
            </p:cNvSpPr>
            <p:nvPr/>
          </p:nvSpPr>
          <p:spPr bwMode="auto">
            <a:xfrm>
              <a:off x="1583" y="1674"/>
              <a:ext cx="33" cy="16"/>
            </a:xfrm>
            <a:custGeom>
              <a:avLst/>
              <a:gdLst/>
              <a:ahLst/>
              <a:cxnLst>
                <a:cxn ang="0">
                  <a:pos x="80" y="13"/>
                </a:cxn>
                <a:cxn ang="0">
                  <a:pos x="72" y="12"/>
                </a:cxn>
                <a:cxn ang="0">
                  <a:pos x="66" y="11"/>
                </a:cxn>
                <a:cxn ang="0">
                  <a:pos x="59" y="8"/>
                </a:cxn>
                <a:cxn ang="0">
                  <a:pos x="53" y="6"/>
                </a:cxn>
                <a:cxn ang="0">
                  <a:pos x="47" y="4"/>
                </a:cxn>
                <a:cxn ang="0">
                  <a:pos x="41" y="2"/>
                </a:cxn>
                <a:cxn ang="0">
                  <a:pos x="34" y="0"/>
                </a:cxn>
                <a:cxn ang="0">
                  <a:pos x="26" y="0"/>
                </a:cxn>
                <a:cxn ang="0">
                  <a:pos x="15" y="0"/>
                </a:cxn>
                <a:cxn ang="0">
                  <a:pos x="0" y="0"/>
                </a:cxn>
                <a:cxn ang="0">
                  <a:pos x="9" y="11"/>
                </a:cxn>
                <a:cxn ang="0">
                  <a:pos x="17" y="21"/>
                </a:cxn>
                <a:cxn ang="0">
                  <a:pos x="26" y="29"/>
                </a:cxn>
                <a:cxn ang="0">
                  <a:pos x="34" y="36"/>
                </a:cxn>
                <a:cxn ang="0">
                  <a:pos x="42" y="42"/>
                </a:cxn>
                <a:cxn ang="0">
                  <a:pos x="52" y="46"/>
                </a:cxn>
                <a:cxn ang="0">
                  <a:pos x="61" y="48"/>
                </a:cxn>
                <a:cxn ang="0">
                  <a:pos x="72" y="49"/>
                </a:cxn>
                <a:cxn ang="0">
                  <a:pos x="79" y="48"/>
                </a:cxn>
                <a:cxn ang="0">
                  <a:pos x="87" y="45"/>
                </a:cxn>
                <a:cxn ang="0">
                  <a:pos x="97" y="39"/>
                </a:cxn>
                <a:cxn ang="0">
                  <a:pos x="106" y="31"/>
                </a:cxn>
                <a:cxn ang="0">
                  <a:pos x="101" y="30"/>
                </a:cxn>
                <a:cxn ang="0">
                  <a:pos x="98" y="28"/>
                </a:cxn>
                <a:cxn ang="0">
                  <a:pos x="93" y="25"/>
                </a:cxn>
                <a:cxn ang="0">
                  <a:pos x="90" y="22"/>
                </a:cxn>
                <a:cxn ang="0">
                  <a:pos x="88" y="19"/>
                </a:cxn>
                <a:cxn ang="0">
                  <a:pos x="84" y="16"/>
                </a:cxn>
                <a:cxn ang="0">
                  <a:pos x="82" y="14"/>
                </a:cxn>
                <a:cxn ang="0">
                  <a:pos x="80" y="13"/>
                </a:cxn>
              </a:cxnLst>
              <a:rect l="0" t="0" r="r" b="b"/>
              <a:pathLst>
                <a:path w="106" h="49">
                  <a:moveTo>
                    <a:pt x="80" y="13"/>
                  </a:moveTo>
                  <a:lnTo>
                    <a:pt x="72" y="12"/>
                  </a:lnTo>
                  <a:lnTo>
                    <a:pt x="66" y="11"/>
                  </a:lnTo>
                  <a:lnTo>
                    <a:pt x="59" y="8"/>
                  </a:lnTo>
                  <a:lnTo>
                    <a:pt x="53" y="6"/>
                  </a:lnTo>
                  <a:lnTo>
                    <a:pt x="47" y="4"/>
                  </a:lnTo>
                  <a:lnTo>
                    <a:pt x="41" y="2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15" y="0"/>
                  </a:lnTo>
                  <a:lnTo>
                    <a:pt x="0" y="0"/>
                  </a:lnTo>
                  <a:lnTo>
                    <a:pt x="9" y="11"/>
                  </a:lnTo>
                  <a:lnTo>
                    <a:pt x="17" y="21"/>
                  </a:lnTo>
                  <a:lnTo>
                    <a:pt x="26" y="29"/>
                  </a:lnTo>
                  <a:lnTo>
                    <a:pt x="34" y="36"/>
                  </a:lnTo>
                  <a:lnTo>
                    <a:pt x="42" y="42"/>
                  </a:lnTo>
                  <a:lnTo>
                    <a:pt x="52" y="46"/>
                  </a:lnTo>
                  <a:lnTo>
                    <a:pt x="61" y="48"/>
                  </a:lnTo>
                  <a:lnTo>
                    <a:pt x="72" y="49"/>
                  </a:lnTo>
                  <a:lnTo>
                    <a:pt x="79" y="48"/>
                  </a:lnTo>
                  <a:lnTo>
                    <a:pt x="87" y="45"/>
                  </a:lnTo>
                  <a:lnTo>
                    <a:pt x="97" y="39"/>
                  </a:lnTo>
                  <a:lnTo>
                    <a:pt x="106" y="31"/>
                  </a:lnTo>
                  <a:lnTo>
                    <a:pt x="101" y="30"/>
                  </a:lnTo>
                  <a:lnTo>
                    <a:pt x="98" y="28"/>
                  </a:lnTo>
                  <a:lnTo>
                    <a:pt x="93" y="25"/>
                  </a:lnTo>
                  <a:lnTo>
                    <a:pt x="90" y="22"/>
                  </a:lnTo>
                  <a:lnTo>
                    <a:pt x="88" y="19"/>
                  </a:lnTo>
                  <a:lnTo>
                    <a:pt x="84" y="16"/>
                  </a:lnTo>
                  <a:lnTo>
                    <a:pt x="82" y="14"/>
                  </a:lnTo>
                  <a:lnTo>
                    <a:pt x="80" y="1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447" name="Freeform 399"/>
            <p:cNvSpPr>
              <a:spLocks/>
            </p:cNvSpPr>
            <p:nvPr/>
          </p:nvSpPr>
          <p:spPr bwMode="auto">
            <a:xfrm>
              <a:off x="1599" y="1713"/>
              <a:ext cx="15" cy="7"/>
            </a:xfrm>
            <a:custGeom>
              <a:avLst/>
              <a:gdLst/>
              <a:ahLst/>
              <a:cxnLst>
                <a:cxn ang="0">
                  <a:pos x="0" y="19"/>
                </a:cxn>
                <a:cxn ang="0">
                  <a:pos x="5" y="21"/>
                </a:cxn>
                <a:cxn ang="0">
                  <a:pos x="12" y="22"/>
                </a:cxn>
                <a:cxn ang="0">
                  <a:pos x="18" y="22"/>
                </a:cxn>
                <a:cxn ang="0">
                  <a:pos x="26" y="21"/>
                </a:cxn>
                <a:cxn ang="0">
                  <a:pos x="33" y="19"/>
                </a:cxn>
                <a:cxn ang="0">
                  <a:pos x="38" y="15"/>
                </a:cxn>
                <a:cxn ang="0">
                  <a:pos x="41" y="12"/>
                </a:cxn>
                <a:cxn ang="0">
                  <a:pos x="44" y="9"/>
                </a:cxn>
                <a:cxn ang="0">
                  <a:pos x="45" y="5"/>
                </a:cxn>
                <a:cxn ang="0">
                  <a:pos x="47" y="0"/>
                </a:cxn>
                <a:cxn ang="0">
                  <a:pos x="0" y="19"/>
                </a:cxn>
              </a:cxnLst>
              <a:rect l="0" t="0" r="r" b="b"/>
              <a:pathLst>
                <a:path w="47" h="22">
                  <a:moveTo>
                    <a:pt x="0" y="19"/>
                  </a:moveTo>
                  <a:lnTo>
                    <a:pt x="5" y="21"/>
                  </a:lnTo>
                  <a:lnTo>
                    <a:pt x="12" y="22"/>
                  </a:lnTo>
                  <a:lnTo>
                    <a:pt x="18" y="22"/>
                  </a:lnTo>
                  <a:lnTo>
                    <a:pt x="26" y="21"/>
                  </a:lnTo>
                  <a:lnTo>
                    <a:pt x="33" y="19"/>
                  </a:lnTo>
                  <a:lnTo>
                    <a:pt x="38" y="15"/>
                  </a:lnTo>
                  <a:lnTo>
                    <a:pt x="41" y="12"/>
                  </a:lnTo>
                  <a:lnTo>
                    <a:pt x="44" y="9"/>
                  </a:lnTo>
                  <a:lnTo>
                    <a:pt x="45" y="5"/>
                  </a:lnTo>
                  <a:lnTo>
                    <a:pt x="47" y="0"/>
                  </a:lnTo>
                  <a:lnTo>
                    <a:pt x="0" y="1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448" name="Freeform 400"/>
            <p:cNvSpPr>
              <a:spLocks/>
            </p:cNvSpPr>
            <p:nvPr/>
          </p:nvSpPr>
          <p:spPr bwMode="auto">
            <a:xfrm>
              <a:off x="1608" y="1742"/>
              <a:ext cx="17" cy="11"/>
            </a:xfrm>
            <a:custGeom>
              <a:avLst/>
              <a:gdLst/>
              <a:ahLst/>
              <a:cxnLst>
                <a:cxn ang="0">
                  <a:pos x="53" y="0"/>
                </a:cxn>
                <a:cxn ang="0">
                  <a:pos x="37" y="9"/>
                </a:cxn>
                <a:cxn ang="0">
                  <a:pos x="23" y="18"/>
                </a:cxn>
                <a:cxn ang="0">
                  <a:pos x="11" y="26"/>
                </a:cxn>
                <a:cxn ang="0">
                  <a:pos x="0" y="32"/>
                </a:cxn>
                <a:cxn ang="0">
                  <a:pos x="13" y="32"/>
                </a:cxn>
                <a:cxn ang="0">
                  <a:pos x="26" y="32"/>
                </a:cxn>
                <a:cxn ang="0">
                  <a:pos x="39" y="32"/>
                </a:cxn>
                <a:cxn ang="0">
                  <a:pos x="53" y="32"/>
                </a:cxn>
                <a:cxn ang="0">
                  <a:pos x="53" y="24"/>
                </a:cxn>
                <a:cxn ang="0">
                  <a:pos x="53" y="16"/>
                </a:cxn>
                <a:cxn ang="0">
                  <a:pos x="53" y="9"/>
                </a:cxn>
                <a:cxn ang="0">
                  <a:pos x="53" y="0"/>
                </a:cxn>
              </a:cxnLst>
              <a:rect l="0" t="0" r="r" b="b"/>
              <a:pathLst>
                <a:path w="53" h="32">
                  <a:moveTo>
                    <a:pt x="53" y="0"/>
                  </a:moveTo>
                  <a:lnTo>
                    <a:pt x="37" y="9"/>
                  </a:lnTo>
                  <a:lnTo>
                    <a:pt x="23" y="18"/>
                  </a:lnTo>
                  <a:lnTo>
                    <a:pt x="11" y="26"/>
                  </a:lnTo>
                  <a:lnTo>
                    <a:pt x="0" y="32"/>
                  </a:lnTo>
                  <a:lnTo>
                    <a:pt x="13" y="32"/>
                  </a:lnTo>
                  <a:lnTo>
                    <a:pt x="26" y="32"/>
                  </a:lnTo>
                  <a:lnTo>
                    <a:pt x="39" y="32"/>
                  </a:lnTo>
                  <a:lnTo>
                    <a:pt x="53" y="32"/>
                  </a:lnTo>
                  <a:lnTo>
                    <a:pt x="53" y="24"/>
                  </a:lnTo>
                  <a:lnTo>
                    <a:pt x="53" y="16"/>
                  </a:lnTo>
                  <a:lnTo>
                    <a:pt x="53" y="9"/>
                  </a:lnTo>
                  <a:lnTo>
                    <a:pt x="5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449" name="Freeform 401"/>
            <p:cNvSpPr>
              <a:spLocks/>
            </p:cNvSpPr>
            <p:nvPr/>
          </p:nvSpPr>
          <p:spPr bwMode="auto">
            <a:xfrm>
              <a:off x="1450" y="1438"/>
              <a:ext cx="14" cy="12"/>
            </a:xfrm>
            <a:custGeom>
              <a:avLst/>
              <a:gdLst/>
              <a:ahLst/>
              <a:cxnLst>
                <a:cxn ang="0">
                  <a:pos x="27" y="3"/>
                </a:cxn>
                <a:cxn ang="0">
                  <a:pos x="0" y="16"/>
                </a:cxn>
                <a:cxn ang="0">
                  <a:pos x="0" y="34"/>
                </a:cxn>
                <a:cxn ang="0">
                  <a:pos x="27" y="34"/>
                </a:cxn>
                <a:cxn ang="0">
                  <a:pos x="31" y="32"/>
                </a:cxn>
                <a:cxn ang="0">
                  <a:pos x="35" y="28"/>
                </a:cxn>
                <a:cxn ang="0">
                  <a:pos x="39" y="25"/>
                </a:cxn>
                <a:cxn ang="0">
                  <a:pos x="42" y="21"/>
                </a:cxn>
                <a:cxn ang="0">
                  <a:pos x="44" y="17"/>
                </a:cxn>
                <a:cxn ang="0">
                  <a:pos x="45" y="13"/>
                </a:cxn>
                <a:cxn ang="0">
                  <a:pos x="46" y="8"/>
                </a:cxn>
                <a:cxn ang="0">
                  <a:pos x="46" y="3"/>
                </a:cxn>
                <a:cxn ang="0">
                  <a:pos x="46" y="1"/>
                </a:cxn>
                <a:cxn ang="0">
                  <a:pos x="44" y="0"/>
                </a:cxn>
                <a:cxn ang="0">
                  <a:pos x="42" y="0"/>
                </a:cxn>
                <a:cxn ang="0">
                  <a:pos x="39" y="0"/>
                </a:cxn>
                <a:cxn ang="0">
                  <a:pos x="32" y="2"/>
                </a:cxn>
                <a:cxn ang="0">
                  <a:pos x="27" y="3"/>
                </a:cxn>
              </a:cxnLst>
              <a:rect l="0" t="0" r="r" b="b"/>
              <a:pathLst>
                <a:path w="46" h="34">
                  <a:moveTo>
                    <a:pt x="27" y="3"/>
                  </a:moveTo>
                  <a:lnTo>
                    <a:pt x="0" y="16"/>
                  </a:lnTo>
                  <a:lnTo>
                    <a:pt x="0" y="34"/>
                  </a:lnTo>
                  <a:lnTo>
                    <a:pt x="27" y="34"/>
                  </a:lnTo>
                  <a:lnTo>
                    <a:pt x="31" y="32"/>
                  </a:lnTo>
                  <a:lnTo>
                    <a:pt x="35" y="28"/>
                  </a:lnTo>
                  <a:lnTo>
                    <a:pt x="39" y="25"/>
                  </a:lnTo>
                  <a:lnTo>
                    <a:pt x="42" y="21"/>
                  </a:lnTo>
                  <a:lnTo>
                    <a:pt x="44" y="17"/>
                  </a:lnTo>
                  <a:lnTo>
                    <a:pt x="45" y="13"/>
                  </a:lnTo>
                  <a:lnTo>
                    <a:pt x="46" y="8"/>
                  </a:lnTo>
                  <a:lnTo>
                    <a:pt x="46" y="3"/>
                  </a:lnTo>
                  <a:lnTo>
                    <a:pt x="46" y="1"/>
                  </a:lnTo>
                  <a:lnTo>
                    <a:pt x="44" y="0"/>
                  </a:lnTo>
                  <a:lnTo>
                    <a:pt x="42" y="0"/>
                  </a:lnTo>
                  <a:lnTo>
                    <a:pt x="39" y="0"/>
                  </a:lnTo>
                  <a:lnTo>
                    <a:pt x="32" y="2"/>
                  </a:lnTo>
                  <a:lnTo>
                    <a:pt x="27" y="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450" name="Freeform 402"/>
            <p:cNvSpPr>
              <a:spLocks/>
            </p:cNvSpPr>
            <p:nvPr/>
          </p:nvSpPr>
          <p:spPr bwMode="auto">
            <a:xfrm>
              <a:off x="1305" y="1224"/>
              <a:ext cx="16" cy="8"/>
            </a:xfrm>
            <a:custGeom>
              <a:avLst/>
              <a:gdLst/>
              <a:ahLst/>
              <a:cxnLst>
                <a:cxn ang="0">
                  <a:pos x="0" y="25"/>
                </a:cxn>
                <a:cxn ang="0">
                  <a:pos x="14" y="25"/>
                </a:cxn>
                <a:cxn ang="0">
                  <a:pos x="28" y="25"/>
                </a:cxn>
                <a:cxn ang="0">
                  <a:pos x="30" y="24"/>
                </a:cxn>
                <a:cxn ang="0">
                  <a:pos x="33" y="22"/>
                </a:cxn>
                <a:cxn ang="0">
                  <a:pos x="37" y="18"/>
                </a:cxn>
                <a:cxn ang="0">
                  <a:pos x="40" y="15"/>
                </a:cxn>
                <a:cxn ang="0">
                  <a:pos x="45" y="7"/>
                </a:cxn>
                <a:cxn ang="0">
                  <a:pos x="48" y="0"/>
                </a:cxn>
                <a:cxn ang="0">
                  <a:pos x="40" y="1"/>
                </a:cxn>
                <a:cxn ang="0">
                  <a:pos x="33" y="2"/>
                </a:cxn>
                <a:cxn ang="0">
                  <a:pos x="28" y="5"/>
                </a:cxn>
                <a:cxn ang="0">
                  <a:pos x="21" y="8"/>
                </a:cxn>
                <a:cxn ang="0">
                  <a:pos x="11" y="16"/>
                </a:cxn>
                <a:cxn ang="0">
                  <a:pos x="0" y="25"/>
                </a:cxn>
              </a:cxnLst>
              <a:rect l="0" t="0" r="r" b="b"/>
              <a:pathLst>
                <a:path w="48" h="25">
                  <a:moveTo>
                    <a:pt x="0" y="25"/>
                  </a:moveTo>
                  <a:lnTo>
                    <a:pt x="14" y="25"/>
                  </a:lnTo>
                  <a:lnTo>
                    <a:pt x="28" y="25"/>
                  </a:lnTo>
                  <a:lnTo>
                    <a:pt x="30" y="24"/>
                  </a:lnTo>
                  <a:lnTo>
                    <a:pt x="33" y="22"/>
                  </a:lnTo>
                  <a:lnTo>
                    <a:pt x="37" y="18"/>
                  </a:lnTo>
                  <a:lnTo>
                    <a:pt x="40" y="15"/>
                  </a:lnTo>
                  <a:lnTo>
                    <a:pt x="45" y="7"/>
                  </a:lnTo>
                  <a:lnTo>
                    <a:pt x="48" y="0"/>
                  </a:lnTo>
                  <a:lnTo>
                    <a:pt x="40" y="1"/>
                  </a:lnTo>
                  <a:lnTo>
                    <a:pt x="33" y="2"/>
                  </a:lnTo>
                  <a:lnTo>
                    <a:pt x="28" y="5"/>
                  </a:lnTo>
                  <a:lnTo>
                    <a:pt x="21" y="8"/>
                  </a:lnTo>
                  <a:lnTo>
                    <a:pt x="11" y="16"/>
                  </a:lnTo>
                  <a:lnTo>
                    <a:pt x="0" y="2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451" name="Freeform 403"/>
            <p:cNvSpPr>
              <a:spLocks/>
            </p:cNvSpPr>
            <p:nvPr/>
          </p:nvSpPr>
          <p:spPr bwMode="auto">
            <a:xfrm>
              <a:off x="1343" y="1188"/>
              <a:ext cx="8" cy="1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37"/>
                </a:cxn>
                <a:cxn ang="0">
                  <a:pos x="11" y="36"/>
                </a:cxn>
                <a:cxn ang="0">
                  <a:pos x="20" y="34"/>
                </a:cxn>
                <a:cxn ang="0">
                  <a:pos x="22" y="33"/>
                </a:cxn>
                <a:cxn ang="0">
                  <a:pos x="26" y="32"/>
                </a:cxn>
                <a:cxn ang="0">
                  <a:pos x="28" y="30"/>
                </a:cxn>
                <a:cxn ang="0">
                  <a:pos x="29" y="28"/>
                </a:cxn>
                <a:cxn ang="0">
                  <a:pos x="30" y="23"/>
                </a:cxn>
                <a:cxn ang="0">
                  <a:pos x="30" y="16"/>
                </a:cxn>
                <a:cxn ang="0">
                  <a:pos x="29" y="9"/>
                </a:cxn>
                <a:cxn ang="0">
                  <a:pos x="27" y="0"/>
                </a:cxn>
                <a:cxn ang="0">
                  <a:pos x="0" y="0"/>
                </a:cxn>
              </a:cxnLst>
              <a:rect l="0" t="0" r="r" b="b"/>
              <a:pathLst>
                <a:path w="30" h="37">
                  <a:moveTo>
                    <a:pt x="0" y="0"/>
                  </a:moveTo>
                  <a:lnTo>
                    <a:pt x="0" y="37"/>
                  </a:lnTo>
                  <a:lnTo>
                    <a:pt x="11" y="36"/>
                  </a:lnTo>
                  <a:lnTo>
                    <a:pt x="20" y="34"/>
                  </a:lnTo>
                  <a:lnTo>
                    <a:pt x="22" y="33"/>
                  </a:lnTo>
                  <a:lnTo>
                    <a:pt x="26" y="32"/>
                  </a:lnTo>
                  <a:lnTo>
                    <a:pt x="28" y="30"/>
                  </a:lnTo>
                  <a:lnTo>
                    <a:pt x="29" y="28"/>
                  </a:lnTo>
                  <a:lnTo>
                    <a:pt x="30" y="23"/>
                  </a:lnTo>
                  <a:lnTo>
                    <a:pt x="30" y="16"/>
                  </a:lnTo>
                  <a:lnTo>
                    <a:pt x="29" y="9"/>
                  </a:lnTo>
                  <a:lnTo>
                    <a:pt x="27" y="0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452" name="Freeform 404"/>
            <p:cNvSpPr>
              <a:spLocks/>
            </p:cNvSpPr>
            <p:nvPr/>
          </p:nvSpPr>
          <p:spPr bwMode="auto">
            <a:xfrm>
              <a:off x="1334" y="1208"/>
              <a:ext cx="36" cy="16"/>
            </a:xfrm>
            <a:custGeom>
              <a:avLst/>
              <a:gdLst/>
              <a:ahLst/>
              <a:cxnLst>
                <a:cxn ang="0">
                  <a:pos x="33" y="3"/>
                </a:cxn>
                <a:cxn ang="0">
                  <a:pos x="22" y="3"/>
                </a:cxn>
                <a:cxn ang="0">
                  <a:pos x="12" y="5"/>
                </a:cxn>
                <a:cxn ang="0">
                  <a:pos x="7" y="7"/>
                </a:cxn>
                <a:cxn ang="0">
                  <a:pos x="3" y="11"/>
                </a:cxn>
                <a:cxn ang="0">
                  <a:pos x="1" y="15"/>
                </a:cxn>
                <a:cxn ang="0">
                  <a:pos x="0" y="21"/>
                </a:cxn>
                <a:cxn ang="0">
                  <a:pos x="6" y="27"/>
                </a:cxn>
                <a:cxn ang="0">
                  <a:pos x="10" y="33"/>
                </a:cxn>
                <a:cxn ang="0">
                  <a:pos x="16" y="37"/>
                </a:cxn>
                <a:cxn ang="0">
                  <a:pos x="20" y="41"/>
                </a:cxn>
                <a:cxn ang="0">
                  <a:pos x="25" y="43"/>
                </a:cxn>
                <a:cxn ang="0">
                  <a:pos x="30" y="45"/>
                </a:cxn>
                <a:cxn ang="0">
                  <a:pos x="35" y="46"/>
                </a:cxn>
                <a:cxn ang="0">
                  <a:pos x="40" y="46"/>
                </a:cxn>
                <a:cxn ang="0">
                  <a:pos x="56" y="46"/>
                </a:cxn>
                <a:cxn ang="0">
                  <a:pos x="70" y="43"/>
                </a:cxn>
                <a:cxn ang="0">
                  <a:pos x="76" y="41"/>
                </a:cxn>
                <a:cxn ang="0">
                  <a:pos x="81" y="38"/>
                </a:cxn>
                <a:cxn ang="0">
                  <a:pos x="87" y="36"/>
                </a:cxn>
                <a:cxn ang="0">
                  <a:pos x="91" y="33"/>
                </a:cxn>
                <a:cxn ang="0">
                  <a:pos x="99" y="27"/>
                </a:cxn>
                <a:cxn ang="0">
                  <a:pos x="106" y="20"/>
                </a:cxn>
                <a:cxn ang="0">
                  <a:pos x="110" y="12"/>
                </a:cxn>
                <a:cxn ang="0">
                  <a:pos x="113" y="3"/>
                </a:cxn>
                <a:cxn ang="0">
                  <a:pos x="99" y="1"/>
                </a:cxn>
                <a:cxn ang="0">
                  <a:pos x="87" y="0"/>
                </a:cxn>
                <a:cxn ang="0">
                  <a:pos x="76" y="0"/>
                </a:cxn>
                <a:cxn ang="0">
                  <a:pos x="66" y="1"/>
                </a:cxn>
                <a:cxn ang="0">
                  <a:pos x="48" y="2"/>
                </a:cxn>
                <a:cxn ang="0">
                  <a:pos x="33" y="3"/>
                </a:cxn>
              </a:cxnLst>
              <a:rect l="0" t="0" r="r" b="b"/>
              <a:pathLst>
                <a:path w="113" h="46">
                  <a:moveTo>
                    <a:pt x="33" y="3"/>
                  </a:moveTo>
                  <a:lnTo>
                    <a:pt x="22" y="3"/>
                  </a:lnTo>
                  <a:lnTo>
                    <a:pt x="12" y="5"/>
                  </a:lnTo>
                  <a:lnTo>
                    <a:pt x="7" y="7"/>
                  </a:lnTo>
                  <a:lnTo>
                    <a:pt x="3" y="11"/>
                  </a:lnTo>
                  <a:lnTo>
                    <a:pt x="1" y="15"/>
                  </a:lnTo>
                  <a:lnTo>
                    <a:pt x="0" y="21"/>
                  </a:lnTo>
                  <a:lnTo>
                    <a:pt x="6" y="27"/>
                  </a:lnTo>
                  <a:lnTo>
                    <a:pt x="10" y="33"/>
                  </a:lnTo>
                  <a:lnTo>
                    <a:pt x="16" y="37"/>
                  </a:lnTo>
                  <a:lnTo>
                    <a:pt x="20" y="41"/>
                  </a:lnTo>
                  <a:lnTo>
                    <a:pt x="25" y="43"/>
                  </a:lnTo>
                  <a:lnTo>
                    <a:pt x="30" y="45"/>
                  </a:lnTo>
                  <a:lnTo>
                    <a:pt x="35" y="46"/>
                  </a:lnTo>
                  <a:lnTo>
                    <a:pt x="40" y="46"/>
                  </a:lnTo>
                  <a:lnTo>
                    <a:pt x="56" y="46"/>
                  </a:lnTo>
                  <a:lnTo>
                    <a:pt x="70" y="43"/>
                  </a:lnTo>
                  <a:lnTo>
                    <a:pt x="76" y="41"/>
                  </a:lnTo>
                  <a:lnTo>
                    <a:pt x="81" y="38"/>
                  </a:lnTo>
                  <a:lnTo>
                    <a:pt x="87" y="36"/>
                  </a:lnTo>
                  <a:lnTo>
                    <a:pt x="91" y="33"/>
                  </a:lnTo>
                  <a:lnTo>
                    <a:pt x="99" y="27"/>
                  </a:lnTo>
                  <a:lnTo>
                    <a:pt x="106" y="20"/>
                  </a:lnTo>
                  <a:lnTo>
                    <a:pt x="110" y="12"/>
                  </a:lnTo>
                  <a:lnTo>
                    <a:pt x="113" y="3"/>
                  </a:lnTo>
                  <a:lnTo>
                    <a:pt x="99" y="1"/>
                  </a:lnTo>
                  <a:lnTo>
                    <a:pt x="87" y="0"/>
                  </a:lnTo>
                  <a:lnTo>
                    <a:pt x="76" y="0"/>
                  </a:lnTo>
                  <a:lnTo>
                    <a:pt x="66" y="1"/>
                  </a:lnTo>
                  <a:lnTo>
                    <a:pt x="48" y="2"/>
                  </a:lnTo>
                  <a:lnTo>
                    <a:pt x="33" y="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453" name="Freeform 405"/>
            <p:cNvSpPr>
              <a:spLocks/>
            </p:cNvSpPr>
            <p:nvPr/>
          </p:nvSpPr>
          <p:spPr bwMode="auto">
            <a:xfrm>
              <a:off x="1365" y="1201"/>
              <a:ext cx="49" cy="28"/>
            </a:xfrm>
            <a:custGeom>
              <a:avLst/>
              <a:gdLst/>
              <a:ahLst/>
              <a:cxnLst>
                <a:cxn ang="0">
                  <a:pos x="0" y="79"/>
                </a:cxn>
                <a:cxn ang="0">
                  <a:pos x="2" y="81"/>
                </a:cxn>
                <a:cxn ang="0">
                  <a:pos x="6" y="82"/>
                </a:cxn>
                <a:cxn ang="0">
                  <a:pos x="10" y="82"/>
                </a:cxn>
                <a:cxn ang="0">
                  <a:pos x="14" y="82"/>
                </a:cxn>
                <a:cxn ang="0">
                  <a:pos x="23" y="80"/>
                </a:cxn>
                <a:cxn ang="0">
                  <a:pos x="33" y="79"/>
                </a:cxn>
                <a:cxn ang="0">
                  <a:pos x="40" y="79"/>
                </a:cxn>
                <a:cxn ang="0">
                  <a:pos x="47" y="78"/>
                </a:cxn>
                <a:cxn ang="0">
                  <a:pos x="56" y="76"/>
                </a:cxn>
                <a:cxn ang="0">
                  <a:pos x="65" y="74"/>
                </a:cxn>
                <a:cxn ang="0">
                  <a:pos x="83" y="68"/>
                </a:cxn>
                <a:cxn ang="0">
                  <a:pos x="103" y="59"/>
                </a:cxn>
                <a:cxn ang="0">
                  <a:pos x="112" y="54"/>
                </a:cxn>
                <a:cxn ang="0">
                  <a:pos x="121" y="49"/>
                </a:cxn>
                <a:cxn ang="0">
                  <a:pos x="129" y="43"/>
                </a:cxn>
                <a:cxn ang="0">
                  <a:pos x="136" y="38"/>
                </a:cxn>
                <a:cxn ang="0">
                  <a:pos x="142" y="32"/>
                </a:cxn>
                <a:cxn ang="0">
                  <a:pos x="147" y="25"/>
                </a:cxn>
                <a:cxn ang="0">
                  <a:pos x="150" y="19"/>
                </a:cxn>
                <a:cxn ang="0">
                  <a:pos x="153" y="12"/>
                </a:cxn>
                <a:cxn ang="0">
                  <a:pos x="134" y="8"/>
                </a:cxn>
                <a:cxn ang="0">
                  <a:pos x="115" y="3"/>
                </a:cxn>
                <a:cxn ang="0">
                  <a:pos x="96" y="1"/>
                </a:cxn>
                <a:cxn ang="0">
                  <a:pos x="77" y="0"/>
                </a:cxn>
                <a:cxn ang="0">
                  <a:pos x="68" y="1"/>
                </a:cxn>
                <a:cxn ang="0">
                  <a:pos x="60" y="1"/>
                </a:cxn>
                <a:cxn ang="0">
                  <a:pos x="52" y="2"/>
                </a:cxn>
                <a:cxn ang="0">
                  <a:pos x="45" y="4"/>
                </a:cxn>
                <a:cxn ang="0">
                  <a:pos x="38" y="7"/>
                </a:cxn>
                <a:cxn ang="0">
                  <a:pos x="34" y="10"/>
                </a:cxn>
                <a:cxn ang="0">
                  <a:pos x="30" y="14"/>
                </a:cxn>
                <a:cxn ang="0">
                  <a:pos x="26" y="18"/>
                </a:cxn>
                <a:cxn ang="0">
                  <a:pos x="32" y="23"/>
                </a:cxn>
                <a:cxn ang="0">
                  <a:pos x="36" y="29"/>
                </a:cxn>
                <a:cxn ang="0">
                  <a:pos x="38" y="32"/>
                </a:cxn>
                <a:cxn ang="0">
                  <a:pos x="42" y="34"/>
                </a:cxn>
                <a:cxn ang="0">
                  <a:pos x="44" y="36"/>
                </a:cxn>
                <a:cxn ang="0">
                  <a:pos x="46" y="36"/>
                </a:cxn>
                <a:cxn ang="0">
                  <a:pos x="40" y="41"/>
                </a:cxn>
                <a:cxn ang="0">
                  <a:pos x="33" y="46"/>
                </a:cxn>
                <a:cxn ang="0">
                  <a:pos x="29" y="52"/>
                </a:cxn>
                <a:cxn ang="0">
                  <a:pos x="23" y="57"/>
                </a:cxn>
                <a:cxn ang="0">
                  <a:pos x="18" y="64"/>
                </a:cxn>
                <a:cxn ang="0">
                  <a:pos x="13" y="69"/>
                </a:cxn>
                <a:cxn ang="0">
                  <a:pos x="7" y="75"/>
                </a:cxn>
                <a:cxn ang="0">
                  <a:pos x="0" y="79"/>
                </a:cxn>
              </a:cxnLst>
              <a:rect l="0" t="0" r="r" b="b"/>
              <a:pathLst>
                <a:path w="153" h="82">
                  <a:moveTo>
                    <a:pt x="0" y="79"/>
                  </a:moveTo>
                  <a:lnTo>
                    <a:pt x="2" y="81"/>
                  </a:lnTo>
                  <a:lnTo>
                    <a:pt x="6" y="82"/>
                  </a:lnTo>
                  <a:lnTo>
                    <a:pt x="10" y="82"/>
                  </a:lnTo>
                  <a:lnTo>
                    <a:pt x="14" y="82"/>
                  </a:lnTo>
                  <a:lnTo>
                    <a:pt x="23" y="80"/>
                  </a:lnTo>
                  <a:lnTo>
                    <a:pt x="33" y="79"/>
                  </a:lnTo>
                  <a:lnTo>
                    <a:pt x="40" y="79"/>
                  </a:lnTo>
                  <a:lnTo>
                    <a:pt x="47" y="78"/>
                  </a:lnTo>
                  <a:lnTo>
                    <a:pt x="56" y="76"/>
                  </a:lnTo>
                  <a:lnTo>
                    <a:pt x="65" y="74"/>
                  </a:lnTo>
                  <a:lnTo>
                    <a:pt x="83" y="68"/>
                  </a:lnTo>
                  <a:lnTo>
                    <a:pt x="103" y="59"/>
                  </a:lnTo>
                  <a:lnTo>
                    <a:pt x="112" y="54"/>
                  </a:lnTo>
                  <a:lnTo>
                    <a:pt x="121" y="49"/>
                  </a:lnTo>
                  <a:lnTo>
                    <a:pt x="129" y="43"/>
                  </a:lnTo>
                  <a:lnTo>
                    <a:pt x="136" y="38"/>
                  </a:lnTo>
                  <a:lnTo>
                    <a:pt x="142" y="32"/>
                  </a:lnTo>
                  <a:lnTo>
                    <a:pt x="147" y="25"/>
                  </a:lnTo>
                  <a:lnTo>
                    <a:pt x="150" y="19"/>
                  </a:lnTo>
                  <a:lnTo>
                    <a:pt x="153" y="12"/>
                  </a:lnTo>
                  <a:lnTo>
                    <a:pt x="134" y="8"/>
                  </a:lnTo>
                  <a:lnTo>
                    <a:pt x="115" y="3"/>
                  </a:lnTo>
                  <a:lnTo>
                    <a:pt x="96" y="1"/>
                  </a:lnTo>
                  <a:lnTo>
                    <a:pt x="77" y="0"/>
                  </a:lnTo>
                  <a:lnTo>
                    <a:pt x="68" y="1"/>
                  </a:lnTo>
                  <a:lnTo>
                    <a:pt x="60" y="1"/>
                  </a:lnTo>
                  <a:lnTo>
                    <a:pt x="52" y="2"/>
                  </a:lnTo>
                  <a:lnTo>
                    <a:pt x="45" y="4"/>
                  </a:lnTo>
                  <a:lnTo>
                    <a:pt x="38" y="7"/>
                  </a:lnTo>
                  <a:lnTo>
                    <a:pt x="34" y="10"/>
                  </a:lnTo>
                  <a:lnTo>
                    <a:pt x="30" y="14"/>
                  </a:lnTo>
                  <a:lnTo>
                    <a:pt x="26" y="18"/>
                  </a:lnTo>
                  <a:lnTo>
                    <a:pt x="32" y="23"/>
                  </a:lnTo>
                  <a:lnTo>
                    <a:pt x="36" y="29"/>
                  </a:lnTo>
                  <a:lnTo>
                    <a:pt x="38" y="32"/>
                  </a:lnTo>
                  <a:lnTo>
                    <a:pt x="42" y="34"/>
                  </a:lnTo>
                  <a:lnTo>
                    <a:pt x="44" y="36"/>
                  </a:lnTo>
                  <a:lnTo>
                    <a:pt x="46" y="36"/>
                  </a:lnTo>
                  <a:lnTo>
                    <a:pt x="40" y="41"/>
                  </a:lnTo>
                  <a:lnTo>
                    <a:pt x="33" y="46"/>
                  </a:lnTo>
                  <a:lnTo>
                    <a:pt x="29" y="52"/>
                  </a:lnTo>
                  <a:lnTo>
                    <a:pt x="23" y="57"/>
                  </a:lnTo>
                  <a:lnTo>
                    <a:pt x="18" y="64"/>
                  </a:lnTo>
                  <a:lnTo>
                    <a:pt x="13" y="69"/>
                  </a:lnTo>
                  <a:lnTo>
                    <a:pt x="7" y="75"/>
                  </a:lnTo>
                  <a:lnTo>
                    <a:pt x="0" y="7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454" name="Freeform 406"/>
            <p:cNvSpPr>
              <a:spLocks/>
            </p:cNvSpPr>
            <p:nvPr/>
          </p:nvSpPr>
          <p:spPr bwMode="auto">
            <a:xfrm>
              <a:off x="1414" y="1217"/>
              <a:ext cx="29" cy="17"/>
            </a:xfrm>
            <a:custGeom>
              <a:avLst/>
              <a:gdLst/>
              <a:ahLst/>
              <a:cxnLst>
                <a:cxn ang="0">
                  <a:pos x="0" y="37"/>
                </a:cxn>
                <a:cxn ang="0">
                  <a:pos x="5" y="41"/>
                </a:cxn>
                <a:cxn ang="0">
                  <a:pos x="11" y="44"/>
                </a:cxn>
                <a:cxn ang="0">
                  <a:pos x="16" y="47"/>
                </a:cxn>
                <a:cxn ang="0">
                  <a:pos x="23" y="48"/>
                </a:cxn>
                <a:cxn ang="0">
                  <a:pos x="35" y="49"/>
                </a:cxn>
                <a:cxn ang="0">
                  <a:pos x="46" y="50"/>
                </a:cxn>
                <a:cxn ang="0">
                  <a:pos x="58" y="49"/>
                </a:cxn>
                <a:cxn ang="0">
                  <a:pos x="67" y="48"/>
                </a:cxn>
                <a:cxn ang="0">
                  <a:pos x="73" y="47"/>
                </a:cxn>
                <a:cxn ang="0">
                  <a:pos x="79" y="44"/>
                </a:cxn>
                <a:cxn ang="0">
                  <a:pos x="82" y="41"/>
                </a:cxn>
                <a:cxn ang="0">
                  <a:pos x="84" y="37"/>
                </a:cxn>
                <a:cxn ang="0">
                  <a:pos x="85" y="32"/>
                </a:cxn>
                <a:cxn ang="0">
                  <a:pos x="86" y="25"/>
                </a:cxn>
                <a:cxn ang="0">
                  <a:pos x="85" y="17"/>
                </a:cxn>
                <a:cxn ang="0">
                  <a:pos x="84" y="10"/>
                </a:cxn>
                <a:cxn ang="0">
                  <a:pos x="83" y="7"/>
                </a:cxn>
                <a:cxn ang="0">
                  <a:pos x="81" y="5"/>
                </a:cxn>
                <a:cxn ang="0">
                  <a:pos x="77" y="2"/>
                </a:cxn>
                <a:cxn ang="0">
                  <a:pos x="73" y="0"/>
                </a:cxn>
                <a:cxn ang="0">
                  <a:pos x="0" y="37"/>
                </a:cxn>
              </a:cxnLst>
              <a:rect l="0" t="0" r="r" b="b"/>
              <a:pathLst>
                <a:path w="86" h="50">
                  <a:moveTo>
                    <a:pt x="0" y="37"/>
                  </a:moveTo>
                  <a:lnTo>
                    <a:pt x="5" y="41"/>
                  </a:lnTo>
                  <a:lnTo>
                    <a:pt x="11" y="44"/>
                  </a:lnTo>
                  <a:lnTo>
                    <a:pt x="16" y="47"/>
                  </a:lnTo>
                  <a:lnTo>
                    <a:pt x="23" y="48"/>
                  </a:lnTo>
                  <a:lnTo>
                    <a:pt x="35" y="49"/>
                  </a:lnTo>
                  <a:lnTo>
                    <a:pt x="46" y="50"/>
                  </a:lnTo>
                  <a:lnTo>
                    <a:pt x="58" y="49"/>
                  </a:lnTo>
                  <a:lnTo>
                    <a:pt x="67" y="48"/>
                  </a:lnTo>
                  <a:lnTo>
                    <a:pt x="73" y="47"/>
                  </a:lnTo>
                  <a:lnTo>
                    <a:pt x="79" y="44"/>
                  </a:lnTo>
                  <a:lnTo>
                    <a:pt x="82" y="41"/>
                  </a:lnTo>
                  <a:lnTo>
                    <a:pt x="84" y="37"/>
                  </a:lnTo>
                  <a:lnTo>
                    <a:pt x="85" y="32"/>
                  </a:lnTo>
                  <a:lnTo>
                    <a:pt x="86" y="25"/>
                  </a:lnTo>
                  <a:lnTo>
                    <a:pt x="85" y="17"/>
                  </a:lnTo>
                  <a:lnTo>
                    <a:pt x="84" y="10"/>
                  </a:lnTo>
                  <a:lnTo>
                    <a:pt x="83" y="7"/>
                  </a:lnTo>
                  <a:lnTo>
                    <a:pt x="81" y="5"/>
                  </a:lnTo>
                  <a:lnTo>
                    <a:pt x="77" y="2"/>
                  </a:lnTo>
                  <a:lnTo>
                    <a:pt x="73" y="0"/>
                  </a:lnTo>
                  <a:lnTo>
                    <a:pt x="0" y="3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455" name="Freeform 407"/>
            <p:cNvSpPr>
              <a:spLocks/>
            </p:cNvSpPr>
            <p:nvPr/>
          </p:nvSpPr>
          <p:spPr bwMode="auto">
            <a:xfrm>
              <a:off x="1379" y="1163"/>
              <a:ext cx="55" cy="25"/>
            </a:xfrm>
            <a:custGeom>
              <a:avLst/>
              <a:gdLst/>
              <a:ahLst/>
              <a:cxnLst>
                <a:cxn ang="0">
                  <a:pos x="119" y="61"/>
                </a:cxn>
                <a:cxn ang="0">
                  <a:pos x="109" y="61"/>
                </a:cxn>
                <a:cxn ang="0">
                  <a:pos x="99" y="61"/>
                </a:cxn>
                <a:cxn ang="0">
                  <a:pos x="90" y="61"/>
                </a:cxn>
                <a:cxn ang="0">
                  <a:pos x="80" y="61"/>
                </a:cxn>
                <a:cxn ang="0">
                  <a:pos x="60" y="74"/>
                </a:cxn>
                <a:cxn ang="0">
                  <a:pos x="33" y="74"/>
                </a:cxn>
                <a:cxn ang="0">
                  <a:pos x="36" y="61"/>
                </a:cxn>
                <a:cxn ang="0">
                  <a:pos x="39" y="49"/>
                </a:cxn>
                <a:cxn ang="0">
                  <a:pos x="30" y="49"/>
                </a:cxn>
                <a:cxn ang="0">
                  <a:pos x="23" y="48"/>
                </a:cxn>
                <a:cxn ang="0">
                  <a:pos x="15" y="47"/>
                </a:cxn>
                <a:cxn ang="0">
                  <a:pos x="9" y="45"/>
                </a:cxn>
                <a:cxn ang="0">
                  <a:pos x="5" y="42"/>
                </a:cxn>
                <a:cxn ang="0">
                  <a:pos x="2" y="39"/>
                </a:cxn>
                <a:cxn ang="0">
                  <a:pos x="1" y="35"/>
                </a:cxn>
                <a:cxn ang="0">
                  <a:pos x="0" y="31"/>
                </a:cxn>
                <a:cxn ang="0">
                  <a:pos x="1" y="26"/>
                </a:cxn>
                <a:cxn ang="0">
                  <a:pos x="2" y="21"/>
                </a:cxn>
                <a:cxn ang="0">
                  <a:pos x="5" y="17"/>
                </a:cxn>
                <a:cxn ang="0">
                  <a:pos x="8" y="14"/>
                </a:cxn>
                <a:cxn ang="0">
                  <a:pos x="13" y="10"/>
                </a:cxn>
                <a:cxn ang="0">
                  <a:pos x="18" y="7"/>
                </a:cxn>
                <a:cxn ang="0">
                  <a:pos x="24" y="5"/>
                </a:cxn>
                <a:cxn ang="0">
                  <a:pos x="29" y="4"/>
                </a:cxn>
                <a:cxn ang="0">
                  <a:pos x="42" y="1"/>
                </a:cxn>
                <a:cxn ang="0">
                  <a:pos x="56" y="0"/>
                </a:cxn>
                <a:cxn ang="0">
                  <a:pos x="69" y="0"/>
                </a:cxn>
                <a:cxn ang="0">
                  <a:pos x="80" y="0"/>
                </a:cxn>
                <a:cxn ang="0">
                  <a:pos x="94" y="1"/>
                </a:cxn>
                <a:cxn ang="0">
                  <a:pos x="106" y="4"/>
                </a:cxn>
                <a:cxn ang="0">
                  <a:pos x="117" y="7"/>
                </a:cxn>
                <a:cxn ang="0">
                  <a:pos x="128" y="13"/>
                </a:cxn>
                <a:cxn ang="0">
                  <a:pos x="139" y="17"/>
                </a:cxn>
                <a:cxn ang="0">
                  <a:pos x="150" y="21"/>
                </a:cxn>
                <a:cxn ang="0">
                  <a:pos x="161" y="24"/>
                </a:cxn>
                <a:cxn ang="0">
                  <a:pos x="172" y="25"/>
                </a:cxn>
                <a:cxn ang="0">
                  <a:pos x="172" y="43"/>
                </a:cxn>
                <a:cxn ang="0">
                  <a:pos x="169" y="48"/>
                </a:cxn>
                <a:cxn ang="0">
                  <a:pos x="165" y="53"/>
                </a:cxn>
                <a:cxn ang="0">
                  <a:pos x="161" y="57"/>
                </a:cxn>
                <a:cxn ang="0">
                  <a:pos x="158" y="60"/>
                </a:cxn>
                <a:cxn ang="0">
                  <a:pos x="153" y="62"/>
                </a:cxn>
                <a:cxn ang="0">
                  <a:pos x="149" y="63"/>
                </a:cxn>
                <a:cxn ang="0">
                  <a:pos x="146" y="65"/>
                </a:cxn>
                <a:cxn ang="0">
                  <a:pos x="141" y="65"/>
                </a:cxn>
                <a:cxn ang="0">
                  <a:pos x="131" y="65"/>
                </a:cxn>
                <a:cxn ang="0">
                  <a:pos x="121" y="63"/>
                </a:cxn>
                <a:cxn ang="0">
                  <a:pos x="112" y="59"/>
                </a:cxn>
                <a:cxn ang="0">
                  <a:pos x="99" y="55"/>
                </a:cxn>
                <a:cxn ang="0">
                  <a:pos x="106" y="55"/>
                </a:cxn>
                <a:cxn ang="0">
                  <a:pos x="119" y="61"/>
                </a:cxn>
              </a:cxnLst>
              <a:rect l="0" t="0" r="r" b="b"/>
              <a:pathLst>
                <a:path w="172" h="74">
                  <a:moveTo>
                    <a:pt x="119" y="61"/>
                  </a:moveTo>
                  <a:lnTo>
                    <a:pt x="109" y="61"/>
                  </a:lnTo>
                  <a:lnTo>
                    <a:pt x="99" y="61"/>
                  </a:lnTo>
                  <a:lnTo>
                    <a:pt x="90" y="61"/>
                  </a:lnTo>
                  <a:lnTo>
                    <a:pt x="80" y="61"/>
                  </a:lnTo>
                  <a:lnTo>
                    <a:pt x="60" y="74"/>
                  </a:lnTo>
                  <a:lnTo>
                    <a:pt x="33" y="74"/>
                  </a:lnTo>
                  <a:lnTo>
                    <a:pt x="36" y="61"/>
                  </a:lnTo>
                  <a:lnTo>
                    <a:pt x="39" y="49"/>
                  </a:lnTo>
                  <a:lnTo>
                    <a:pt x="30" y="49"/>
                  </a:lnTo>
                  <a:lnTo>
                    <a:pt x="23" y="48"/>
                  </a:lnTo>
                  <a:lnTo>
                    <a:pt x="15" y="47"/>
                  </a:lnTo>
                  <a:lnTo>
                    <a:pt x="9" y="45"/>
                  </a:lnTo>
                  <a:lnTo>
                    <a:pt x="5" y="42"/>
                  </a:lnTo>
                  <a:lnTo>
                    <a:pt x="2" y="39"/>
                  </a:lnTo>
                  <a:lnTo>
                    <a:pt x="1" y="35"/>
                  </a:lnTo>
                  <a:lnTo>
                    <a:pt x="0" y="31"/>
                  </a:lnTo>
                  <a:lnTo>
                    <a:pt x="1" y="26"/>
                  </a:lnTo>
                  <a:lnTo>
                    <a:pt x="2" y="21"/>
                  </a:lnTo>
                  <a:lnTo>
                    <a:pt x="5" y="17"/>
                  </a:lnTo>
                  <a:lnTo>
                    <a:pt x="8" y="14"/>
                  </a:lnTo>
                  <a:lnTo>
                    <a:pt x="13" y="10"/>
                  </a:lnTo>
                  <a:lnTo>
                    <a:pt x="18" y="7"/>
                  </a:lnTo>
                  <a:lnTo>
                    <a:pt x="24" y="5"/>
                  </a:lnTo>
                  <a:lnTo>
                    <a:pt x="29" y="4"/>
                  </a:lnTo>
                  <a:lnTo>
                    <a:pt x="42" y="1"/>
                  </a:lnTo>
                  <a:lnTo>
                    <a:pt x="56" y="0"/>
                  </a:lnTo>
                  <a:lnTo>
                    <a:pt x="69" y="0"/>
                  </a:lnTo>
                  <a:lnTo>
                    <a:pt x="80" y="0"/>
                  </a:lnTo>
                  <a:lnTo>
                    <a:pt x="94" y="1"/>
                  </a:lnTo>
                  <a:lnTo>
                    <a:pt x="106" y="4"/>
                  </a:lnTo>
                  <a:lnTo>
                    <a:pt x="117" y="7"/>
                  </a:lnTo>
                  <a:lnTo>
                    <a:pt x="128" y="13"/>
                  </a:lnTo>
                  <a:lnTo>
                    <a:pt x="139" y="17"/>
                  </a:lnTo>
                  <a:lnTo>
                    <a:pt x="150" y="21"/>
                  </a:lnTo>
                  <a:lnTo>
                    <a:pt x="161" y="24"/>
                  </a:lnTo>
                  <a:lnTo>
                    <a:pt x="172" y="25"/>
                  </a:lnTo>
                  <a:lnTo>
                    <a:pt x="172" y="43"/>
                  </a:lnTo>
                  <a:lnTo>
                    <a:pt x="169" y="48"/>
                  </a:lnTo>
                  <a:lnTo>
                    <a:pt x="165" y="53"/>
                  </a:lnTo>
                  <a:lnTo>
                    <a:pt x="161" y="57"/>
                  </a:lnTo>
                  <a:lnTo>
                    <a:pt x="158" y="60"/>
                  </a:lnTo>
                  <a:lnTo>
                    <a:pt x="153" y="62"/>
                  </a:lnTo>
                  <a:lnTo>
                    <a:pt x="149" y="63"/>
                  </a:lnTo>
                  <a:lnTo>
                    <a:pt x="146" y="65"/>
                  </a:lnTo>
                  <a:lnTo>
                    <a:pt x="141" y="65"/>
                  </a:lnTo>
                  <a:lnTo>
                    <a:pt x="131" y="65"/>
                  </a:lnTo>
                  <a:lnTo>
                    <a:pt x="121" y="63"/>
                  </a:lnTo>
                  <a:lnTo>
                    <a:pt x="112" y="59"/>
                  </a:lnTo>
                  <a:lnTo>
                    <a:pt x="99" y="55"/>
                  </a:lnTo>
                  <a:lnTo>
                    <a:pt x="106" y="55"/>
                  </a:lnTo>
                  <a:lnTo>
                    <a:pt x="119" y="6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456" name="Freeform 408"/>
            <p:cNvSpPr>
              <a:spLocks/>
            </p:cNvSpPr>
            <p:nvPr/>
          </p:nvSpPr>
          <p:spPr bwMode="auto">
            <a:xfrm>
              <a:off x="1450" y="1171"/>
              <a:ext cx="38" cy="17"/>
            </a:xfrm>
            <a:custGeom>
              <a:avLst/>
              <a:gdLst/>
              <a:ahLst/>
              <a:cxnLst>
                <a:cxn ang="0">
                  <a:pos x="27" y="49"/>
                </a:cxn>
                <a:cxn ang="0">
                  <a:pos x="47" y="49"/>
                </a:cxn>
                <a:cxn ang="0">
                  <a:pos x="64" y="48"/>
                </a:cxn>
                <a:cxn ang="0">
                  <a:pos x="78" y="46"/>
                </a:cxn>
                <a:cxn ang="0">
                  <a:pos x="90" y="43"/>
                </a:cxn>
                <a:cxn ang="0">
                  <a:pos x="96" y="39"/>
                </a:cxn>
                <a:cxn ang="0">
                  <a:pos x="100" y="37"/>
                </a:cxn>
                <a:cxn ang="0">
                  <a:pos x="104" y="34"/>
                </a:cxn>
                <a:cxn ang="0">
                  <a:pos x="108" y="31"/>
                </a:cxn>
                <a:cxn ang="0">
                  <a:pos x="114" y="22"/>
                </a:cxn>
                <a:cxn ang="0">
                  <a:pos x="120" y="12"/>
                </a:cxn>
                <a:cxn ang="0">
                  <a:pos x="102" y="6"/>
                </a:cxn>
                <a:cxn ang="0">
                  <a:pos x="84" y="3"/>
                </a:cxn>
                <a:cxn ang="0">
                  <a:pos x="66" y="1"/>
                </a:cxn>
                <a:cxn ang="0">
                  <a:pos x="50" y="0"/>
                </a:cxn>
                <a:cxn ang="0">
                  <a:pos x="34" y="1"/>
                </a:cxn>
                <a:cxn ang="0">
                  <a:pos x="20" y="2"/>
                </a:cxn>
                <a:cxn ang="0">
                  <a:pos x="9" y="4"/>
                </a:cxn>
                <a:cxn ang="0">
                  <a:pos x="0" y="6"/>
                </a:cxn>
                <a:cxn ang="0">
                  <a:pos x="0" y="30"/>
                </a:cxn>
                <a:cxn ang="0">
                  <a:pos x="2" y="35"/>
                </a:cxn>
                <a:cxn ang="0">
                  <a:pos x="6" y="38"/>
                </a:cxn>
                <a:cxn ang="0">
                  <a:pos x="9" y="41"/>
                </a:cxn>
                <a:cxn ang="0">
                  <a:pos x="13" y="45"/>
                </a:cxn>
                <a:cxn ang="0">
                  <a:pos x="20" y="48"/>
                </a:cxn>
                <a:cxn ang="0">
                  <a:pos x="27" y="49"/>
                </a:cxn>
              </a:cxnLst>
              <a:rect l="0" t="0" r="r" b="b"/>
              <a:pathLst>
                <a:path w="120" h="49">
                  <a:moveTo>
                    <a:pt x="27" y="49"/>
                  </a:moveTo>
                  <a:lnTo>
                    <a:pt x="47" y="49"/>
                  </a:lnTo>
                  <a:lnTo>
                    <a:pt x="64" y="48"/>
                  </a:lnTo>
                  <a:lnTo>
                    <a:pt x="78" y="46"/>
                  </a:lnTo>
                  <a:lnTo>
                    <a:pt x="90" y="43"/>
                  </a:lnTo>
                  <a:lnTo>
                    <a:pt x="96" y="39"/>
                  </a:lnTo>
                  <a:lnTo>
                    <a:pt x="100" y="37"/>
                  </a:lnTo>
                  <a:lnTo>
                    <a:pt x="104" y="34"/>
                  </a:lnTo>
                  <a:lnTo>
                    <a:pt x="108" y="31"/>
                  </a:lnTo>
                  <a:lnTo>
                    <a:pt x="114" y="22"/>
                  </a:lnTo>
                  <a:lnTo>
                    <a:pt x="120" y="12"/>
                  </a:lnTo>
                  <a:lnTo>
                    <a:pt x="102" y="6"/>
                  </a:lnTo>
                  <a:lnTo>
                    <a:pt x="84" y="3"/>
                  </a:lnTo>
                  <a:lnTo>
                    <a:pt x="66" y="1"/>
                  </a:lnTo>
                  <a:lnTo>
                    <a:pt x="50" y="0"/>
                  </a:lnTo>
                  <a:lnTo>
                    <a:pt x="34" y="1"/>
                  </a:lnTo>
                  <a:lnTo>
                    <a:pt x="20" y="2"/>
                  </a:lnTo>
                  <a:lnTo>
                    <a:pt x="9" y="4"/>
                  </a:lnTo>
                  <a:lnTo>
                    <a:pt x="0" y="6"/>
                  </a:lnTo>
                  <a:lnTo>
                    <a:pt x="0" y="30"/>
                  </a:lnTo>
                  <a:lnTo>
                    <a:pt x="2" y="35"/>
                  </a:lnTo>
                  <a:lnTo>
                    <a:pt x="6" y="38"/>
                  </a:lnTo>
                  <a:lnTo>
                    <a:pt x="9" y="41"/>
                  </a:lnTo>
                  <a:lnTo>
                    <a:pt x="13" y="45"/>
                  </a:lnTo>
                  <a:lnTo>
                    <a:pt x="20" y="48"/>
                  </a:lnTo>
                  <a:lnTo>
                    <a:pt x="27" y="4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457" name="Freeform 409"/>
            <p:cNvSpPr>
              <a:spLocks/>
            </p:cNvSpPr>
            <p:nvPr/>
          </p:nvSpPr>
          <p:spPr bwMode="auto">
            <a:xfrm>
              <a:off x="1441" y="1194"/>
              <a:ext cx="26" cy="19"/>
            </a:xfrm>
            <a:custGeom>
              <a:avLst/>
              <a:gdLst/>
              <a:ahLst/>
              <a:cxnLst>
                <a:cxn ang="0">
                  <a:pos x="33" y="0"/>
                </a:cxn>
                <a:cxn ang="0">
                  <a:pos x="22" y="5"/>
                </a:cxn>
                <a:cxn ang="0">
                  <a:pos x="11" y="12"/>
                </a:cxn>
                <a:cxn ang="0">
                  <a:pos x="6" y="17"/>
                </a:cxn>
                <a:cxn ang="0">
                  <a:pos x="3" y="21"/>
                </a:cxn>
                <a:cxn ang="0">
                  <a:pos x="0" y="25"/>
                </a:cxn>
                <a:cxn ang="0">
                  <a:pos x="0" y="31"/>
                </a:cxn>
                <a:cxn ang="0">
                  <a:pos x="0" y="34"/>
                </a:cxn>
                <a:cxn ang="0">
                  <a:pos x="1" y="37"/>
                </a:cxn>
                <a:cxn ang="0">
                  <a:pos x="2" y="40"/>
                </a:cxn>
                <a:cxn ang="0">
                  <a:pos x="5" y="43"/>
                </a:cxn>
                <a:cxn ang="0">
                  <a:pos x="11" y="48"/>
                </a:cxn>
                <a:cxn ang="0">
                  <a:pos x="18" y="53"/>
                </a:cxn>
                <a:cxn ang="0">
                  <a:pos x="27" y="56"/>
                </a:cxn>
                <a:cxn ang="0">
                  <a:pos x="36" y="59"/>
                </a:cxn>
                <a:cxn ang="0">
                  <a:pos x="45" y="61"/>
                </a:cxn>
                <a:cxn ang="0">
                  <a:pos x="53" y="61"/>
                </a:cxn>
                <a:cxn ang="0">
                  <a:pos x="56" y="61"/>
                </a:cxn>
                <a:cxn ang="0">
                  <a:pos x="59" y="60"/>
                </a:cxn>
                <a:cxn ang="0">
                  <a:pos x="62" y="59"/>
                </a:cxn>
                <a:cxn ang="0">
                  <a:pos x="66" y="57"/>
                </a:cxn>
                <a:cxn ang="0">
                  <a:pos x="72" y="52"/>
                </a:cxn>
                <a:cxn ang="0">
                  <a:pos x="77" y="47"/>
                </a:cxn>
                <a:cxn ang="0">
                  <a:pos x="80" y="40"/>
                </a:cxn>
                <a:cxn ang="0">
                  <a:pos x="83" y="33"/>
                </a:cxn>
                <a:cxn ang="0">
                  <a:pos x="85" y="25"/>
                </a:cxn>
                <a:cxn ang="0">
                  <a:pos x="85" y="18"/>
                </a:cxn>
                <a:cxn ang="0">
                  <a:pos x="33" y="0"/>
                </a:cxn>
              </a:cxnLst>
              <a:rect l="0" t="0" r="r" b="b"/>
              <a:pathLst>
                <a:path w="85" h="61">
                  <a:moveTo>
                    <a:pt x="33" y="0"/>
                  </a:moveTo>
                  <a:lnTo>
                    <a:pt x="22" y="5"/>
                  </a:lnTo>
                  <a:lnTo>
                    <a:pt x="11" y="12"/>
                  </a:lnTo>
                  <a:lnTo>
                    <a:pt x="6" y="17"/>
                  </a:lnTo>
                  <a:lnTo>
                    <a:pt x="3" y="21"/>
                  </a:lnTo>
                  <a:lnTo>
                    <a:pt x="0" y="25"/>
                  </a:lnTo>
                  <a:lnTo>
                    <a:pt x="0" y="31"/>
                  </a:lnTo>
                  <a:lnTo>
                    <a:pt x="0" y="34"/>
                  </a:lnTo>
                  <a:lnTo>
                    <a:pt x="1" y="37"/>
                  </a:lnTo>
                  <a:lnTo>
                    <a:pt x="2" y="40"/>
                  </a:lnTo>
                  <a:lnTo>
                    <a:pt x="5" y="43"/>
                  </a:lnTo>
                  <a:lnTo>
                    <a:pt x="11" y="48"/>
                  </a:lnTo>
                  <a:lnTo>
                    <a:pt x="18" y="53"/>
                  </a:lnTo>
                  <a:lnTo>
                    <a:pt x="27" y="56"/>
                  </a:lnTo>
                  <a:lnTo>
                    <a:pt x="36" y="59"/>
                  </a:lnTo>
                  <a:lnTo>
                    <a:pt x="45" y="61"/>
                  </a:lnTo>
                  <a:lnTo>
                    <a:pt x="53" y="61"/>
                  </a:lnTo>
                  <a:lnTo>
                    <a:pt x="56" y="61"/>
                  </a:lnTo>
                  <a:lnTo>
                    <a:pt x="59" y="60"/>
                  </a:lnTo>
                  <a:lnTo>
                    <a:pt x="62" y="59"/>
                  </a:lnTo>
                  <a:lnTo>
                    <a:pt x="66" y="57"/>
                  </a:lnTo>
                  <a:lnTo>
                    <a:pt x="72" y="52"/>
                  </a:lnTo>
                  <a:lnTo>
                    <a:pt x="77" y="47"/>
                  </a:lnTo>
                  <a:lnTo>
                    <a:pt x="80" y="40"/>
                  </a:lnTo>
                  <a:lnTo>
                    <a:pt x="83" y="33"/>
                  </a:lnTo>
                  <a:lnTo>
                    <a:pt x="85" y="25"/>
                  </a:lnTo>
                  <a:lnTo>
                    <a:pt x="85" y="18"/>
                  </a:lnTo>
                  <a:lnTo>
                    <a:pt x="3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458" name="Freeform 410"/>
            <p:cNvSpPr>
              <a:spLocks/>
            </p:cNvSpPr>
            <p:nvPr/>
          </p:nvSpPr>
          <p:spPr bwMode="auto">
            <a:xfrm>
              <a:off x="1254" y="1188"/>
              <a:ext cx="31" cy="6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7" y="11"/>
                </a:cxn>
                <a:cxn ang="0">
                  <a:pos x="13" y="15"/>
                </a:cxn>
                <a:cxn ang="0">
                  <a:pos x="21" y="18"/>
                </a:cxn>
                <a:cxn ang="0">
                  <a:pos x="27" y="19"/>
                </a:cxn>
                <a:cxn ang="0">
                  <a:pos x="100" y="6"/>
                </a:cxn>
                <a:cxn ang="0">
                  <a:pos x="73" y="2"/>
                </a:cxn>
                <a:cxn ang="0">
                  <a:pos x="47" y="0"/>
                </a:cxn>
                <a:cxn ang="0">
                  <a:pos x="36" y="0"/>
                </a:cxn>
                <a:cxn ang="0">
                  <a:pos x="24" y="1"/>
                </a:cxn>
                <a:cxn ang="0">
                  <a:pos x="12" y="3"/>
                </a:cxn>
                <a:cxn ang="0">
                  <a:pos x="0" y="6"/>
                </a:cxn>
              </a:cxnLst>
              <a:rect l="0" t="0" r="r" b="b"/>
              <a:pathLst>
                <a:path w="100" h="19">
                  <a:moveTo>
                    <a:pt x="0" y="6"/>
                  </a:moveTo>
                  <a:lnTo>
                    <a:pt x="7" y="11"/>
                  </a:lnTo>
                  <a:lnTo>
                    <a:pt x="13" y="15"/>
                  </a:lnTo>
                  <a:lnTo>
                    <a:pt x="21" y="18"/>
                  </a:lnTo>
                  <a:lnTo>
                    <a:pt x="27" y="19"/>
                  </a:lnTo>
                  <a:lnTo>
                    <a:pt x="100" y="6"/>
                  </a:lnTo>
                  <a:lnTo>
                    <a:pt x="73" y="2"/>
                  </a:lnTo>
                  <a:lnTo>
                    <a:pt x="47" y="0"/>
                  </a:lnTo>
                  <a:lnTo>
                    <a:pt x="36" y="0"/>
                  </a:lnTo>
                  <a:lnTo>
                    <a:pt x="24" y="1"/>
                  </a:lnTo>
                  <a:lnTo>
                    <a:pt x="12" y="3"/>
                  </a:lnTo>
                  <a:lnTo>
                    <a:pt x="0" y="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459" name="Freeform 411"/>
            <p:cNvSpPr>
              <a:spLocks/>
            </p:cNvSpPr>
            <p:nvPr/>
          </p:nvSpPr>
          <p:spPr bwMode="auto">
            <a:xfrm>
              <a:off x="1272" y="1168"/>
              <a:ext cx="53" cy="15"/>
            </a:xfrm>
            <a:custGeom>
              <a:avLst/>
              <a:gdLst/>
              <a:ahLst/>
              <a:cxnLst>
                <a:cxn ang="0">
                  <a:pos x="0" y="27"/>
                </a:cxn>
                <a:cxn ang="0">
                  <a:pos x="0" y="29"/>
                </a:cxn>
                <a:cxn ang="0">
                  <a:pos x="3" y="31"/>
                </a:cxn>
                <a:cxn ang="0">
                  <a:pos x="8" y="33"/>
                </a:cxn>
                <a:cxn ang="0">
                  <a:pos x="13" y="35"/>
                </a:cxn>
                <a:cxn ang="0">
                  <a:pos x="27" y="38"/>
                </a:cxn>
                <a:cxn ang="0">
                  <a:pos x="44" y="41"/>
                </a:cxn>
                <a:cxn ang="0">
                  <a:pos x="75" y="44"/>
                </a:cxn>
                <a:cxn ang="0">
                  <a:pos x="92" y="45"/>
                </a:cxn>
                <a:cxn ang="0">
                  <a:pos x="166" y="27"/>
                </a:cxn>
                <a:cxn ang="0">
                  <a:pos x="157" y="25"/>
                </a:cxn>
                <a:cxn ang="0">
                  <a:pos x="137" y="19"/>
                </a:cxn>
                <a:cxn ang="0">
                  <a:pos x="110" y="11"/>
                </a:cxn>
                <a:cxn ang="0">
                  <a:pos x="80" y="4"/>
                </a:cxn>
                <a:cxn ang="0">
                  <a:pos x="65" y="2"/>
                </a:cxn>
                <a:cxn ang="0">
                  <a:pos x="50" y="1"/>
                </a:cxn>
                <a:cxn ang="0">
                  <a:pos x="36" y="0"/>
                </a:cxn>
                <a:cxn ang="0">
                  <a:pos x="24" y="2"/>
                </a:cxn>
                <a:cxn ang="0">
                  <a:pos x="19" y="3"/>
                </a:cxn>
                <a:cxn ang="0">
                  <a:pos x="14" y="5"/>
                </a:cxn>
                <a:cxn ang="0">
                  <a:pos x="10" y="7"/>
                </a:cxn>
                <a:cxn ang="0">
                  <a:pos x="7" y="10"/>
                </a:cxn>
                <a:cxn ang="0">
                  <a:pos x="3" y="13"/>
                </a:cxn>
                <a:cxn ang="0">
                  <a:pos x="1" y="17"/>
                </a:cxn>
                <a:cxn ang="0">
                  <a:pos x="0" y="22"/>
                </a:cxn>
                <a:cxn ang="0">
                  <a:pos x="0" y="27"/>
                </a:cxn>
              </a:cxnLst>
              <a:rect l="0" t="0" r="r" b="b"/>
              <a:pathLst>
                <a:path w="166" h="45">
                  <a:moveTo>
                    <a:pt x="0" y="27"/>
                  </a:moveTo>
                  <a:lnTo>
                    <a:pt x="0" y="29"/>
                  </a:lnTo>
                  <a:lnTo>
                    <a:pt x="3" y="31"/>
                  </a:lnTo>
                  <a:lnTo>
                    <a:pt x="8" y="33"/>
                  </a:lnTo>
                  <a:lnTo>
                    <a:pt x="13" y="35"/>
                  </a:lnTo>
                  <a:lnTo>
                    <a:pt x="27" y="38"/>
                  </a:lnTo>
                  <a:lnTo>
                    <a:pt x="44" y="41"/>
                  </a:lnTo>
                  <a:lnTo>
                    <a:pt x="75" y="44"/>
                  </a:lnTo>
                  <a:lnTo>
                    <a:pt x="92" y="45"/>
                  </a:lnTo>
                  <a:lnTo>
                    <a:pt x="166" y="27"/>
                  </a:lnTo>
                  <a:lnTo>
                    <a:pt x="157" y="25"/>
                  </a:lnTo>
                  <a:lnTo>
                    <a:pt x="137" y="19"/>
                  </a:lnTo>
                  <a:lnTo>
                    <a:pt x="110" y="11"/>
                  </a:lnTo>
                  <a:lnTo>
                    <a:pt x="80" y="4"/>
                  </a:lnTo>
                  <a:lnTo>
                    <a:pt x="65" y="2"/>
                  </a:lnTo>
                  <a:lnTo>
                    <a:pt x="50" y="1"/>
                  </a:lnTo>
                  <a:lnTo>
                    <a:pt x="36" y="0"/>
                  </a:lnTo>
                  <a:lnTo>
                    <a:pt x="24" y="2"/>
                  </a:lnTo>
                  <a:lnTo>
                    <a:pt x="19" y="3"/>
                  </a:lnTo>
                  <a:lnTo>
                    <a:pt x="14" y="5"/>
                  </a:lnTo>
                  <a:lnTo>
                    <a:pt x="10" y="7"/>
                  </a:lnTo>
                  <a:lnTo>
                    <a:pt x="7" y="10"/>
                  </a:lnTo>
                  <a:lnTo>
                    <a:pt x="3" y="13"/>
                  </a:lnTo>
                  <a:lnTo>
                    <a:pt x="1" y="17"/>
                  </a:lnTo>
                  <a:lnTo>
                    <a:pt x="0" y="22"/>
                  </a:lnTo>
                  <a:lnTo>
                    <a:pt x="0" y="2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460" name="Freeform 412"/>
            <p:cNvSpPr>
              <a:spLocks/>
            </p:cNvSpPr>
            <p:nvPr/>
          </p:nvSpPr>
          <p:spPr bwMode="auto">
            <a:xfrm>
              <a:off x="1488" y="1422"/>
              <a:ext cx="11" cy="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9"/>
                </a:cxn>
                <a:cxn ang="0">
                  <a:pos x="3" y="15"/>
                </a:cxn>
                <a:cxn ang="0">
                  <a:pos x="6" y="20"/>
                </a:cxn>
                <a:cxn ang="0">
                  <a:pos x="11" y="22"/>
                </a:cxn>
                <a:cxn ang="0">
                  <a:pos x="16" y="24"/>
                </a:cxn>
                <a:cxn ang="0">
                  <a:pos x="22" y="25"/>
                </a:cxn>
                <a:cxn ang="0">
                  <a:pos x="27" y="25"/>
                </a:cxn>
                <a:cxn ang="0">
                  <a:pos x="33" y="25"/>
                </a:cxn>
                <a:cxn ang="0">
                  <a:pos x="33" y="0"/>
                </a:cxn>
                <a:cxn ang="0">
                  <a:pos x="24" y="0"/>
                </a:cxn>
                <a:cxn ang="0">
                  <a:pos x="16" y="0"/>
                </a:cxn>
                <a:cxn ang="0">
                  <a:pos x="9" y="0"/>
                </a:cxn>
                <a:cxn ang="0">
                  <a:pos x="0" y="0"/>
                </a:cxn>
              </a:cxnLst>
              <a:rect l="0" t="0" r="r" b="b"/>
              <a:pathLst>
                <a:path w="33" h="25">
                  <a:moveTo>
                    <a:pt x="0" y="0"/>
                  </a:moveTo>
                  <a:lnTo>
                    <a:pt x="0" y="9"/>
                  </a:lnTo>
                  <a:lnTo>
                    <a:pt x="3" y="15"/>
                  </a:lnTo>
                  <a:lnTo>
                    <a:pt x="6" y="20"/>
                  </a:lnTo>
                  <a:lnTo>
                    <a:pt x="11" y="22"/>
                  </a:lnTo>
                  <a:lnTo>
                    <a:pt x="16" y="24"/>
                  </a:lnTo>
                  <a:lnTo>
                    <a:pt x="22" y="25"/>
                  </a:lnTo>
                  <a:lnTo>
                    <a:pt x="27" y="25"/>
                  </a:lnTo>
                  <a:lnTo>
                    <a:pt x="33" y="25"/>
                  </a:lnTo>
                  <a:lnTo>
                    <a:pt x="33" y="0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461" name="Freeform 413"/>
            <p:cNvSpPr>
              <a:spLocks/>
            </p:cNvSpPr>
            <p:nvPr/>
          </p:nvSpPr>
          <p:spPr bwMode="auto">
            <a:xfrm>
              <a:off x="1605" y="1729"/>
              <a:ext cx="16" cy="20"/>
            </a:xfrm>
            <a:custGeom>
              <a:avLst/>
              <a:gdLst/>
              <a:ahLst/>
              <a:cxnLst>
                <a:cxn ang="0">
                  <a:pos x="0" y="62"/>
                </a:cxn>
                <a:cxn ang="0">
                  <a:pos x="12" y="56"/>
                </a:cxn>
                <a:cxn ang="0">
                  <a:pos x="22" y="50"/>
                </a:cxn>
                <a:cxn ang="0">
                  <a:pos x="30" y="43"/>
                </a:cxn>
                <a:cxn ang="0">
                  <a:pos x="37" y="36"/>
                </a:cxn>
                <a:cxn ang="0">
                  <a:pos x="41" y="28"/>
                </a:cxn>
                <a:cxn ang="0">
                  <a:pos x="44" y="19"/>
                </a:cxn>
                <a:cxn ang="0">
                  <a:pos x="47" y="9"/>
                </a:cxn>
                <a:cxn ang="0">
                  <a:pos x="48" y="0"/>
                </a:cxn>
                <a:cxn ang="0">
                  <a:pos x="40" y="3"/>
                </a:cxn>
                <a:cxn ang="0">
                  <a:pos x="32" y="6"/>
                </a:cxn>
                <a:cxn ang="0">
                  <a:pos x="23" y="10"/>
                </a:cxn>
                <a:cxn ang="0">
                  <a:pos x="17" y="15"/>
                </a:cxn>
                <a:cxn ang="0">
                  <a:pos x="10" y="21"/>
                </a:cxn>
                <a:cxn ang="0">
                  <a:pos x="6" y="27"/>
                </a:cxn>
                <a:cxn ang="0">
                  <a:pos x="4" y="31"/>
                </a:cxn>
                <a:cxn ang="0">
                  <a:pos x="3" y="35"/>
                </a:cxn>
                <a:cxn ang="0">
                  <a:pos x="1" y="39"/>
                </a:cxn>
                <a:cxn ang="0">
                  <a:pos x="0" y="43"/>
                </a:cxn>
                <a:cxn ang="0">
                  <a:pos x="0" y="52"/>
                </a:cxn>
                <a:cxn ang="0">
                  <a:pos x="0" y="62"/>
                </a:cxn>
              </a:cxnLst>
              <a:rect l="0" t="0" r="r" b="b"/>
              <a:pathLst>
                <a:path w="48" h="62">
                  <a:moveTo>
                    <a:pt x="0" y="62"/>
                  </a:moveTo>
                  <a:lnTo>
                    <a:pt x="12" y="56"/>
                  </a:lnTo>
                  <a:lnTo>
                    <a:pt x="22" y="50"/>
                  </a:lnTo>
                  <a:lnTo>
                    <a:pt x="30" y="43"/>
                  </a:lnTo>
                  <a:lnTo>
                    <a:pt x="37" y="36"/>
                  </a:lnTo>
                  <a:lnTo>
                    <a:pt x="41" y="28"/>
                  </a:lnTo>
                  <a:lnTo>
                    <a:pt x="44" y="19"/>
                  </a:lnTo>
                  <a:lnTo>
                    <a:pt x="47" y="9"/>
                  </a:lnTo>
                  <a:lnTo>
                    <a:pt x="48" y="0"/>
                  </a:lnTo>
                  <a:lnTo>
                    <a:pt x="40" y="3"/>
                  </a:lnTo>
                  <a:lnTo>
                    <a:pt x="32" y="6"/>
                  </a:lnTo>
                  <a:lnTo>
                    <a:pt x="23" y="10"/>
                  </a:lnTo>
                  <a:lnTo>
                    <a:pt x="17" y="15"/>
                  </a:lnTo>
                  <a:lnTo>
                    <a:pt x="10" y="21"/>
                  </a:lnTo>
                  <a:lnTo>
                    <a:pt x="6" y="27"/>
                  </a:lnTo>
                  <a:lnTo>
                    <a:pt x="4" y="31"/>
                  </a:lnTo>
                  <a:lnTo>
                    <a:pt x="3" y="35"/>
                  </a:lnTo>
                  <a:lnTo>
                    <a:pt x="1" y="39"/>
                  </a:lnTo>
                  <a:lnTo>
                    <a:pt x="0" y="43"/>
                  </a:lnTo>
                  <a:lnTo>
                    <a:pt x="0" y="52"/>
                  </a:lnTo>
                  <a:lnTo>
                    <a:pt x="0" y="6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462" name="Freeform 414"/>
            <p:cNvSpPr>
              <a:spLocks/>
            </p:cNvSpPr>
            <p:nvPr/>
          </p:nvSpPr>
          <p:spPr bwMode="auto">
            <a:xfrm>
              <a:off x="1554" y="1729"/>
              <a:ext cx="36" cy="20"/>
            </a:xfrm>
            <a:custGeom>
              <a:avLst/>
              <a:gdLst/>
              <a:ahLst/>
              <a:cxnLst>
                <a:cxn ang="0">
                  <a:pos x="47" y="0"/>
                </a:cxn>
                <a:cxn ang="0">
                  <a:pos x="36" y="7"/>
                </a:cxn>
                <a:cxn ang="0">
                  <a:pos x="23" y="17"/>
                </a:cxn>
                <a:cxn ang="0">
                  <a:pos x="11" y="27"/>
                </a:cxn>
                <a:cxn ang="0">
                  <a:pos x="0" y="37"/>
                </a:cxn>
                <a:cxn ang="0">
                  <a:pos x="22" y="46"/>
                </a:cxn>
                <a:cxn ang="0">
                  <a:pos x="41" y="54"/>
                </a:cxn>
                <a:cxn ang="0">
                  <a:pos x="51" y="57"/>
                </a:cxn>
                <a:cxn ang="0">
                  <a:pos x="62" y="59"/>
                </a:cxn>
                <a:cxn ang="0">
                  <a:pos x="73" y="61"/>
                </a:cxn>
                <a:cxn ang="0">
                  <a:pos x="87" y="62"/>
                </a:cxn>
                <a:cxn ang="0">
                  <a:pos x="97" y="61"/>
                </a:cxn>
                <a:cxn ang="0">
                  <a:pos x="106" y="58"/>
                </a:cxn>
                <a:cxn ang="0">
                  <a:pos x="109" y="56"/>
                </a:cxn>
                <a:cxn ang="0">
                  <a:pos x="111" y="54"/>
                </a:cxn>
                <a:cxn ang="0">
                  <a:pos x="113" y="52"/>
                </a:cxn>
                <a:cxn ang="0">
                  <a:pos x="113" y="49"/>
                </a:cxn>
                <a:cxn ang="0">
                  <a:pos x="91" y="41"/>
                </a:cxn>
                <a:cxn ang="0">
                  <a:pos x="70" y="32"/>
                </a:cxn>
                <a:cxn ang="0">
                  <a:pos x="65" y="29"/>
                </a:cxn>
                <a:cxn ang="0">
                  <a:pos x="61" y="26"/>
                </a:cxn>
                <a:cxn ang="0">
                  <a:pos x="57" y="23"/>
                </a:cxn>
                <a:cxn ang="0">
                  <a:pos x="54" y="20"/>
                </a:cxn>
                <a:cxn ang="0">
                  <a:pos x="51" y="16"/>
                </a:cxn>
                <a:cxn ang="0">
                  <a:pos x="48" y="10"/>
                </a:cxn>
                <a:cxn ang="0">
                  <a:pos x="47" y="5"/>
                </a:cxn>
                <a:cxn ang="0">
                  <a:pos x="47" y="0"/>
                </a:cxn>
              </a:cxnLst>
              <a:rect l="0" t="0" r="r" b="b"/>
              <a:pathLst>
                <a:path w="113" h="62">
                  <a:moveTo>
                    <a:pt x="47" y="0"/>
                  </a:moveTo>
                  <a:lnTo>
                    <a:pt x="36" y="7"/>
                  </a:lnTo>
                  <a:lnTo>
                    <a:pt x="23" y="17"/>
                  </a:lnTo>
                  <a:lnTo>
                    <a:pt x="11" y="27"/>
                  </a:lnTo>
                  <a:lnTo>
                    <a:pt x="0" y="37"/>
                  </a:lnTo>
                  <a:lnTo>
                    <a:pt x="22" y="46"/>
                  </a:lnTo>
                  <a:lnTo>
                    <a:pt x="41" y="54"/>
                  </a:lnTo>
                  <a:lnTo>
                    <a:pt x="51" y="57"/>
                  </a:lnTo>
                  <a:lnTo>
                    <a:pt x="62" y="59"/>
                  </a:lnTo>
                  <a:lnTo>
                    <a:pt x="73" y="61"/>
                  </a:lnTo>
                  <a:lnTo>
                    <a:pt x="87" y="62"/>
                  </a:lnTo>
                  <a:lnTo>
                    <a:pt x="97" y="61"/>
                  </a:lnTo>
                  <a:lnTo>
                    <a:pt x="106" y="58"/>
                  </a:lnTo>
                  <a:lnTo>
                    <a:pt x="109" y="56"/>
                  </a:lnTo>
                  <a:lnTo>
                    <a:pt x="111" y="54"/>
                  </a:lnTo>
                  <a:lnTo>
                    <a:pt x="113" y="52"/>
                  </a:lnTo>
                  <a:lnTo>
                    <a:pt x="113" y="49"/>
                  </a:lnTo>
                  <a:lnTo>
                    <a:pt x="91" y="41"/>
                  </a:lnTo>
                  <a:lnTo>
                    <a:pt x="70" y="32"/>
                  </a:lnTo>
                  <a:lnTo>
                    <a:pt x="65" y="29"/>
                  </a:lnTo>
                  <a:lnTo>
                    <a:pt x="61" y="26"/>
                  </a:lnTo>
                  <a:lnTo>
                    <a:pt x="57" y="23"/>
                  </a:lnTo>
                  <a:lnTo>
                    <a:pt x="54" y="20"/>
                  </a:lnTo>
                  <a:lnTo>
                    <a:pt x="51" y="16"/>
                  </a:lnTo>
                  <a:lnTo>
                    <a:pt x="48" y="10"/>
                  </a:lnTo>
                  <a:lnTo>
                    <a:pt x="47" y="5"/>
                  </a:lnTo>
                  <a:lnTo>
                    <a:pt x="47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463" name="Freeform 415"/>
            <p:cNvSpPr>
              <a:spLocks/>
            </p:cNvSpPr>
            <p:nvPr/>
          </p:nvSpPr>
          <p:spPr bwMode="auto">
            <a:xfrm>
              <a:off x="1748" y="1188"/>
              <a:ext cx="29" cy="1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5" y="0"/>
                </a:cxn>
                <a:cxn ang="0">
                  <a:pos x="30" y="1"/>
                </a:cxn>
                <a:cxn ang="0">
                  <a:pos x="45" y="2"/>
                </a:cxn>
                <a:cxn ang="0">
                  <a:pos x="59" y="5"/>
                </a:cxn>
                <a:cxn ang="0">
                  <a:pos x="64" y="7"/>
                </a:cxn>
                <a:cxn ang="0">
                  <a:pos x="71" y="9"/>
                </a:cxn>
                <a:cxn ang="0">
                  <a:pos x="75" y="12"/>
                </a:cxn>
                <a:cxn ang="0">
                  <a:pos x="81" y="16"/>
                </a:cxn>
                <a:cxn ang="0">
                  <a:pos x="85" y="20"/>
                </a:cxn>
                <a:cxn ang="0">
                  <a:pos x="89" y="25"/>
                </a:cxn>
                <a:cxn ang="0">
                  <a:pos x="91" y="30"/>
                </a:cxn>
                <a:cxn ang="0">
                  <a:pos x="93" y="37"/>
                </a:cxn>
                <a:cxn ang="0">
                  <a:pos x="79" y="37"/>
                </a:cxn>
                <a:cxn ang="0">
                  <a:pos x="68" y="39"/>
                </a:cxn>
                <a:cxn ang="0">
                  <a:pos x="60" y="41"/>
                </a:cxn>
                <a:cxn ang="0">
                  <a:pos x="52" y="43"/>
                </a:cxn>
                <a:cxn ang="0">
                  <a:pos x="42" y="47"/>
                </a:cxn>
                <a:cxn ang="0">
                  <a:pos x="33" y="50"/>
                </a:cxn>
                <a:cxn ang="0">
                  <a:pos x="30" y="50"/>
                </a:cxn>
                <a:cxn ang="0">
                  <a:pos x="28" y="48"/>
                </a:cxn>
                <a:cxn ang="0">
                  <a:pos x="26" y="47"/>
                </a:cxn>
                <a:cxn ang="0">
                  <a:pos x="25" y="45"/>
                </a:cxn>
                <a:cxn ang="0">
                  <a:pos x="23" y="41"/>
                </a:cxn>
                <a:cxn ang="0">
                  <a:pos x="22" y="36"/>
                </a:cxn>
                <a:cxn ang="0">
                  <a:pos x="22" y="31"/>
                </a:cxn>
                <a:cxn ang="0">
                  <a:pos x="23" y="26"/>
                </a:cxn>
                <a:cxn ang="0">
                  <a:pos x="24" y="22"/>
                </a:cxn>
                <a:cxn ang="0">
                  <a:pos x="26" y="19"/>
                </a:cxn>
                <a:cxn ang="0">
                  <a:pos x="0" y="19"/>
                </a:cxn>
                <a:cxn ang="0">
                  <a:pos x="0" y="0"/>
                </a:cxn>
              </a:cxnLst>
              <a:rect l="0" t="0" r="r" b="b"/>
              <a:pathLst>
                <a:path w="93" h="50">
                  <a:moveTo>
                    <a:pt x="0" y="0"/>
                  </a:moveTo>
                  <a:lnTo>
                    <a:pt x="15" y="0"/>
                  </a:lnTo>
                  <a:lnTo>
                    <a:pt x="30" y="1"/>
                  </a:lnTo>
                  <a:lnTo>
                    <a:pt x="45" y="2"/>
                  </a:lnTo>
                  <a:lnTo>
                    <a:pt x="59" y="5"/>
                  </a:lnTo>
                  <a:lnTo>
                    <a:pt x="64" y="7"/>
                  </a:lnTo>
                  <a:lnTo>
                    <a:pt x="71" y="9"/>
                  </a:lnTo>
                  <a:lnTo>
                    <a:pt x="75" y="12"/>
                  </a:lnTo>
                  <a:lnTo>
                    <a:pt x="81" y="16"/>
                  </a:lnTo>
                  <a:lnTo>
                    <a:pt x="85" y="20"/>
                  </a:lnTo>
                  <a:lnTo>
                    <a:pt x="89" y="25"/>
                  </a:lnTo>
                  <a:lnTo>
                    <a:pt x="91" y="30"/>
                  </a:lnTo>
                  <a:lnTo>
                    <a:pt x="93" y="37"/>
                  </a:lnTo>
                  <a:lnTo>
                    <a:pt x="79" y="37"/>
                  </a:lnTo>
                  <a:lnTo>
                    <a:pt x="68" y="39"/>
                  </a:lnTo>
                  <a:lnTo>
                    <a:pt x="60" y="41"/>
                  </a:lnTo>
                  <a:lnTo>
                    <a:pt x="52" y="43"/>
                  </a:lnTo>
                  <a:lnTo>
                    <a:pt x="42" y="47"/>
                  </a:lnTo>
                  <a:lnTo>
                    <a:pt x="33" y="50"/>
                  </a:lnTo>
                  <a:lnTo>
                    <a:pt x="30" y="50"/>
                  </a:lnTo>
                  <a:lnTo>
                    <a:pt x="28" y="48"/>
                  </a:lnTo>
                  <a:lnTo>
                    <a:pt x="26" y="47"/>
                  </a:lnTo>
                  <a:lnTo>
                    <a:pt x="25" y="45"/>
                  </a:lnTo>
                  <a:lnTo>
                    <a:pt x="23" y="41"/>
                  </a:lnTo>
                  <a:lnTo>
                    <a:pt x="22" y="36"/>
                  </a:lnTo>
                  <a:lnTo>
                    <a:pt x="22" y="31"/>
                  </a:lnTo>
                  <a:lnTo>
                    <a:pt x="23" y="26"/>
                  </a:lnTo>
                  <a:lnTo>
                    <a:pt x="24" y="22"/>
                  </a:lnTo>
                  <a:lnTo>
                    <a:pt x="26" y="1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464" name="Freeform 416"/>
            <p:cNvSpPr>
              <a:spLocks/>
            </p:cNvSpPr>
            <p:nvPr/>
          </p:nvSpPr>
          <p:spPr bwMode="auto">
            <a:xfrm>
              <a:off x="1436" y="1246"/>
              <a:ext cx="331" cy="198"/>
            </a:xfrm>
            <a:custGeom>
              <a:avLst/>
              <a:gdLst/>
              <a:ahLst/>
              <a:cxnLst>
                <a:cxn ang="0">
                  <a:pos x="20" y="112"/>
                </a:cxn>
                <a:cxn ang="0">
                  <a:pos x="67" y="60"/>
                </a:cxn>
                <a:cxn ang="0">
                  <a:pos x="266" y="0"/>
                </a:cxn>
                <a:cxn ang="0">
                  <a:pos x="205" y="47"/>
                </a:cxn>
                <a:cxn ang="0">
                  <a:pos x="180" y="105"/>
                </a:cxn>
                <a:cxn ang="0">
                  <a:pos x="274" y="60"/>
                </a:cxn>
                <a:cxn ang="0">
                  <a:pos x="397" y="14"/>
                </a:cxn>
                <a:cxn ang="0">
                  <a:pos x="438" y="23"/>
                </a:cxn>
                <a:cxn ang="0">
                  <a:pos x="433" y="71"/>
                </a:cxn>
                <a:cxn ang="0">
                  <a:pos x="581" y="80"/>
                </a:cxn>
                <a:cxn ang="0">
                  <a:pos x="675" y="89"/>
                </a:cxn>
                <a:cxn ang="0">
                  <a:pos x="749" y="111"/>
                </a:cxn>
                <a:cxn ang="0">
                  <a:pos x="749" y="134"/>
                </a:cxn>
                <a:cxn ang="0">
                  <a:pos x="711" y="184"/>
                </a:cxn>
                <a:cxn ang="0">
                  <a:pos x="799" y="168"/>
                </a:cxn>
                <a:cxn ang="0">
                  <a:pos x="866" y="191"/>
                </a:cxn>
                <a:cxn ang="0">
                  <a:pos x="856" y="239"/>
                </a:cxn>
                <a:cxn ang="0">
                  <a:pos x="788" y="248"/>
                </a:cxn>
                <a:cxn ang="0">
                  <a:pos x="859" y="284"/>
                </a:cxn>
                <a:cxn ang="0">
                  <a:pos x="903" y="327"/>
                </a:cxn>
                <a:cxn ang="0">
                  <a:pos x="977" y="329"/>
                </a:cxn>
                <a:cxn ang="0">
                  <a:pos x="1029" y="351"/>
                </a:cxn>
                <a:cxn ang="0">
                  <a:pos x="939" y="409"/>
                </a:cxn>
                <a:cxn ang="0">
                  <a:pos x="899" y="417"/>
                </a:cxn>
                <a:cxn ang="0">
                  <a:pos x="874" y="443"/>
                </a:cxn>
                <a:cxn ang="0">
                  <a:pos x="830" y="414"/>
                </a:cxn>
                <a:cxn ang="0">
                  <a:pos x="851" y="393"/>
                </a:cxn>
                <a:cxn ang="0">
                  <a:pos x="792" y="379"/>
                </a:cxn>
                <a:cxn ang="0">
                  <a:pos x="759" y="364"/>
                </a:cxn>
                <a:cxn ang="0">
                  <a:pos x="744" y="394"/>
                </a:cxn>
                <a:cxn ang="0">
                  <a:pos x="747" y="445"/>
                </a:cxn>
                <a:cxn ang="0">
                  <a:pos x="795" y="523"/>
                </a:cxn>
                <a:cxn ang="0">
                  <a:pos x="771" y="547"/>
                </a:cxn>
                <a:cxn ang="0">
                  <a:pos x="708" y="556"/>
                </a:cxn>
                <a:cxn ang="0">
                  <a:pos x="618" y="517"/>
                </a:cxn>
                <a:cxn ang="0">
                  <a:pos x="668" y="567"/>
                </a:cxn>
                <a:cxn ang="0">
                  <a:pos x="665" y="604"/>
                </a:cxn>
                <a:cxn ang="0">
                  <a:pos x="518" y="570"/>
                </a:cxn>
                <a:cxn ang="0">
                  <a:pos x="471" y="523"/>
                </a:cxn>
                <a:cxn ang="0">
                  <a:pos x="410" y="473"/>
                </a:cxn>
                <a:cxn ang="0">
                  <a:pos x="367" y="453"/>
                </a:cxn>
                <a:cxn ang="0">
                  <a:pos x="392" y="433"/>
                </a:cxn>
                <a:cxn ang="0">
                  <a:pos x="459" y="399"/>
                </a:cxn>
                <a:cxn ang="0">
                  <a:pos x="500" y="378"/>
                </a:cxn>
                <a:cxn ang="0">
                  <a:pos x="577" y="380"/>
                </a:cxn>
                <a:cxn ang="0">
                  <a:pos x="614" y="395"/>
                </a:cxn>
                <a:cxn ang="0">
                  <a:pos x="687" y="387"/>
                </a:cxn>
                <a:cxn ang="0">
                  <a:pos x="581" y="355"/>
                </a:cxn>
                <a:cxn ang="0">
                  <a:pos x="542" y="361"/>
                </a:cxn>
                <a:cxn ang="0">
                  <a:pos x="539" y="350"/>
                </a:cxn>
                <a:cxn ang="0">
                  <a:pos x="576" y="306"/>
                </a:cxn>
                <a:cxn ang="0">
                  <a:pos x="576" y="274"/>
                </a:cxn>
                <a:cxn ang="0">
                  <a:pos x="524" y="254"/>
                </a:cxn>
                <a:cxn ang="0">
                  <a:pos x="473" y="198"/>
                </a:cxn>
                <a:cxn ang="0">
                  <a:pos x="434" y="168"/>
                </a:cxn>
                <a:cxn ang="0">
                  <a:pos x="408" y="163"/>
                </a:cxn>
                <a:cxn ang="0">
                  <a:pos x="378" y="203"/>
                </a:cxn>
                <a:cxn ang="0">
                  <a:pos x="207" y="174"/>
                </a:cxn>
                <a:cxn ang="0">
                  <a:pos x="114" y="189"/>
                </a:cxn>
                <a:cxn ang="0">
                  <a:pos x="79" y="187"/>
                </a:cxn>
                <a:cxn ang="0">
                  <a:pos x="16" y="180"/>
                </a:cxn>
                <a:cxn ang="0">
                  <a:pos x="9" y="158"/>
                </a:cxn>
                <a:cxn ang="0">
                  <a:pos x="75" y="149"/>
                </a:cxn>
              </a:cxnLst>
              <a:rect l="0" t="0" r="r" b="b"/>
              <a:pathLst>
                <a:path w="1029" h="604">
                  <a:moveTo>
                    <a:pt x="73" y="129"/>
                  </a:moveTo>
                  <a:lnTo>
                    <a:pt x="34" y="129"/>
                  </a:lnTo>
                  <a:lnTo>
                    <a:pt x="28" y="128"/>
                  </a:lnTo>
                  <a:lnTo>
                    <a:pt x="24" y="125"/>
                  </a:lnTo>
                  <a:lnTo>
                    <a:pt x="22" y="121"/>
                  </a:lnTo>
                  <a:lnTo>
                    <a:pt x="20" y="117"/>
                  </a:lnTo>
                  <a:lnTo>
                    <a:pt x="20" y="112"/>
                  </a:lnTo>
                  <a:lnTo>
                    <a:pt x="22" y="107"/>
                  </a:lnTo>
                  <a:lnTo>
                    <a:pt x="24" y="102"/>
                  </a:lnTo>
                  <a:lnTo>
                    <a:pt x="26" y="97"/>
                  </a:lnTo>
                  <a:lnTo>
                    <a:pt x="34" y="87"/>
                  </a:lnTo>
                  <a:lnTo>
                    <a:pt x="42" y="77"/>
                  </a:lnTo>
                  <a:lnTo>
                    <a:pt x="54" y="69"/>
                  </a:lnTo>
                  <a:lnTo>
                    <a:pt x="67" y="60"/>
                  </a:lnTo>
                  <a:lnTo>
                    <a:pt x="81" y="52"/>
                  </a:lnTo>
                  <a:lnTo>
                    <a:pt x="96" y="45"/>
                  </a:lnTo>
                  <a:lnTo>
                    <a:pt x="128" y="30"/>
                  </a:lnTo>
                  <a:lnTo>
                    <a:pt x="160" y="18"/>
                  </a:lnTo>
                  <a:lnTo>
                    <a:pt x="190" y="8"/>
                  </a:lnTo>
                  <a:lnTo>
                    <a:pt x="213" y="0"/>
                  </a:lnTo>
                  <a:lnTo>
                    <a:pt x="266" y="0"/>
                  </a:lnTo>
                  <a:lnTo>
                    <a:pt x="264" y="7"/>
                  </a:lnTo>
                  <a:lnTo>
                    <a:pt x="260" y="14"/>
                  </a:lnTo>
                  <a:lnTo>
                    <a:pt x="255" y="19"/>
                  </a:lnTo>
                  <a:lnTo>
                    <a:pt x="250" y="24"/>
                  </a:lnTo>
                  <a:lnTo>
                    <a:pt x="236" y="32"/>
                  </a:lnTo>
                  <a:lnTo>
                    <a:pt x="220" y="40"/>
                  </a:lnTo>
                  <a:lnTo>
                    <a:pt x="205" y="47"/>
                  </a:lnTo>
                  <a:lnTo>
                    <a:pt x="192" y="55"/>
                  </a:lnTo>
                  <a:lnTo>
                    <a:pt x="187" y="60"/>
                  </a:lnTo>
                  <a:lnTo>
                    <a:pt x="183" y="66"/>
                  </a:lnTo>
                  <a:lnTo>
                    <a:pt x="181" y="72"/>
                  </a:lnTo>
                  <a:lnTo>
                    <a:pt x="180" y="80"/>
                  </a:lnTo>
                  <a:lnTo>
                    <a:pt x="180" y="95"/>
                  </a:lnTo>
                  <a:lnTo>
                    <a:pt x="180" y="105"/>
                  </a:lnTo>
                  <a:lnTo>
                    <a:pt x="198" y="104"/>
                  </a:lnTo>
                  <a:lnTo>
                    <a:pt x="216" y="101"/>
                  </a:lnTo>
                  <a:lnTo>
                    <a:pt x="233" y="97"/>
                  </a:lnTo>
                  <a:lnTo>
                    <a:pt x="252" y="93"/>
                  </a:lnTo>
                  <a:lnTo>
                    <a:pt x="252" y="82"/>
                  </a:lnTo>
                  <a:lnTo>
                    <a:pt x="252" y="67"/>
                  </a:lnTo>
                  <a:lnTo>
                    <a:pt x="274" y="60"/>
                  </a:lnTo>
                  <a:lnTo>
                    <a:pt x="295" y="51"/>
                  </a:lnTo>
                  <a:lnTo>
                    <a:pt x="316" y="42"/>
                  </a:lnTo>
                  <a:lnTo>
                    <a:pt x="336" y="32"/>
                  </a:lnTo>
                  <a:lnTo>
                    <a:pt x="355" y="24"/>
                  </a:lnTo>
                  <a:lnTo>
                    <a:pt x="376" y="18"/>
                  </a:lnTo>
                  <a:lnTo>
                    <a:pt x="386" y="15"/>
                  </a:lnTo>
                  <a:lnTo>
                    <a:pt x="397" y="14"/>
                  </a:lnTo>
                  <a:lnTo>
                    <a:pt x="408" y="12"/>
                  </a:lnTo>
                  <a:lnTo>
                    <a:pt x="419" y="12"/>
                  </a:lnTo>
                  <a:lnTo>
                    <a:pt x="422" y="12"/>
                  </a:lnTo>
                  <a:lnTo>
                    <a:pt x="426" y="14"/>
                  </a:lnTo>
                  <a:lnTo>
                    <a:pt x="429" y="15"/>
                  </a:lnTo>
                  <a:lnTo>
                    <a:pt x="432" y="18"/>
                  </a:lnTo>
                  <a:lnTo>
                    <a:pt x="438" y="23"/>
                  </a:lnTo>
                  <a:lnTo>
                    <a:pt x="443" y="30"/>
                  </a:lnTo>
                  <a:lnTo>
                    <a:pt x="450" y="44"/>
                  </a:lnTo>
                  <a:lnTo>
                    <a:pt x="452" y="49"/>
                  </a:lnTo>
                  <a:lnTo>
                    <a:pt x="443" y="57"/>
                  </a:lnTo>
                  <a:lnTo>
                    <a:pt x="437" y="64"/>
                  </a:lnTo>
                  <a:lnTo>
                    <a:pt x="434" y="68"/>
                  </a:lnTo>
                  <a:lnTo>
                    <a:pt x="433" y="71"/>
                  </a:lnTo>
                  <a:lnTo>
                    <a:pt x="432" y="75"/>
                  </a:lnTo>
                  <a:lnTo>
                    <a:pt x="432" y="80"/>
                  </a:lnTo>
                  <a:lnTo>
                    <a:pt x="467" y="80"/>
                  </a:lnTo>
                  <a:lnTo>
                    <a:pt x="504" y="80"/>
                  </a:lnTo>
                  <a:lnTo>
                    <a:pt x="536" y="80"/>
                  </a:lnTo>
                  <a:lnTo>
                    <a:pt x="565" y="80"/>
                  </a:lnTo>
                  <a:lnTo>
                    <a:pt x="581" y="80"/>
                  </a:lnTo>
                  <a:lnTo>
                    <a:pt x="601" y="83"/>
                  </a:lnTo>
                  <a:lnTo>
                    <a:pt x="621" y="85"/>
                  </a:lnTo>
                  <a:lnTo>
                    <a:pt x="637" y="86"/>
                  </a:lnTo>
                  <a:lnTo>
                    <a:pt x="648" y="86"/>
                  </a:lnTo>
                  <a:lnTo>
                    <a:pt x="658" y="87"/>
                  </a:lnTo>
                  <a:lnTo>
                    <a:pt x="667" y="88"/>
                  </a:lnTo>
                  <a:lnTo>
                    <a:pt x="675" y="89"/>
                  </a:lnTo>
                  <a:lnTo>
                    <a:pt x="690" y="94"/>
                  </a:lnTo>
                  <a:lnTo>
                    <a:pt x="702" y="99"/>
                  </a:lnTo>
                  <a:lnTo>
                    <a:pt x="715" y="103"/>
                  </a:lnTo>
                  <a:lnTo>
                    <a:pt x="728" y="107"/>
                  </a:lnTo>
                  <a:lnTo>
                    <a:pt x="734" y="109"/>
                  </a:lnTo>
                  <a:lnTo>
                    <a:pt x="742" y="110"/>
                  </a:lnTo>
                  <a:lnTo>
                    <a:pt x="749" y="111"/>
                  </a:lnTo>
                  <a:lnTo>
                    <a:pt x="757" y="111"/>
                  </a:lnTo>
                  <a:lnTo>
                    <a:pt x="753" y="115"/>
                  </a:lnTo>
                  <a:lnTo>
                    <a:pt x="751" y="119"/>
                  </a:lnTo>
                  <a:lnTo>
                    <a:pt x="748" y="122"/>
                  </a:lnTo>
                  <a:lnTo>
                    <a:pt x="747" y="125"/>
                  </a:lnTo>
                  <a:lnTo>
                    <a:pt x="747" y="130"/>
                  </a:lnTo>
                  <a:lnTo>
                    <a:pt x="749" y="134"/>
                  </a:lnTo>
                  <a:lnTo>
                    <a:pt x="752" y="138"/>
                  </a:lnTo>
                  <a:lnTo>
                    <a:pt x="754" y="142"/>
                  </a:lnTo>
                  <a:lnTo>
                    <a:pt x="754" y="145"/>
                  </a:lnTo>
                  <a:lnTo>
                    <a:pt x="754" y="147"/>
                  </a:lnTo>
                  <a:lnTo>
                    <a:pt x="753" y="151"/>
                  </a:lnTo>
                  <a:lnTo>
                    <a:pt x="751" y="154"/>
                  </a:lnTo>
                  <a:lnTo>
                    <a:pt x="711" y="184"/>
                  </a:lnTo>
                  <a:lnTo>
                    <a:pt x="728" y="179"/>
                  </a:lnTo>
                  <a:lnTo>
                    <a:pt x="746" y="172"/>
                  </a:lnTo>
                  <a:lnTo>
                    <a:pt x="764" y="166"/>
                  </a:lnTo>
                  <a:lnTo>
                    <a:pt x="777" y="160"/>
                  </a:lnTo>
                  <a:lnTo>
                    <a:pt x="798" y="160"/>
                  </a:lnTo>
                  <a:lnTo>
                    <a:pt x="797" y="164"/>
                  </a:lnTo>
                  <a:lnTo>
                    <a:pt x="799" y="168"/>
                  </a:lnTo>
                  <a:lnTo>
                    <a:pt x="802" y="172"/>
                  </a:lnTo>
                  <a:lnTo>
                    <a:pt x="807" y="174"/>
                  </a:lnTo>
                  <a:lnTo>
                    <a:pt x="820" y="179"/>
                  </a:lnTo>
                  <a:lnTo>
                    <a:pt x="834" y="183"/>
                  </a:lnTo>
                  <a:lnTo>
                    <a:pt x="848" y="186"/>
                  </a:lnTo>
                  <a:lnTo>
                    <a:pt x="860" y="189"/>
                  </a:lnTo>
                  <a:lnTo>
                    <a:pt x="866" y="191"/>
                  </a:lnTo>
                  <a:lnTo>
                    <a:pt x="869" y="192"/>
                  </a:lnTo>
                  <a:lnTo>
                    <a:pt x="870" y="194"/>
                  </a:lnTo>
                  <a:lnTo>
                    <a:pt x="870" y="196"/>
                  </a:lnTo>
                  <a:lnTo>
                    <a:pt x="864" y="234"/>
                  </a:lnTo>
                  <a:lnTo>
                    <a:pt x="863" y="236"/>
                  </a:lnTo>
                  <a:lnTo>
                    <a:pt x="860" y="238"/>
                  </a:lnTo>
                  <a:lnTo>
                    <a:pt x="856" y="239"/>
                  </a:lnTo>
                  <a:lnTo>
                    <a:pt x="852" y="240"/>
                  </a:lnTo>
                  <a:lnTo>
                    <a:pt x="838" y="242"/>
                  </a:lnTo>
                  <a:lnTo>
                    <a:pt x="824" y="243"/>
                  </a:lnTo>
                  <a:lnTo>
                    <a:pt x="809" y="244"/>
                  </a:lnTo>
                  <a:lnTo>
                    <a:pt x="797" y="246"/>
                  </a:lnTo>
                  <a:lnTo>
                    <a:pt x="791" y="247"/>
                  </a:lnTo>
                  <a:lnTo>
                    <a:pt x="788" y="248"/>
                  </a:lnTo>
                  <a:lnTo>
                    <a:pt x="785" y="250"/>
                  </a:lnTo>
                  <a:lnTo>
                    <a:pt x="784" y="252"/>
                  </a:lnTo>
                  <a:lnTo>
                    <a:pt x="799" y="262"/>
                  </a:lnTo>
                  <a:lnTo>
                    <a:pt x="813" y="269"/>
                  </a:lnTo>
                  <a:lnTo>
                    <a:pt x="827" y="275"/>
                  </a:lnTo>
                  <a:lnTo>
                    <a:pt x="843" y="280"/>
                  </a:lnTo>
                  <a:lnTo>
                    <a:pt x="859" y="284"/>
                  </a:lnTo>
                  <a:lnTo>
                    <a:pt x="877" y="287"/>
                  </a:lnTo>
                  <a:lnTo>
                    <a:pt x="896" y="289"/>
                  </a:lnTo>
                  <a:lnTo>
                    <a:pt x="916" y="289"/>
                  </a:lnTo>
                  <a:lnTo>
                    <a:pt x="915" y="298"/>
                  </a:lnTo>
                  <a:lnTo>
                    <a:pt x="913" y="307"/>
                  </a:lnTo>
                  <a:lnTo>
                    <a:pt x="909" y="317"/>
                  </a:lnTo>
                  <a:lnTo>
                    <a:pt x="903" y="327"/>
                  </a:lnTo>
                  <a:lnTo>
                    <a:pt x="914" y="330"/>
                  </a:lnTo>
                  <a:lnTo>
                    <a:pt x="925" y="333"/>
                  </a:lnTo>
                  <a:lnTo>
                    <a:pt x="937" y="333"/>
                  </a:lnTo>
                  <a:lnTo>
                    <a:pt x="948" y="333"/>
                  </a:lnTo>
                  <a:lnTo>
                    <a:pt x="959" y="332"/>
                  </a:lnTo>
                  <a:lnTo>
                    <a:pt x="969" y="331"/>
                  </a:lnTo>
                  <a:lnTo>
                    <a:pt x="977" y="329"/>
                  </a:lnTo>
                  <a:lnTo>
                    <a:pt x="983" y="327"/>
                  </a:lnTo>
                  <a:lnTo>
                    <a:pt x="987" y="333"/>
                  </a:lnTo>
                  <a:lnTo>
                    <a:pt x="991" y="337"/>
                  </a:lnTo>
                  <a:lnTo>
                    <a:pt x="995" y="341"/>
                  </a:lnTo>
                  <a:lnTo>
                    <a:pt x="1002" y="343"/>
                  </a:lnTo>
                  <a:lnTo>
                    <a:pt x="1015" y="347"/>
                  </a:lnTo>
                  <a:lnTo>
                    <a:pt x="1029" y="351"/>
                  </a:lnTo>
                  <a:lnTo>
                    <a:pt x="1012" y="360"/>
                  </a:lnTo>
                  <a:lnTo>
                    <a:pt x="997" y="371"/>
                  </a:lnTo>
                  <a:lnTo>
                    <a:pt x="983" y="382"/>
                  </a:lnTo>
                  <a:lnTo>
                    <a:pt x="971" y="391"/>
                  </a:lnTo>
                  <a:lnTo>
                    <a:pt x="959" y="400"/>
                  </a:lnTo>
                  <a:lnTo>
                    <a:pt x="947" y="406"/>
                  </a:lnTo>
                  <a:lnTo>
                    <a:pt x="939" y="409"/>
                  </a:lnTo>
                  <a:lnTo>
                    <a:pt x="933" y="411"/>
                  </a:lnTo>
                  <a:lnTo>
                    <a:pt x="925" y="412"/>
                  </a:lnTo>
                  <a:lnTo>
                    <a:pt x="916" y="412"/>
                  </a:lnTo>
                  <a:lnTo>
                    <a:pt x="911" y="413"/>
                  </a:lnTo>
                  <a:lnTo>
                    <a:pt x="907" y="414"/>
                  </a:lnTo>
                  <a:lnTo>
                    <a:pt x="902" y="415"/>
                  </a:lnTo>
                  <a:lnTo>
                    <a:pt x="899" y="417"/>
                  </a:lnTo>
                  <a:lnTo>
                    <a:pt x="893" y="422"/>
                  </a:lnTo>
                  <a:lnTo>
                    <a:pt x="889" y="428"/>
                  </a:lnTo>
                  <a:lnTo>
                    <a:pt x="885" y="434"/>
                  </a:lnTo>
                  <a:lnTo>
                    <a:pt x="881" y="439"/>
                  </a:lnTo>
                  <a:lnTo>
                    <a:pt x="879" y="441"/>
                  </a:lnTo>
                  <a:lnTo>
                    <a:pt x="877" y="442"/>
                  </a:lnTo>
                  <a:lnTo>
                    <a:pt x="874" y="443"/>
                  </a:lnTo>
                  <a:lnTo>
                    <a:pt x="870" y="444"/>
                  </a:lnTo>
                  <a:lnTo>
                    <a:pt x="865" y="442"/>
                  </a:lnTo>
                  <a:lnTo>
                    <a:pt x="857" y="439"/>
                  </a:lnTo>
                  <a:lnTo>
                    <a:pt x="849" y="435"/>
                  </a:lnTo>
                  <a:lnTo>
                    <a:pt x="842" y="429"/>
                  </a:lnTo>
                  <a:lnTo>
                    <a:pt x="835" y="422"/>
                  </a:lnTo>
                  <a:lnTo>
                    <a:pt x="830" y="414"/>
                  </a:lnTo>
                  <a:lnTo>
                    <a:pt x="827" y="411"/>
                  </a:lnTo>
                  <a:lnTo>
                    <a:pt x="825" y="407"/>
                  </a:lnTo>
                  <a:lnTo>
                    <a:pt x="824" y="404"/>
                  </a:lnTo>
                  <a:lnTo>
                    <a:pt x="824" y="400"/>
                  </a:lnTo>
                  <a:lnTo>
                    <a:pt x="840" y="400"/>
                  </a:lnTo>
                  <a:lnTo>
                    <a:pt x="851" y="400"/>
                  </a:lnTo>
                  <a:lnTo>
                    <a:pt x="851" y="393"/>
                  </a:lnTo>
                  <a:lnTo>
                    <a:pt x="851" y="382"/>
                  </a:lnTo>
                  <a:lnTo>
                    <a:pt x="837" y="382"/>
                  </a:lnTo>
                  <a:lnTo>
                    <a:pt x="827" y="382"/>
                  </a:lnTo>
                  <a:lnTo>
                    <a:pt x="816" y="382"/>
                  </a:lnTo>
                  <a:lnTo>
                    <a:pt x="804" y="382"/>
                  </a:lnTo>
                  <a:lnTo>
                    <a:pt x="798" y="381"/>
                  </a:lnTo>
                  <a:lnTo>
                    <a:pt x="792" y="379"/>
                  </a:lnTo>
                  <a:lnTo>
                    <a:pt x="788" y="376"/>
                  </a:lnTo>
                  <a:lnTo>
                    <a:pt x="784" y="373"/>
                  </a:lnTo>
                  <a:lnTo>
                    <a:pt x="780" y="369"/>
                  </a:lnTo>
                  <a:lnTo>
                    <a:pt x="776" y="366"/>
                  </a:lnTo>
                  <a:lnTo>
                    <a:pt x="770" y="364"/>
                  </a:lnTo>
                  <a:lnTo>
                    <a:pt x="764" y="363"/>
                  </a:lnTo>
                  <a:lnTo>
                    <a:pt x="759" y="364"/>
                  </a:lnTo>
                  <a:lnTo>
                    <a:pt x="755" y="366"/>
                  </a:lnTo>
                  <a:lnTo>
                    <a:pt x="752" y="369"/>
                  </a:lnTo>
                  <a:lnTo>
                    <a:pt x="749" y="374"/>
                  </a:lnTo>
                  <a:lnTo>
                    <a:pt x="747" y="379"/>
                  </a:lnTo>
                  <a:lnTo>
                    <a:pt x="745" y="384"/>
                  </a:lnTo>
                  <a:lnTo>
                    <a:pt x="744" y="389"/>
                  </a:lnTo>
                  <a:lnTo>
                    <a:pt x="744" y="394"/>
                  </a:lnTo>
                  <a:lnTo>
                    <a:pt x="711" y="394"/>
                  </a:lnTo>
                  <a:lnTo>
                    <a:pt x="711" y="412"/>
                  </a:lnTo>
                  <a:lnTo>
                    <a:pt x="715" y="414"/>
                  </a:lnTo>
                  <a:lnTo>
                    <a:pt x="720" y="418"/>
                  </a:lnTo>
                  <a:lnTo>
                    <a:pt x="726" y="423"/>
                  </a:lnTo>
                  <a:lnTo>
                    <a:pt x="733" y="430"/>
                  </a:lnTo>
                  <a:lnTo>
                    <a:pt x="747" y="445"/>
                  </a:lnTo>
                  <a:lnTo>
                    <a:pt x="762" y="462"/>
                  </a:lnTo>
                  <a:lnTo>
                    <a:pt x="775" y="478"/>
                  </a:lnTo>
                  <a:lnTo>
                    <a:pt x="787" y="494"/>
                  </a:lnTo>
                  <a:lnTo>
                    <a:pt x="795" y="505"/>
                  </a:lnTo>
                  <a:lnTo>
                    <a:pt x="798" y="511"/>
                  </a:lnTo>
                  <a:lnTo>
                    <a:pt x="797" y="517"/>
                  </a:lnTo>
                  <a:lnTo>
                    <a:pt x="795" y="523"/>
                  </a:lnTo>
                  <a:lnTo>
                    <a:pt x="795" y="527"/>
                  </a:lnTo>
                  <a:lnTo>
                    <a:pt x="795" y="530"/>
                  </a:lnTo>
                  <a:lnTo>
                    <a:pt x="796" y="533"/>
                  </a:lnTo>
                  <a:lnTo>
                    <a:pt x="798" y="535"/>
                  </a:lnTo>
                  <a:lnTo>
                    <a:pt x="788" y="539"/>
                  </a:lnTo>
                  <a:lnTo>
                    <a:pt x="779" y="543"/>
                  </a:lnTo>
                  <a:lnTo>
                    <a:pt x="771" y="547"/>
                  </a:lnTo>
                  <a:lnTo>
                    <a:pt x="765" y="551"/>
                  </a:lnTo>
                  <a:lnTo>
                    <a:pt x="758" y="554"/>
                  </a:lnTo>
                  <a:lnTo>
                    <a:pt x="752" y="558"/>
                  </a:lnTo>
                  <a:lnTo>
                    <a:pt x="745" y="560"/>
                  </a:lnTo>
                  <a:lnTo>
                    <a:pt x="737" y="560"/>
                  </a:lnTo>
                  <a:lnTo>
                    <a:pt x="723" y="559"/>
                  </a:lnTo>
                  <a:lnTo>
                    <a:pt x="708" y="556"/>
                  </a:lnTo>
                  <a:lnTo>
                    <a:pt x="695" y="552"/>
                  </a:lnTo>
                  <a:lnTo>
                    <a:pt x="681" y="546"/>
                  </a:lnTo>
                  <a:lnTo>
                    <a:pt x="669" y="540"/>
                  </a:lnTo>
                  <a:lnTo>
                    <a:pt x="659" y="531"/>
                  </a:lnTo>
                  <a:lnTo>
                    <a:pt x="651" y="524"/>
                  </a:lnTo>
                  <a:lnTo>
                    <a:pt x="644" y="517"/>
                  </a:lnTo>
                  <a:lnTo>
                    <a:pt x="618" y="517"/>
                  </a:lnTo>
                  <a:lnTo>
                    <a:pt x="621" y="525"/>
                  </a:lnTo>
                  <a:lnTo>
                    <a:pt x="624" y="531"/>
                  </a:lnTo>
                  <a:lnTo>
                    <a:pt x="629" y="538"/>
                  </a:lnTo>
                  <a:lnTo>
                    <a:pt x="634" y="543"/>
                  </a:lnTo>
                  <a:lnTo>
                    <a:pt x="645" y="552"/>
                  </a:lnTo>
                  <a:lnTo>
                    <a:pt x="657" y="560"/>
                  </a:lnTo>
                  <a:lnTo>
                    <a:pt x="668" y="567"/>
                  </a:lnTo>
                  <a:lnTo>
                    <a:pt x="678" y="575"/>
                  </a:lnTo>
                  <a:lnTo>
                    <a:pt x="683" y="580"/>
                  </a:lnTo>
                  <a:lnTo>
                    <a:pt x="687" y="585"/>
                  </a:lnTo>
                  <a:lnTo>
                    <a:pt x="689" y="590"/>
                  </a:lnTo>
                  <a:lnTo>
                    <a:pt x="691" y="598"/>
                  </a:lnTo>
                  <a:lnTo>
                    <a:pt x="678" y="601"/>
                  </a:lnTo>
                  <a:lnTo>
                    <a:pt x="665" y="604"/>
                  </a:lnTo>
                  <a:lnTo>
                    <a:pt x="644" y="603"/>
                  </a:lnTo>
                  <a:lnTo>
                    <a:pt x="618" y="599"/>
                  </a:lnTo>
                  <a:lnTo>
                    <a:pt x="589" y="592"/>
                  </a:lnTo>
                  <a:lnTo>
                    <a:pt x="558" y="584"/>
                  </a:lnTo>
                  <a:lnTo>
                    <a:pt x="544" y="580"/>
                  </a:lnTo>
                  <a:lnTo>
                    <a:pt x="531" y="575"/>
                  </a:lnTo>
                  <a:lnTo>
                    <a:pt x="518" y="570"/>
                  </a:lnTo>
                  <a:lnTo>
                    <a:pt x="507" y="565"/>
                  </a:lnTo>
                  <a:lnTo>
                    <a:pt x="497" y="559"/>
                  </a:lnTo>
                  <a:lnTo>
                    <a:pt x="488" y="554"/>
                  </a:lnTo>
                  <a:lnTo>
                    <a:pt x="483" y="548"/>
                  </a:lnTo>
                  <a:lnTo>
                    <a:pt x="478" y="542"/>
                  </a:lnTo>
                  <a:lnTo>
                    <a:pt x="475" y="532"/>
                  </a:lnTo>
                  <a:lnTo>
                    <a:pt x="471" y="523"/>
                  </a:lnTo>
                  <a:lnTo>
                    <a:pt x="464" y="513"/>
                  </a:lnTo>
                  <a:lnTo>
                    <a:pt x="457" y="504"/>
                  </a:lnTo>
                  <a:lnTo>
                    <a:pt x="451" y="496"/>
                  </a:lnTo>
                  <a:lnTo>
                    <a:pt x="444" y="489"/>
                  </a:lnTo>
                  <a:lnTo>
                    <a:pt x="438" y="484"/>
                  </a:lnTo>
                  <a:lnTo>
                    <a:pt x="432" y="480"/>
                  </a:lnTo>
                  <a:lnTo>
                    <a:pt x="410" y="473"/>
                  </a:lnTo>
                  <a:lnTo>
                    <a:pt x="388" y="468"/>
                  </a:lnTo>
                  <a:lnTo>
                    <a:pt x="384" y="467"/>
                  </a:lnTo>
                  <a:lnTo>
                    <a:pt x="379" y="465"/>
                  </a:lnTo>
                  <a:lnTo>
                    <a:pt x="375" y="463"/>
                  </a:lnTo>
                  <a:lnTo>
                    <a:pt x="372" y="460"/>
                  </a:lnTo>
                  <a:lnTo>
                    <a:pt x="370" y="457"/>
                  </a:lnTo>
                  <a:lnTo>
                    <a:pt x="367" y="453"/>
                  </a:lnTo>
                  <a:lnTo>
                    <a:pt x="366" y="449"/>
                  </a:lnTo>
                  <a:lnTo>
                    <a:pt x="365" y="444"/>
                  </a:lnTo>
                  <a:lnTo>
                    <a:pt x="366" y="441"/>
                  </a:lnTo>
                  <a:lnTo>
                    <a:pt x="368" y="439"/>
                  </a:lnTo>
                  <a:lnTo>
                    <a:pt x="373" y="437"/>
                  </a:lnTo>
                  <a:lnTo>
                    <a:pt x="378" y="436"/>
                  </a:lnTo>
                  <a:lnTo>
                    <a:pt x="392" y="433"/>
                  </a:lnTo>
                  <a:lnTo>
                    <a:pt x="406" y="430"/>
                  </a:lnTo>
                  <a:lnTo>
                    <a:pt x="435" y="427"/>
                  </a:lnTo>
                  <a:lnTo>
                    <a:pt x="452" y="424"/>
                  </a:lnTo>
                  <a:lnTo>
                    <a:pt x="452" y="416"/>
                  </a:lnTo>
                  <a:lnTo>
                    <a:pt x="454" y="409"/>
                  </a:lnTo>
                  <a:lnTo>
                    <a:pt x="456" y="404"/>
                  </a:lnTo>
                  <a:lnTo>
                    <a:pt x="459" y="399"/>
                  </a:lnTo>
                  <a:lnTo>
                    <a:pt x="461" y="394"/>
                  </a:lnTo>
                  <a:lnTo>
                    <a:pt x="463" y="390"/>
                  </a:lnTo>
                  <a:lnTo>
                    <a:pt x="465" y="386"/>
                  </a:lnTo>
                  <a:lnTo>
                    <a:pt x="465" y="382"/>
                  </a:lnTo>
                  <a:lnTo>
                    <a:pt x="479" y="382"/>
                  </a:lnTo>
                  <a:lnTo>
                    <a:pt x="490" y="380"/>
                  </a:lnTo>
                  <a:lnTo>
                    <a:pt x="500" y="378"/>
                  </a:lnTo>
                  <a:lnTo>
                    <a:pt x="508" y="375"/>
                  </a:lnTo>
                  <a:lnTo>
                    <a:pt x="521" y="368"/>
                  </a:lnTo>
                  <a:lnTo>
                    <a:pt x="532" y="363"/>
                  </a:lnTo>
                  <a:lnTo>
                    <a:pt x="572" y="363"/>
                  </a:lnTo>
                  <a:lnTo>
                    <a:pt x="573" y="369"/>
                  </a:lnTo>
                  <a:lnTo>
                    <a:pt x="575" y="376"/>
                  </a:lnTo>
                  <a:lnTo>
                    <a:pt x="577" y="380"/>
                  </a:lnTo>
                  <a:lnTo>
                    <a:pt x="580" y="384"/>
                  </a:lnTo>
                  <a:lnTo>
                    <a:pt x="583" y="387"/>
                  </a:lnTo>
                  <a:lnTo>
                    <a:pt x="587" y="389"/>
                  </a:lnTo>
                  <a:lnTo>
                    <a:pt x="590" y="391"/>
                  </a:lnTo>
                  <a:lnTo>
                    <a:pt x="595" y="393"/>
                  </a:lnTo>
                  <a:lnTo>
                    <a:pt x="603" y="394"/>
                  </a:lnTo>
                  <a:lnTo>
                    <a:pt x="614" y="395"/>
                  </a:lnTo>
                  <a:lnTo>
                    <a:pt x="625" y="394"/>
                  </a:lnTo>
                  <a:lnTo>
                    <a:pt x="637" y="394"/>
                  </a:lnTo>
                  <a:lnTo>
                    <a:pt x="650" y="394"/>
                  </a:lnTo>
                  <a:lnTo>
                    <a:pt x="659" y="393"/>
                  </a:lnTo>
                  <a:lnTo>
                    <a:pt x="668" y="392"/>
                  </a:lnTo>
                  <a:lnTo>
                    <a:pt x="675" y="390"/>
                  </a:lnTo>
                  <a:lnTo>
                    <a:pt x="687" y="387"/>
                  </a:lnTo>
                  <a:lnTo>
                    <a:pt x="698" y="382"/>
                  </a:lnTo>
                  <a:lnTo>
                    <a:pt x="698" y="373"/>
                  </a:lnTo>
                  <a:lnTo>
                    <a:pt x="698" y="363"/>
                  </a:lnTo>
                  <a:lnTo>
                    <a:pt x="605" y="351"/>
                  </a:lnTo>
                  <a:lnTo>
                    <a:pt x="596" y="351"/>
                  </a:lnTo>
                  <a:lnTo>
                    <a:pt x="588" y="353"/>
                  </a:lnTo>
                  <a:lnTo>
                    <a:pt x="581" y="355"/>
                  </a:lnTo>
                  <a:lnTo>
                    <a:pt x="576" y="357"/>
                  </a:lnTo>
                  <a:lnTo>
                    <a:pt x="572" y="359"/>
                  </a:lnTo>
                  <a:lnTo>
                    <a:pt x="567" y="361"/>
                  </a:lnTo>
                  <a:lnTo>
                    <a:pt x="563" y="362"/>
                  </a:lnTo>
                  <a:lnTo>
                    <a:pt x="558" y="363"/>
                  </a:lnTo>
                  <a:lnTo>
                    <a:pt x="550" y="362"/>
                  </a:lnTo>
                  <a:lnTo>
                    <a:pt x="542" y="361"/>
                  </a:lnTo>
                  <a:lnTo>
                    <a:pt x="540" y="360"/>
                  </a:lnTo>
                  <a:lnTo>
                    <a:pt x="536" y="360"/>
                  </a:lnTo>
                  <a:lnTo>
                    <a:pt x="534" y="361"/>
                  </a:lnTo>
                  <a:lnTo>
                    <a:pt x="532" y="363"/>
                  </a:lnTo>
                  <a:lnTo>
                    <a:pt x="533" y="358"/>
                  </a:lnTo>
                  <a:lnTo>
                    <a:pt x="535" y="354"/>
                  </a:lnTo>
                  <a:lnTo>
                    <a:pt x="539" y="350"/>
                  </a:lnTo>
                  <a:lnTo>
                    <a:pt x="542" y="347"/>
                  </a:lnTo>
                  <a:lnTo>
                    <a:pt x="550" y="339"/>
                  </a:lnTo>
                  <a:lnTo>
                    <a:pt x="557" y="332"/>
                  </a:lnTo>
                  <a:lnTo>
                    <a:pt x="565" y="324"/>
                  </a:lnTo>
                  <a:lnTo>
                    <a:pt x="572" y="316"/>
                  </a:lnTo>
                  <a:lnTo>
                    <a:pt x="574" y="311"/>
                  </a:lnTo>
                  <a:lnTo>
                    <a:pt x="576" y="306"/>
                  </a:lnTo>
                  <a:lnTo>
                    <a:pt x="577" y="301"/>
                  </a:lnTo>
                  <a:lnTo>
                    <a:pt x="578" y="295"/>
                  </a:lnTo>
                  <a:lnTo>
                    <a:pt x="577" y="290"/>
                  </a:lnTo>
                  <a:lnTo>
                    <a:pt x="576" y="283"/>
                  </a:lnTo>
                  <a:lnTo>
                    <a:pt x="575" y="280"/>
                  </a:lnTo>
                  <a:lnTo>
                    <a:pt x="575" y="277"/>
                  </a:lnTo>
                  <a:lnTo>
                    <a:pt x="576" y="274"/>
                  </a:lnTo>
                  <a:lnTo>
                    <a:pt x="578" y="271"/>
                  </a:lnTo>
                  <a:lnTo>
                    <a:pt x="568" y="271"/>
                  </a:lnTo>
                  <a:lnTo>
                    <a:pt x="558" y="269"/>
                  </a:lnTo>
                  <a:lnTo>
                    <a:pt x="550" y="267"/>
                  </a:lnTo>
                  <a:lnTo>
                    <a:pt x="541" y="263"/>
                  </a:lnTo>
                  <a:lnTo>
                    <a:pt x="533" y="258"/>
                  </a:lnTo>
                  <a:lnTo>
                    <a:pt x="524" y="254"/>
                  </a:lnTo>
                  <a:lnTo>
                    <a:pt x="518" y="248"/>
                  </a:lnTo>
                  <a:lnTo>
                    <a:pt x="511" y="243"/>
                  </a:lnTo>
                  <a:lnTo>
                    <a:pt x="499" y="231"/>
                  </a:lnTo>
                  <a:lnTo>
                    <a:pt x="489" y="219"/>
                  </a:lnTo>
                  <a:lnTo>
                    <a:pt x="483" y="208"/>
                  </a:lnTo>
                  <a:lnTo>
                    <a:pt x="478" y="196"/>
                  </a:lnTo>
                  <a:lnTo>
                    <a:pt x="473" y="198"/>
                  </a:lnTo>
                  <a:lnTo>
                    <a:pt x="467" y="198"/>
                  </a:lnTo>
                  <a:lnTo>
                    <a:pt x="463" y="198"/>
                  </a:lnTo>
                  <a:lnTo>
                    <a:pt x="459" y="196"/>
                  </a:lnTo>
                  <a:lnTo>
                    <a:pt x="452" y="190"/>
                  </a:lnTo>
                  <a:lnTo>
                    <a:pt x="446" y="183"/>
                  </a:lnTo>
                  <a:lnTo>
                    <a:pt x="441" y="175"/>
                  </a:lnTo>
                  <a:lnTo>
                    <a:pt x="434" y="168"/>
                  </a:lnTo>
                  <a:lnTo>
                    <a:pt x="431" y="165"/>
                  </a:lnTo>
                  <a:lnTo>
                    <a:pt x="428" y="162"/>
                  </a:lnTo>
                  <a:lnTo>
                    <a:pt x="423" y="161"/>
                  </a:lnTo>
                  <a:lnTo>
                    <a:pt x="419" y="160"/>
                  </a:lnTo>
                  <a:lnTo>
                    <a:pt x="415" y="161"/>
                  </a:lnTo>
                  <a:lnTo>
                    <a:pt x="411" y="162"/>
                  </a:lnTo>
                  <a:lnTo>
                    <a:pt x="408" y="163"/>
                  </a:lnTo>
                  <a:lnTo>
                    <a:pt x="404" y="165"/>
                  </a:lnTo>
                  <a:lnTo>
                    <a:pt x="397" y="170"/>
                  </a:lnTo>
                  <a:lnTo>
                    <a:pt x="392" y="177"/>
                  </a:lnTo>
                  <a:lnTo>
                    <a:pt x="386" y="184"/>
                  </a:lnTo>
                  <a:lnTo>
                    <a:pt x="382" y="191"/>
                  </a:lnTo>
                  <a:lnTo>
                    <a:pt x="379" y="197"/>
                  </a:lnTo>
                  <a:lnTo>
                    <a:pt x="378" y="203"/>
                  </a:lnTo>
                  <a:lnTo>
                    <a:pt x="339" y="203"/>
                  </a:lnTo>
                  <a:lnTo>
                    <a:pt x="317" y="194"/>
                  </a:lnTo>
                  <a:lnTo>
                    <a:pt x="295" y="188"/>
                  </a:lnTo>
                  <a:lnTo>
                    <a:pt x="273" y="182"/>
                  </a:lnTo>
                  <a:lnTo>
                    <a:pt x="252" y="178"/>
                  </a:lnTo>
                  <a:lnTo>
                    <a:pt x="230" y="176"/>
                  </a:lnTo>
                  <a:lnTo>
                    <a:pt x="207" y="174"/>
                  </a:lnTo>
                  <a:lnTo>
                    <a:pt x="184" y="173"/>
                  </a:lnTo>
                  <a:lnTo>
                    <a:pt x="160" y="172"/>
                  </a:lnTo>
                  <a:lnTo>
                    <a:pt x="148" y="173"/>
                  </a:lnTo>
                  <a:lnTo>
                    <a:pt x="138" y="176"/>
                  </a:lnTo>
                  <a:lnTo>
                    <a:pt x="129" y="180"/>
                  </a:lnTo>
                  <a:lnTo>
                    <a:pt x="121" y="184"/>
                  </a:lnTo>
                  <a:lnTo>
                    <a:pt x="114" y="189"/>
                  </a:lnTo>
                  <a:lnTo>
                    <a:pt x="107" y="193"/>
                  </a:lnTo>
                  <a:lnTo>
                    <a:pt x="101" y="195"/>
                  </a:lnTo>
                  <a:lnTo>
                    <a:pt x="93" y="196"/>
                  </a:lnTo>
                  <a:lnTo>
                    <a:pt x="88" y="196"/>
                  </a:lnTo>
                  <a:lnTo>
                    <a:pt x="84" y="194"/>
                  </a:lnTo>
                  <a:lnTo>
                    <a:pt x="81" y="190"/>
                  </a:lnTo>
                  <a:lnTo>
                    <a:pt x="79" y="187"/>
                  </a:lnTo>
                  <a:lnTo>
                    <a:pt x="74" y="179"/>
                  </a:lnTo>
                  <a:lnTo>
                    <a:pt x="73" y="172"/>
                  </a:lnTo>
                  <a:lnTo>
                    <a:pt x="50" y="177"/>
                  </a:lnTo>
                  <a:lnTo>
                    <a:pt x="29" y="181"/>
                  </a:lnTo>
                  <a:lnTo>
                    <a:pt x="25" y="181"/>
                  </a:lnTo>
                  <a:lnTo>
                    <a:pt x="20" y="180"/>
                  </a:lnTo>
                  <a:lnTo>
                    <a:pt x="16" y="180"/>
                  </a:lnTo>
                  <a:lnTo>
                    <a:pt x="13" y="178"/>
                  </a:lnTo>
                  <a:lnTo>
                    <a:pt x="8" y="176"/>
                  </a:lnTo>
                  <a:lnTo>
                    <a:pt x="6" y="174"/>
                  </a:lnTo>
                  <a:lnTo>
                    <a:pt x="3" y="170"/>
                  </a:lnTo>
                  <a:lnTo>
                    <a:pt x="0" y="166"/>
                  </a:lnTo>
                  <a:lnTo>
                    <a:pt x="4" y="162"/>
                  </a:lnTo>
                  <a:lnTo>
                    <a:pt x="9" y="158"/>
                  </a:lnTo>
                  <a:lnTo>
                    <a:pt x="14" y="155"/>
                  </a:lnTo>
                  <a:lnTo>
                    <a:pt x="20" y="152"/>
                  </a:lnTo>
                  <a:lnTo>
                    <a:pt x="32" y="149"/>
                  </a:lnTo>
                  <a:lnTo>
                    <a:pt x="46" y="146"/>
                  </a:lnTo>
                  <a:lnTo>
                    <a:pt x="59" y="145"/>
                  </a:lnTo>
                  <a:lnTo>
                    <a:pt x="70" y="147"/>
                  </a:lnTo>
                  <a:lnTo>
                    <a:pt x="75" y="149"/>
                  </a:lnTo>
                  <a:lnTo>
                    <a:pt x="80" y="150"/>
                  </a:lnTo>
                  <a:lnTo>
                    <a:pt x="83" y="152"/>
                  </a:lnTo>
                  <a:lnTo>
                    <a:pt x="86" y="154"/>
                  </a:lnTo>
                  <a:lnTo>
                    <a:pt x="86" y="139"/>
                  </a:lnTo>
                  <a:lnTo>
                    <a:pt x="86" y="129"/>
                  </a:lnTo>
                  <a:lnTo>
                    <a:pt x="73" y="12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465" name="Freeform 417"/>
            <p:cNvSpPr>
              <a:spLocks/>
            </p:cNvSpPr>
            <p:nvPr/>
          </p:nvSpPr>
          <p:spPr bwMode="auto">
            <a:xfrm>
              <a:off x="1528" y="1110"/>
              <a:ext cx="409" cy="105"/>
            </a:xfrm>
            <a:custGeom>
              <a:avLst/>
              <a:gdLst/>
              <a:ahLst/>
              <a:cxnLst>
                <a:cxn ang="0">
                  <a:pos x="797" y="38"/>
                </a:cxn>
                <a:cxn ang="0">
                  <a:pos x="813" y="16"/>
                </a:cxn>
                <a:cxn ang="0">
                  <a:pos x="846" y="10"/>
                </a:cxn>
                <a:cxn ang="0">
                  <a:pos x="865" y="25"/>
                </a:cxn>
                <a:cxn ang="0">
                  <a:pos x="938" y="14"/>
                </a:cxn>
                <a:cxn ang="0">
                  <a:pos x="1020" y="1"/>
                </a:cxn>
                <a:cxn ang="0">
                  <a:pos x="1084" y="17"/>
                </a:cxn>
                <a:cxn ang="0">
                  <a:pos x="1133" y="20"/>
                </a:cxn>
                <a:cxn ang="0">
                  <a:pos x="1268" y="32"/>
                </a:cxn>
                <a:cxn ang="0">
                  <a:pos x="1242" y="50"/>
                </a:cxn>
                <a:cxn ang="0">
                  <a:pos x="1163" y="64"/>
                </a:cxn>
                <a:cxn ang="0">
                  <a:pos x="1053" y="77"/>
                </a:cxn>
                <a:cxn ang="0">
                  <a:pos x="1029" y="96"/>
                </a:cxn>
                <a:cxn ang="0">
                  <a:pos x="999" y="104"/>
                </a:cxn>
                <a:cxn ang="0">
                  <a:pos x="942" y="102"/>
                </a:cxn>
                <a:cxn ang="0">
                  <a:pos x="930" y="118"/>
                </a:cxn>
                <a:cxn ang="0">
                  <a:pos x="747" y="133"/>
                </a:cxn>
                <a:cxn ang="0">
                  <a:pos x="666" y="156"/>
                </a:cxn>
                <a:cxn ang="0">
                  <a:pos x="635" y="181"/>
                </a:cxn>
                <a:cxn ang="0">
                  <a:pos x="591" y="167"/>
                </a:cxn>
                <a:cxn ang="0">
                  <a:pos x="570" y="181"/>
                </a:cxn>
                <a:cxn ang="0">
                  <a:pos x="590" y="207"/>
                </a:cxn>
                <a:cxn ang="0">
                  <a:pos x="545" y="237"/>
                </a:cxn>
                <a:cxn ang="0">
                  <a:pos x="483" y="236"/>
                </a:cxn>
                <a:cxn ang="0">
                  <a:pos x="404" y="242"/>
                </a:cxn>
                <a:cxn ang="0">
                  <a:pos x="405" y="257"/>
                </a:cxn>
                <a:cxn ang="0">
                  <a:pos x="392" y="293"/>
                </a:cxn>
                <a:cxn ang="0">
                  <a:pos x="333" y="320"/>
                </a:cxn>
                <a:cxn ang="0">
                  <a:pos x="290" y="296"/>
                </a:cxn>
                <a:cxn ang="0">
                  <a:pos x="253" y="285"/>
                </a:cxn>
                <a:cxn ang="0">
                  <a:pos x="96" y="276"/>
                </a:cxn>
                <a:cxn ang="0">
                  <a:pos x="0" y="285"/>
                </a:cxn>
                <a:cxn ang="0">
                  <a:pos x="10" y="266"/>
                </a:cxn>
                <a:cxn ang="0">
                  <a:pos x="56" y="246"/>
                </a:cxn>
                <a:cxn ang="0">
                  <a:pos x="143" y="235"/>
                </a:cxn>
                <a:cxn ang="0">
                  <a:pos x="170" y="225"/>
                </a:cxn>
                <a:cxn ang="0">
                  <a:pos x="190" y="217"/>
                </a:cxn>
                <a:cxn ang="0">
                  <a:pos x="219" y="232"/>
                </a:cxn>
                <a:cxn ang="0">
                  <a:pos x="247" y="247"/>
                </a:cxn>
                <a:cxn ang="0">
                  <a:pos x="208" y="207"/>
                </a:cxn>
                <a:cxn ang="0">
                  <a:pos x="193" y="200"/>
                </a:cxn>
                <a:cxn ang="0">
                  <a:pos x="197" y="181"/>
                </a:cxn>
                <a:cxn ang="0">
                  <a:pos x="246" y="174"/>
                </a:cxn>
                <a:cxn ang="0">
                  <a:pos x="365" y="186"/>
                </a:cxn>
                <a:cxn ang="0">
                  <a:pos x="418" y="174"/>
                </a:cxn>
                <a:cxn ang="0">
                  <a:pos x="322" y="169"/>
                </a:cxn>
                <a:cxn ang="0">
                  <a:pos x="299" y="149"/>
                </a:cxn>
                <a:cxn ang="0">
                  <a:pos x="378" y="137"/>
                </a:cxn>
                <a:cxn ang="0">
                  <a:pos x="438" y="155"/>
                </a:cxn>
                <a:cxn ang="0">
                  <a:pos x="478" y="124"/>
                </a:cxn>
                <a:cxn ang="0">
                  <a:pos x="664" y="87"/>
                </a:cxn>
                <a:cxn ang="0">
                  <a:pos x="589" y="110"/>
                </a:cxn>
                <a:cxn ang="0">
                  <a:pos x="449" y="111"/>
                </a:cxn>
                <a:cxn ang="0">
                  <a:pos x="312" y="116"/>
                </a:cxn>
                <a:cxn ang="0">
                  <a:pos x="253" y="101"/>
                </a:cxn>
                <a:cxn ang="0">
                  <a:pos x="219" y="80"/>
                </a:cxn>
                <a:cxn ang="0">
                  <a:pos x="253" y="71"/>
                </a:cxn>
                <a:cxn ang="0">
                  <a:pos x="446" y="47"/>
                </a:cxn>
                <a:cxn ang="0">
                  <a:pos x="618" y="32"/>
                </a:cxn>
                <a:cxn ang="0">
                  <a:pos x="674" y="20"/>
                </a:cxn>
                <a:cxn ang="0">
                  <a:pos x="757" y="26"/>
                </a:cxn>
              </a:cxnLst>
              <a:rect l="0" t="0" r="r" b="b"/>
              <a:pathLst>
                <a:path w="1268" h="321">
                  <a:moveTo>
                    <a:pt x="764" y="26"/>
                  </a:moveTo>
                  <a:lnTo>
                    <a:pt x="770" y="30"/>
                  </a:lnTo>
                  <a:lnTo>
                    <a:pt x="778" y="34"/>
                  </a:lnTo>
                  <a:lnTo>
                    <a:pt x="787" y="37"/>
                  </a:lnTo>
                  <a:lnTo>
                    <a:pt x="797" y="38"/>
                  </a:lnTo>
                  <a:lnTo>
                    <a:pt x="797" y="35"/>
                  </a:lnTo>
                  <a:lnTo>
                    <a:pt x="799" y="31"/>
                  </a:lnTo>
                  <a:lnTo>
                    <a:pt x="803" y="26"/>
                  </a:lnTo>
                  <a:lnTo>
                    <a:pt x="807" y="20"/>
                  </a:lnTo>
                  <a:lnTo>
                    <a:pt x="813" y="16"/>
                  </a:lnTo>
                  <a:lnTo>
                    <a:pt x="819" y="11"/>
                  </a:lnTo>
                  <a:lnTo>
                    <a:pt x="828" y="9"/>
                  </a:lnTo>
                  <a:lnTo>
                    <a:pt x="837" y="8"/>
                  </a:lnTo>
                  <a:lnTo>
                    <a:pt x="841" y="8"/>
                  </a:lnTo>
                  <a:lnTo>
                    <a:pt x="846" y="10"/>
                  </a:lnTo>
                  <a:lnTo>
                    <a:pt x="850" y="13"/>
                  </a:lnTo>
                  <a:lnTo>
                    <a:pt x="853" y="17"/>
                  </a:lnTo>
                  <a:lnTo>
                    <a:pt x="858" y="20"/>
                  </a:lnTo>
                  <a:lnTo>
                    <a:pt x="861" y="23"/>
                  </a:lnTo>
                  <a:lnTo>
                    <a:pt x="865" y="25"/>
                  </a:lnTo>
                  <a:lnTo>
                    <a:pt x="870" y="26"/>
                  </a:lnTo>
                  <a:lnTo>
                    <a:pt x="888" y="25"/>
                  </a:lnTo>
                  <a:lnTo>
                    <a:pt x="906" y="22"/>
                  </a:lnTo>
                  <a:lnTo>
                    <a:pt x="921" y="18"/>
                  </a:lnTo>
                  <a:lnTo>
                    <a:pt x="938" y="14"/>
                  </a:lnTo>
                  <a:lnTo>
                    <a:pt x="953" y="9"/>
                  </a:lnTo>
                  <a:lnTo>
                    <a:pt x="970" y="4"/>
                  </a:lnTo>
                  <a:lnTo>
                    <a:pt x="988" y="2"/>
                  </a:lnTo>
                  <a:lnTo>
                    <a:pt x="1009" y="0"/>
                  </a:lnTo>
                  <a:lnTo>
                    <a:pt x="1020" y="1"/>
                  </a:lnTo>
                  <a:lnTo>
                    <a:pt x="1032" y="3"/>
                  </a:lnTo>
                  <a:lnTo>
                    <a:pt x="1045" y="7"/>
                  </a:lnTo>
                  <a:lnTo>
                    <a:pt x="1059" y="11"/>
                  </a:lnTo>
                  <a:lnTo>
                    <a:pt x="1072" y="14"/>
                  </a:lnTo>
                  <a:lnTo>
                    <a:pt x="1084" y="17"/>
                  </a:lnTo>
                  <a:lnTo>
                    <a:pt x="1094" y="19"/>
                  </a:lnTo>
                  <a:lnTo>
                    <a:pt x="1103" y="20"/>
                  </a:lnTo>
                  <a:lnTo>
                    <a:pt x="1115" y="20"/>
                  </a:lnTo>
                  <a:lnTo>
                    <a:pt x="1123" y="20"/>
                  </a:lnTo>
                  <a:lnTo>
                    <a:pt x="1133" y="20"/>
                  </a:lnTo>
                  <a:lnTo>
                    <a:pt x="1149" y="20"/>
                  </a:lnTo>
                  <a:lnTo>
                    <a:pt x="1180" y="21"/>
                  </a:lnTo>
                  <a:lnTo>
                    <a:pt x="1209" y="23"/>
                  </a:lnTo>
                  <a:lnTo>
                    <a:pt x="1236" y="27"/>
                  </a:lnTo>
                  <a:lnTo>
                    <a:pt x="1268" y="32"/>
                  </a:lnTo>
                  <a:lnTo>
                    <a:pt x="1266" y="36"/>
                  </a:lnTo>
                  <a:lnTo>
                    <a:pt x="1263" y="39"/>
                  </a:lnTo>
                  <a:lnTo>
                    <a:pt x="1258" y="42"/>
                  </a:lnTo>
                  <a:lnTo>
                    <a:pt x="1253" y="45"/>
                  </a:lnTo>
                  <a:lnTo>
                    <a:pt x="1242" y="50"/>
                  </a:lnTo>
                  <a:lnTo>
                    <a:pt x="1229" y="54"/>
                  </a:lnTo>
                  <a:lnTo>
                    <a:pt x="1213" y="57"/>
                  </a:lnTo>
                  <a:lnTo>
                    <a:pt x="1198" y="59"/>
                  </a:lnTo>
                  <a:lnTo>
                    <a:pt x="1180" y="62"/>
                  </a:lnTo>
                  <a:lnTo>
                    <a:pt x="1163" y="64"/>
                  </a:lnTo>
                  <a:lnTo>
                    <a:pt x="1128" y="66"/>
                  </a:lnTo>
                  <a:lnTo>
                    <a:pt x="1094" y="69"/>
                  </a:lnTo>
                  <a:lnTo>
                    <a:pt x="1078" y="71"/>
                  </a:lnTo>
                  <a:lnTo>
                    <a:pt x="1065" y="74"/>
                  </a:lnTo>
                  <a:lnTo>
                    <a:pt x="1053" y="77"/>
                  </a:lnTo>
                  <a:lnTo>
                    <a:pt x="1043" y="81"/>
                  </a:lnTo>
                  <a:lnTo>
                    <a:pt x="1039" y="84"/>
                  </a:lnTo>
                  <a:lnTo>
                    <a:pt x="1034" y="87"/>
                  </a:lnTo>
                  <a:lnTo>
                    <a:pt x="1031" y="91"/>
                  </a:lnTo>
                  <a:lnTo>
                    <a:pt x="1029" y="96"/>
                  </a:lnTo>
                  <a:lnTo>
                    <a:pt x="1026" y="99"/>
                  </a:lnTo>
                  <a:lnTo>
                    <a:pt x="1021" y="102"/>
                  </a:lnTo>
                  <a:lnTo>
                    <a:pt x="1016" y="105"/>
                  </a:lnTo>
                  <a:lnTo>
                    <a:pt x="1009" y="105"/>
                  </a:lnTo>
                  <a:lnTo>
                    <a:pt x="999" y="104"/>
                  </a:lnTo>
                  <a:lnTo>
                    <a:pt x="991" y="102"/>
                  </a:lnTo>
                  <a:lnTo>
                    <a:pt x="983" y="98"/>
                  </a:lnTo>
                  <a:lnTo>
                    <a:pt x="976" y="93"/>
                  </a:lnTo>
                  <a:lnTo>
                    <a:pt x="943" y="93"/>
                  </a:lnTo>
                  <a:lnTo>
                    <a:pt x="942" y="102"/>
                  </a:lnTo>
                  <a:lnTo>
                    <a:pt x="939" y="110"/>
                  </a:lnTo>
                  <a:lnTo>
                    <a:pt x="937" y="113"/>
                  </a:lnTo>
                  <a:lnTo>
                    <a:pt x="935" y="115"/>
                  </a:lnTo>
                  <a:lnTo>
                    <a:pt x="932" y="118"/>
                  </a:lnTo>
                  <a:lnTo>
                    <a:pt x="930" y="118"/>
                  </a:lnTo>
                  <a:lnTo>
                    <a:pt x="902" y="119"/>
                  </a:lnTo>
                  <a:lnTo>
                    <a:pt x="862" y="120"/>
                  </a:lnTo>
                  <a:lnTo>
                    <a:pt x="818" y="124"/>
                  </a:lnTo>
                  <a:lnTo>
                    <a:pt x="771" y="129"/>
                  </a:lnTo>
                  <a:lnTo>
                    <a:pt x="747" y="133"/>
                  </a:lnTo>
                  <a:lnTo>
                    <a:pt x="725" y="137"/>
                  </a:lnTo>
                  <a:lnTo>
                    <a:pt x="703" y="143"/>
                  </a:lnTo>
                  <a:lnTo>
                    <a:pt x="683" y="149"/>
                  </a:lnTo>
                  <a:lnTo>
                    <a:pt x="674" y="153"/>
                  </a:lnTo>
                  <a:lnTo>
                    <a:pt x="666" y="156"/>
                  </a:lnTo>
                  <a:lnTo>
                    <a:pt x="658" y="160"/>
                  </a:lnTo>
                  <a:lnTo>
                    <a:pt x="651" y="165"/>
                  </a:lnTo>
                  <a:lnTo>
                    <a:pt x="645" y="169"/>
                  </a:lnTo>
                  <a:lnTo>
                    <a:pt x="639" y="175"/>
                  </a:lnTo>
                  <a:lnTo>
                    <a:pt x="635" y="181"/>
                  </a:lnTo>
                  <a:lnTo>
                    <a:pt x="630" y="186"/>
                  </a:lnTo>
                  <a:lnTo>
                    <a:pt x="604" y="186"/>
                  </a:lnTo>
                  <a:lnTo>
                    <a:pt x="604" y="177"/>
                  </a:lnTo>
                  <a:lnTo>
                    <a:pt x="604" y="167"/>
                  </a:lnTo>
                  <a:lnTo>
                    <a:pt x="591" y="167"/>
                  </a:lnTo>
                  <a:lnTo>
                    <a:pt x="579" y="167"/>
                  </a:lnTo>
                  <a:lnTo>
                    <a:pt x="562" y="167"/>
                  </a:lnTo>
                  <a:lnTo>
                    <a:pt x="538" y="167"/>
                  </a:lnTo>
                  <a:lnTo>
                    <a:pt x="556" y="175"/>
                  </a:lnTo>
                  <a:lnTo>
                    <a:pt x="570" y="181"/>
                  </a:lnTo>
                  <a:lnTo>
                    <a:pt x="577" y="185"/>
                  </a:lnTo>
                  <a:lnTo>
                    <a:pt x="583" y="190"/>
                  </a:lnTo>
                  <a:lnTo>
                    <a:pt x="591" y="196"/>
                  </a:lnTo>
                  <a:lnTo>
                    <a:pt x="597" y="204"/>
                  </a:lnTo>
                  <a:lnTo>
                    <a:pt x="590" y="207"/>
                  </a:lnTo>
                  <a:lnTo>
                    <a:pt x="581" y="212"/>
                  </a:lnTo>
                  <a:lnTo>
                    <a:pt x="571" y="218"/>
                  </a:lnTo>
                  <a:lnTo>
                    <a:pt x="562" y="225"/>
                  </a:lnTo>
                  <a:lnTo>
                    <a:pt x="552" y="232"/>
                  </a:lnTo>
                  <a:lnTo>
                    <a:pt x="545" y="237"/>
                  </a:lnTo>
                  <a:lnTo>
                    <a:pt x="537" y="240"/>
                  </a:lnTo>
                  <a:lnTo>
                    <a:pt x="532" y="241"/>
                  </a:lnTo>
                  <a:lnTo>
                    <a:pt x="517" y="241"/>
                  </a:lnTo>
                  <a:lnTo>
                    <a:pt x="502" y="238"/>
                  </a:lnTo>
                  <a:lnTo>
                    <a:pt x="483" y="236"/>
                  </a:lnTo>
                  <a:lnTo>
                    <a:pt x="458" y="235"/>
                  </a:lnTo>
                  <a:lnTo>
                    <a:pt x="442" y="236"/>
                  </a:lnTo>
                  <a:lnTo>
                    <a:pt x="427" y="237"/>
                  </a:lnTo>
                  <a:lnTo>
                    <a:pt x="415" y="240"/>
                  </a:lnTo>
                  <a:lnTo>
                    <a:pt x="404" y="242"/>
                  </a:lnTo>
                  <a:lnTo>
                    <a:pt x="384" y="248"/>
                  </a:lnTo>
                  <a:lnTo>
                    <a:pt x="365" y="254"/>
                  </a:lnTo>
                  <a:lnTo>
                    <a:pt x="382" y="257"/>
                  </a:lnTo>
                  <a:lnTo>
                    <a:pt x="394" y="258"/>
                  </a:lnTo>
                  <a:lnTo>
                    <a:pt x="405" y="257"/>
                  </a:lnTo>
                  <a:lnTo>
                    <a:pt x="418" y="254"/>
                  </a:lnTo>
                  <a:lnTo>
                    <a:pt x="418" y="272"/>
                  </a:lnTo>
                  <a:lnTo>
                    <a:pt x="413" y="277"/>
                  </a:lnTo>
                  <a:lnTo>
                    <a:pt x="404" y="285"/>
                  </a:lnTo>
                  <a:lnTo>
                    <a:pt x="392" y="293"/>
                  </a:lnTo>
                  <a:lnTo>
                    <a:pt x="379" y="301"/>
                  </a:lnTo>
                  <a:lnTo>
                    <a:pt x="356" y="315"/>
                  </a:lnTo>
                  <a:lnTo>
                    <a:pt x="345" y="321"/>
                  </a:lnTo>
                  <a:lnTo>
                    <a:pt x="339" y="321"/>
                  </a:lnTo>
                  <a:lnTo>
                    <a:pt x="333" y="320"/>
                  </a:lnTo>
                  <a:lnTo>
                    <a:pt x="327" y="318"/>
                  </a:lnTo>
                  <a:lnTo>
                    <a:pt x="322" y="315"/>
                  </a:lnTo>
                  <a:lnTo>
                    <a:pt x="312" y="310"/>
                  </a:lnTo>
                  <a:lnTo>
                    <a:pt x="301" y="303"/>
                  </a:lnTo>
                  <a:lnTo>
                    <a:pt x="290" y="296"/>
                  </a:lnTo>
                  <a:lnTo>
                    <a:pt x="279" y="290"/>
                  </a:lnTo>
                  <a:lnTo>
                    <a:pt x="272" y="288"/>
                  </a:lnTo>
                  <a:lnTo>
                    <a:pt x="266" y="286"/>
                  </a:lnTo>
                  <a:lnTo>
                    <a:pt x="259" y="285"/>
                  </a:lnTo>
                  <a:lnTo>
                    <a:pt x="253" y="285"/>
                  </a:lnTo>
                  <a:lnTo>
                    <a:pt x="215" y="283"/>
                  </a:lnTo>
                  <a:lnTo>
                    <a:pt x="182" y="281"/>
                  </a:lnTo>
                  <a:lnTo>
                    <a:pt x="152" y="279"/>
                  </a:lnTo>
                  <a:lnTo>
                    <a:pt x="123" y="277"/>
                  </a:lnTo>
                  <a:lnTo>
                    <a:pt x="96" y="276"/>
                  </a:lnTo>
                  <a:lnTo>
                    <a:pt x="66" y="276"/>
                  </a:lnTo>
                  <a:lnTo>
                    <a:pt x="51" y="277"/>
                  </a:lnTo>
                  <a:lnTo>
                    <a:pt x="35" y="279"/>
                  </a:lnTo>
                  <a:lnTo>
                    <a:pt x="18" y="281"/>
                  </a:lnTo>
                  <a:lnTo>
                    <a:pt x="0" y="285"/>
                  </a:lnTo>
                  <a:lnTo>
                    <a:pt x="0" y="281"/>
                  </a:lnTo>
                  <a:lnTo>
                    <a:pt x="1" y="277"/>
                  </a:lnTo>
                  <a:lnTo>
                    <a:pt x="2" y="274"/>
                  </a:lnTo>
                  <a:lnTo>
                    <a:pt x="5" y="271"/>
                  </a:lnTo>
                  <a:lnTo>
                    <a:pt x="10" y="266"/>
                  </a:lnTo>
                  <a:lnTo>
                    <a:pt x="17" y="261"/>
                  </a:lnTo>
                  <a:lnTo>
                    <a:pt x="25" y="257"/>
                  </a:lnTo>
                  <a:lnTo>
                    <a:pt x="35" y="253"/>
                  </a:lnTo>
                  <a:lnTo>
                    <a:pt x="45" y="249"/>
                  </a:lnTo>
                  <a:lnTo>
                    <a:pt x="56" y="246"/>
                  </a:lnTo>
                  <a:lnTo>
                    <a:pt x="79" y="241"/>
                  </a:lnTo>
                  <a:lnTo>
                    <a:pt x="101" y="238"/>
                  </a:lnTo>
                  <a:lnTo>
                    <a:pt x="120" y="236"/>
                  </a:lnTo>
                  <a:lnTo>
                    <a:pt x="133" y="235"/>
                  </a:lnTo>
                  <a:lnTo>
                    <a:pt x="143" y="235"/>
                  </a:lnTo>
                  <a:lnTo>
                    <a:pt x="159" y="235"/>
                  </a:lnTo>
                  <a:lnTo>
                    <a:pt x="162" y="235"/>
                  </a:lnTo>
                  <a:lnTo>
                    <a:pt x="164" y="233"/>
                  </a:lnTo>
                  <a:lnTo>
                    <a:pt x="167" y="230"/>
                  </a:lnTo>
                  <a:lnTo>
                    <a:pt x="170" y="225"/>
                  </a:lnTo>
                  <a:lnTo>
                    <a:pt x="174" y="222"/>
                  </a:lnTo>
                  <a:lnTo>
                    <a:pt x="177" y="219"/>
                  </a:lnTo>
                  <a:lnTo>
                    <a:pt x="181" y="217"/>
                  </a:lnTo>
                  <a:lnTo>
                    <a:pt x="186" y="216"/>
                  </a:lnTo>
                  <a:lnTo>
                    <a:pt x="190" y="217"/>
                  </a:lnTo>
                  <a:lnTo>
                    <a:pt x="196" y="218"/>
                  </a:lnTo>
                  <a:lnTo>
                    <a:pt x="200" y="219"/>
                  </a:lnTo>
                  <a:lnTo>
                    <a:pt x="203" y="221"/>
                  </a:lnTo>
                  <a:lnTo>
                    <a:pt x="211" y="226"/>
                  </a:lnTo>
                  <a:lnTo>
                    <a:pt x="219" y="232"/>
                  </a:lnTo>
                  <a:lnTo>
                    <a:pt x="226" y="238"/>
                  </a:lnTo>
                  <a:lnTo>
                    <a:pt x="234" y="243"/>
                  </a:lnTo>
                  <a:lnTo>
                    <a:pt x="238" y="245"/>
                  </a:lnTo>
                  <a:lnTo>
                    <a:pt x="243" y="246"/>
                  </a:lnTo>
                  <a:lnTo>
                    <a:pt x="247" y="247"/>
                  </a:lnTo>
                  <a:lnTo>
                    <a:pt x="253" y="247"/>
                  </a:lnTo>
                  <a:lnTo>
                    <a:pt x="253" y="204"/>
                  </a:lnTo>
                  <a:lnTo>
                    <a:pt x="232" y="206"/>
                  </a:lnTo>
                  <a:lnTo>
                    <a:pt x="212" y="207"/>
                  </a:lnTo>
                  <a:lnTo>
                    <a:pt x="208" y="207"/>
                  </a:lnTo>
                  <a:lnTo>
                    <a:pt x="204" y="207"/>
                  </a:lnTo>
                  <a:lnTo>
                    <a:pt x="201" y="206"/>
                  </a:lnTo>
                  <a:lnTo>
                    <a:pt x="198" y="204"/>
                  </a:lnTo>
                  <a:lnTo>
                    <a:pt x="196" y="202"/>
                  </a:lnTo>
                  <a:lnTo>
                    <a:pt x="193" y="200"/>
                  </a:lnTo>
                  <a:lnTo>
                    <a:pt x="192" y="196"/>
                  </a:lnTo>
                  <a:lnTo>
                    <a:pt x="192" y="192"/>
                  </a:lnTo>
                  <a:lnTo>
                    <a:pt x="193" y="188"/>
                  </a:lnTo>
                  <a:lnTo>
                    <a:pt x="194" y="184"/>
                  </a:lnTo>
                  <a:lnTo>
                    <a:pt x="197" y="181"/>
                  </a:lnTo>
                  <a:lnTo>
                    <a:pt x="199" y="179"/>
                  </a:lnTo>
                  <a:lnTo>
                    <a:pt x="205" y="176"/>
                  </a:lnTo>
                  <a:lnTo>
                    <a:pt x="214" y="174"/>
                  </a:lnTo>
                  <a:lnTo>
                    <a:pt x="232" y="172"/>
                  </a:lnTo>
                  <a:lnTo>
                    <a:pt x="246" y="174"/>
                  </a:lnTo>
                  <a:lnTo>
                    <a:pt x="265" y="176"/>
                  </a:lnTo>
                  <a:lnTo>
                    <a:pt x="290" y="180"/>
                  </a:lnTo>
                  <a:lnTo>
                    <a:pt x="315" y="184"/>
                  </a:lnTo>
                  <a:lnTo>
                    <a:pt x="338" y="186"/>
                  </a:lnTo>
                  <a:lnTo>
                    <a:pt x="365" y="186"/>
                  </a:lnTo>
                  <a:lnTo>
                    <a:pt x="386" y="184"/>
                  </a:lnTo>
                  <a:lnTo>
                    <a:pt x="394" y="183"/>
                  </a:lnTo>
                  <a:lnTo>
                    <a:pt x="403" y="181"/>
                  </a:lnTo>
                  <a:lnTo>
                    <a:pt x="411" y="178"/>
                  </a:lnTo>
                  <a:lnTo>
                    <a:pt x="418" y="174"/>
                  </a:lnTo>
                  <a:lnTo>
                    <a:pt x="379" y="172"/>
                  </a:lnTo>
                  <a:lnTo>
                    <a:pt x="344" y="172"/>
                  </a:lnTo>
                  <a:lnTo>
                    <a:pt x="336" y="172"/>
                  </a:lnTo>
                  <a:lnTo>
                    <a:pt x="328" y="171"/>
                  </a:lnTo>
                  <a:lnTo>
                    <a:pt x="322" y="169"/>
                  </a:lnTo>
                  <a:lnTo>
                    <a:pt x="315" y="167"/>
                  </a:lnTo>
                  <a:lnTo>
                    <a:pt x="310" y="164"/>
                  </a:lnTo>
                  <a:lnTo>
                    <a:pt x="305" y="160"/>
                  </a:lnTo>
                  <a:lnTo>
                    <a:pt x="302" y="155"/>
                  </a:lnTo>
                  <a:lnTo>
                    <a:pt x="299" y="149"/>
                  </a:lnTo>
                  <a:lnTo>
                    <a:pt x="309" y="145"/>
                  </a:lnTo>
                  <a:lnTo>
                    <a:pt x="320" y="142"/>
                  </a:lnTo>
                  <a:lnTo>
                    <a:pt x="331" y="140"/>
                  </a:lnTo>
                  <a:lnTo>
                    <a:pt x="345" y="138"/>
                  </a:lnTo>
                  <a:lnTo>
                    <a:pt x="378" y="137"/>
                  </a:lnTo>
                  <a:lnTo>
                    <a:pt x="425" y="137"/>
                  </a:lnTo>
                  <a:lnTo>
                    <a:pt x="426" y="141"/>
                  </a:lnTo>
                  <a:lnTo>
                    <a:pt x="429" y="146"/>
                  </a:lnTo>
                  <a:lnTo>
                    <a:pt x="434" y="150"/>
                  </a:lnTo>
                  <a:lnTo>
                    <a:pt x="438" y="155"/>
                  </a:lnTo>
                  <a:lnTo>
                    <a:pt x="484" y="155"/>
                  </a:lnTo>
                  <a:lnTo>
                    <a:pt x="483" y="146"/>
                  </a:lnTo>
                  <a:lnTo>
                    <a:pt x="481" y="137"/>
                  </a:lnTo>
                  <a:lnTo>
                    <a:pt x="479" y="130"/>
                  </a:lnTo>
                  <a:lnTo>
                    <a:pt x="478" y="124"/>
                  </a:lnTo>
                  <a:lnTo>
                    <a:pt x="645" y="124"/>
                  </a:lnTo>
                  <a:lnTo>
                    <a:pt x="648" y="109"/>
                  </a:lnTo>
                  <a:lnTo>
                    <a:pt x="651" y="101"/>
                  </a:lnTo>
                  <a:lnTo>
                    <a:pt x="657" y="95"/>
                  </a:lnTo>
                  <a:lnTo>
                    <a:pt x="664" y="87"/>
                  </a:lnTo>
                  <a:lnTo>
                    <a:pt x="653" y="91"/>
                  </a:lnTo>
                  <a:lnTo>
                    <a:pt x="638" y="99"/>
                  </a:lnTo>
                  <a:lnTo>
                    <a:pt x="622" y="108"/>
                  </a:lnTo>
                  <a:lnTo>
                    <a:pt x="611" y="111"/>
                  </a:lnTo>
                  <a:lnTo>
                    <a:pt x="589" y="110"/>
                  </a:lnTo>
                  <a:lnTo>
                    <a:pt x="556" y="108"/>
                  </a:lnTo>
                  <a:lnTo>
                    <a:pt x="522" y="106"/>
                  </a:lnTo>
                  <a:lnTo>
                    <a:pt x="491" y="105"/>
                  </a:lnTo>
                  <a:lnTo>
                    <a:pt x="476" y="107"/>
                  </a:lnTo>
                  <a:lnTo>
                    <a:pt x="449" y="111"/>
                  </a:lnTo>
                  <a:lnTo>
                    <a:pt x="414" y="115"/>
                  </a:lnTo>
                  <a:lnTo>
                    <a:pt x="376" y="119"/>
                  </a:lnTo>
                  <a:lnTo>
                    <a:pt x="355" y="120"/>
                  </a:lnTo>
                  <a:lnTo>
                    <a:pt x="333" y="119"/>
                  </a:lnTo>
                  <a:lnTo>
                    <a:pt x="312" y="116"/>
                  </a:lnTo>
                  <a:lnTo>
                    <a:pt x="291" y="113"/>
                  </a:lnTo>
                  <a:lnTo>
                    <a:pt x="281" y="111"/>
                  </a:lnTo>
                  <a:lnTo>
                    <a:pt x="271" y="108"/>
                  </a:lnTo>
                  <a:lnTo>
                    <a:pt x="261" y="105"/>
                  </a:lnTo>
                  <a:lnTo>
                    <a:pt x="253" y="101"/>
                  </a:lnTo>
                  <a:lnTo>
                    <a:pt x="244" y="97"/>
                  </a:lnTo>
                  <a:lnTo>
                    <a:pt x="235" y="92"/>
                  </a:lnTo>
                  <a:lnTo>
                    <a:pt x="226" y="87"/>
                  </a:lnTo>
                  <a:lnTo>
                    <a:pt x="219" y="81"/>
                  </a:lnTo>
                  <a:lnTo>
                    <a:pt x="219" y="80"/>
                  </a:lnTo>
                  <a:lnTo>
                    <a:pt x="221" y="79"/>
                  </a:lnTo>
                  <a:lnTo>
                    <a:pt x="223" y="78"/>
                  </a:lnTo>
                  <a:lnTo>
                    <a:pt x="227" y="76"/>
                  </a:lnTo>
                  <a:lnTo>
                    <a:pt x="238" y="74"/>
                  </a:lnTo>
                  <a:lnTo>
                    <a:pt x="253" y="71"/>
                  </a:lnTo>
                  <a:lnTo>
                    <a:pt x="290" y="66"/>
                  </a:lnTo>
                  <a:lnTo>
                    <a:pt x="334" y="60"/>
                  </a:lnTo>
                  <a:lnTo>
                    <a:pt x="378" y="55"/>
                  </a:lnTo>
                  <a:lnTo>
                    <a:pt x="417" y="50"/>
                  </a:lnTo>
                  <a:lnTo>
                    <a:pt x="446" y="47"/>
                  </a:lnTo>
                  <a:lnTo>
                    <a:pt x="458" y="44"/>
                  </a:lnTo>
                  <a:lnTo>
                    <a:pt x="545" y="44"/>
                  </a:lnTo>
                  <a:lnTo>
                    <a:pt x="591" y="32"/>
                  </a:lnTo>
                  <a:lnTo>
                    <a:pt x="605" y="33"/>
                  </a:lnTo>
                  <a:lnTo>
                    <a:pt x="618" y="32"/>
                  </a:lnTo>
                  <a:lnTo>
                    <a:pt x="631" y="31"/>
                  </a:lnTo>
                  <a:lnTo>
                    <a:pt x="642" y="28"/>
                  </a:lnTo>
                  <a:lnTo>
                    <a:pt x="653" y="25"/>
                  </a:lnTo>
                  <a:lnTo>
                    <a:pt x="664" y="22"/>
                  </a:lnTo>
                  <a:lnTo>
                    <a:pt x="674" y="20"/>
                  </a:lnTo>
                  <a:lnTo>
                    <a:pt x="684" y="20"/>
                  </a:lnTo>
                  <a:lnTo>
                    <a:pt x="707" y="21"/>
                  </a:lnTo>
                  <a:lnTo>
                    <a:pt x="723" y="23"/>
                  </a:lnTo>
                  <a:lnTo>
                    <a:pt x="737" y="25"/>
                  </a:lnTo>
                  <a:lnTo>
                    <a:pt x="757" y="26"/>
                  </a:lnTo>
                  <a:lnTo>
                    <a:pt x="764" y="2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466" name="Freeform 418"/>
            <p:cNvSpPr>
              <a:spLocks/>
            </p:cNvSpPr>
            <p:nvPr/>
          </p:nvSpPr>
          <p:spPr bwMode="auto">
            <a:xfrm>
              <a:off x="553" y="1660"/>
              <a:ext cx="51" cy="3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" y="10"/>
                </a:cxn>
                <a:cxn ang="0">
                  <a:pos x="4" y="19"/>
                </a:cxn>
                <a:cxn ang="0">
                  <a:pos x="9" y="29"/>
                </a:cxn>
                <a:cxn ang="0">
                  <a:pos x="15" y="39"/>
                </a:cxn>
                <a:cxn ang="0">
                  <a:pos x="22" y="48"/>
                </a:cxn>
                <a:cxn ang="0">
                  <a:pos x="31" y="59"/>
                </a:cxn>
                <a:cxn ang="0">
                  <a:pos x="41" y="68"/>
                </a:cxn>
                <a:cxn ang="0">
                  <a:pos x="51" y="77"/>
                </a:cxn>
                <a:cxn ang="0">
                  <a:pos x="62" y="85"/>
                </a:cxn>
                <a:cxn ang="0">
                  <a:pos x="73" y="93"/>
                </a:cxn>
                <a:cxn ang="0">
                  <a:pos x="84" y="99"/>
                </a:cxn>
                <a:cxn ang="0">
                  <a:pos x="95" y="105"/>
                </a:cxn>
                <a:cxn ang="0">
                  <a:pos x="106" y="111"/>
                </a:cxn>
                <a:cxn ang="0">
                  <a:pos x="116" y="114"/>
                </a:cxn>
                <a:cxn ang="0">
                  <a:pos x="124" y="117"/>
                </a:cxn>
                <a:cxn ang="0">
                  <a:pos x="133" y="117"/>
                </a:cxn>
                <a:cxn ang="0">
                  <a:pos x="139" y="116"/>
                </a:cxn>
                <a:cxn ang="0">
                  <a:pos x="146" y="113"/>
                </a:cxn>
                <a:cxn ang="0">
                  <a:pos x="153" y="110"/>
                </a:cxn>
                <a:cxn ang="0">
                  <a:pos x="160" y="104"/>
                </a:cxn>
                <a:cxn ang="0">
                  <a:pos x="150" y="91"/>
                </a:cxn>
                <a:cxn ang="0">
                  <a:pos x="141" y="79"/>
                </a:cxn>
                <a:cxn ang="0">
                  <a:pos x="138" y="73"/>
                </a:cxn>
                <a:cxn ang="0">
                  <a:pos x="135" y="66"/>
                </a:cxn>
                <a:cxn ang="0">
                  <a:pos x="133" y="58"/>
                </a:cxn>
                <a:cxn ang="0">
                  <a:pos x="133" y="49"/>
                </a:cxn>
                <a:cxn ang="0">
                  <a:pos x="127" y="48"/>
                </a:cxn>
                <a:cxn ang="0">
                  <a:pos x="118" y="45"/>
                </a:cxn>
                <a:cxn ang="0">
                  <a:pos x="108" y="40"/>
                </a:cxn>
                <a:cxn ang="0">
                  <a:pos x="97" y="34"/>
                </a:cxn>
                <a:cxn ang="0">
                  <a:pos x="87" y="28"/>
                </a:cxn>
                <a:cxn ang="0">
                  <a:pos x="77" y="21"/>
                </a:cxn>
                <a:cxn ang="0">
                  <a:pos x="74" y="17"/>
                </a:cxn>
                <a:cxn ang="0">
                  <a:pos x="71" y="13"/>
                </a:cxn>
                <a:cxn ang="0">
                  <a:pos x="68" y="10"/>
                </a:cxn>
                <a:cxn ang="0">
                  <a:pos x="66" y="6"/>
                </a:cxn>
                <a:cxn ang="0">
                  <a:pos x="60" y="6"/>
                </a:cxn>
                <a:cxn ang="0">
                  <a:pos x="52" y="6"/>
                </a:cxn>
                <a:cxn ang="0">
                  <a:pos x="43" y="4"/>
                </a:cxn>
                <a:cxn ang="0">
                  <a:pos x="33" y="0"/>
                </a:cxn>
                <a:cxn ang="0">
                  <a:pos x="0" y="0"/>
                </a:cxn>
              </a:cxnLst>
              <a:rect l="0" t="0" r="r" b="b"/>
              <a:pathLst>
                <a:path w="160" h="117">
                  <a:moveTo>
                    <a:pt x="0" y="0"/>
                  </a:moveTo>
                  <a:lnTo>
                    <a:pt x="1" y="10"/>
                  </a:lnTo>
                  <a:lnTo>
                    <a:pt x="4" y="19"/>
                  </a:lnTo>
                  <a:lnTo>
                    <a:pt x="9" y="29"/>
                  </a:lnTo>
                  <a:lnTo>
                    <a:pt x="15" y="39"/>
                  </a:lnTo>
                  <a:lnTo>
                    <a:pt x="22" y="48"/>
                  </a:lnTo>
                  <a:lnTo>
                    <a:pt x="31" y="59"/>
                  </a:lnTo>
                  <a:lnTo>
                    <a:pt x="41" y="68"/>
                  </a:lnTo>
                  <a:lnTo>
                    <a:pt x="51" y="77"/>
                  </a:lnTo>
                  <a:lnTo>
                    <a:pt x="62" y="85"/>
                  </a:lnTo>
                  <a:lnTo>
                    <a:pt x="73" y="93"/>
                  </a:lnTo>
                  <a:lnTo>
                    <a:pt x="84" y="99"/>
                  </a:lnTo>
                  <a:lnTo>
                    <a:pt x="95" y="105"/>
                  </a:lnTo>
                  <a:lnTo>
                    <a:pt x="106" y="111"/>
                  </a:lnTo>
                  <a:lnTo>
                    <a:pt x="116" y="114"/>
                  </a:lnTo>
                  <a:lnTo>
                    <a:pt x="124" y="117"/>
                  </a:lnTo>
                  <a:lnTo>
                    <a:pt x="133" y="117"/>
                  </a:lnTo>
                  <a:lnTo>
                    <a:pt x="139" y="116"/>
                  </a:lnTo>
                  <a:lnTo>
                    <a:pt x="146" y="113"/>
                  </a:lnTo>
                  <a:lnTo>
                    <a:pt x="153" y="110"/>
                  </a:lnTo>
                  <a:lnTo>
                    <a:pt x="160" y="104"/>
                  </a:lnTo>
                  <a:lnTo>
                    <a:pt x="150" y="91"/>
                  </a:lnTo>
                  <a:lnTo>
                    <a:pt x="141" y="79"/>
                  </a:lnTo>
                  <a:lnTo>
                    <a:pt x="138" y="73"/>
                  </a:lnTo>
                  <a:lnTo>
                    <a:pt x="135" y="66"/>
                  </a:lnTo>
                  <a:lnTo>
                    <a:pt x="133" y="58"/>
                  </a:lnTo>
                  <a:lnTo>
                    <a:pt x="133" y="49"/>
                  </a:lnTo>
                  <a:lnTo>
                    <a:pt x="127" y="48"/>
                  </a:lnTo>
                  <a:lnTo>
                    <a:pt x="118" y="45"/>
                  </a:lnTo>
                  <a:lnTo>
                    <a:pt x="108" y="40"/>
                  </a:lnTo>
                  <a:lnTo>
                    <a:pt x="97" y="34"/>
                  </a:lnTo>
                  <a:lnTo>
                    <a:pt x="87" y="28"/>
                  </a:lnTo>
                  <a:lnTo>
                    <a:pt x="77" y="21"/>
                  </a:lnTo>
                  <a:lnTo>
                    <a:pt x="74" y="17"/>
                  </a:lnTo>
                  <a:lnTo>
                    <a:pt x="71" y="13"/>
                  </a:lnTo>
                  <a:lnTo>
                    <a:pt x="68" y="10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52" y="6"/>
                  </a:lnTo>
                  <a:lnTo>
                    <a:pt x="43" y="4"/>
                  </a:lnTo>
                  <a:lnTo>
                    <a:pt x="33" y="0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467" name="Freeform 419"/>
            <p:cNvSpPr>
              <a:spLocks/>
            </p:cNvSpPr>
            <p:nvPr/>
          </p:nvSpPr>
          <p:spPr bwMode="auto">
            <a:xfrm>
              <a:off x="527" y="1592"/>
              <a:ext cx="26" cy="46"/>
            </a:xfrm>
            <a:custGeom>
              <a:avLst/>
              <a:gdLst/>
              <a:ahLst/>
              <a:cxnLst>
                <a:cxn ang="0">
                  <a:pos x="40" y="123"/>
                </a:cxn>
                <a:cxn ang="0">
                  <a:pos x="80" y="36"/>
                </a:cxn>
                <a:cxn ang="0">
                  <a:pos x="80" y="18"/>
                </a:cxn>
                <a:cxn ang="0">
                  <a:pos x="68" y="17"/>
                </a:cxn>
                <a:cxn ang="0">
                  <a:pos x="59" y="16"/>
                </a:cxn>
                <a:cxn ang="0">
                  <a:pos x="53" y="14"/>
                </a:cxn>
                <a:cxn ang="0">
                  <a:pos x="47" y="11"/>
                </a:cxn>
                <a:cxn ang="0">
                  <a:pos x="44" y="8"/>
                </a:cxn>
                <a:cxn ang="0">
                  <a:pos x="42" y="5"/>
                </a:cxn>
                <a:cxn ang="0">
                  <a:pos x="41" y="2"/>
                </a:cxn>
                <a:cxn ang="0">
                  <a:pos x="40" y="0"/>
                </a:cxn>
                <a:cxn ang="0">
                  <a:pos x="0" y="0"/>
                </a:cxn>
                <a:cxn ang="0">
                  <a:pos x="0" y="23"/>
                </a:cxn>
                <a:cxn ang="0">
                  <a:pos x="0" y="40"/>
                </a:cxn>
                <a:cxn ang="0">
                  <a:pos x="0" y="52"/>
                </a:cxn>
                <a:cxn ang="0">
                  <a:pos x="0" y="61"/>
                </a:cxn>
                <a:cxn ang="0">
                  <a:pos x="1" y="69"/>
                </a:cxn>
                <a:cxn ang="0">
                  <a:pos x="3" y="78"/>
                </a:cxn>
                <a:cxn ang="0">
                  <a:pos x="7" y="88"/>
                </a:cxn>
                <a:cxn ang="0">
                  <a:pos x="11" y="99"/>
                </a:cxn>
                <a:cxn ang="0">
                  <a:pos x="20" y="121"/>
                </a:cxn>
                <a:cxn ang="0">
                  <a:pos x="27" y="141"/>
                </a:cxn>
                <a:cxn ang="0">
                  <a:pos x="31" y="135"/>
                </a:cxn>
                <a:cxn ang="0">
                  <a:pos x="33" y="129"/>
                </a:cxn>
                <a:cxn ang="0">
                  <a:pos x="34" y="127"/>
                </a:cxn>
                <a:cxn ang="0">
                  <a:pos x="36" y="125"/>
                </a:cxn>
                <a:cxn ang="0">
                  <a:pos x="38" y="123"/>
                </a:cxn>
                <a:cxn ang="0">
                  <a:pos x="40" y="123"/>
                </a:cxn>
              </a:cxnLst>
              <a:rect l="0" t="0" r="r" b="b"/>
              <a:pathLst>
                <a:path w="80" h="141">
                  <a:moveTo>
                    <a:pt x="40" y="123"/>
                  </a:moveTo>
                  <a:lnTo>
                    <a:pt x="80" y="36"/>
                  </a:lnTo>
                  <a:lnTo>
                    <a:pt x="80" y="18"/>
                  </a:lnTo>
                  <a:lnTo>
                    <a:pt x="68" y="17"/>
                  </a:lnTo>
                  <a:lnTo>
                    <a:pt x="59" y="16"/>
                  </a:lnTo>
                  <a:lnTo>
                    <a:pt x="53" y="14"/>
                  </a:lnTo>
                  <a:lnTo>
                    <a:pt x="47" y="11"/>
                  </a:lnTo>
                  <a:lnTo>
                    <a:pt x="44" y="8"/>
                  </a:lnTo>
                  <a:lnTo>
                    <a:pt x="42" y="5"/>
                  </a:lnTo>
                  <a:lnTo>
                    <a:pt x="41" y="2"/>
                  </a:lnTo>
                  <a:lnTo>
                    <a:pt x="40" y="0"/>
                  </a:lnTo>
                  <a:lnTo>
                    <a:pt x="0" y="0"/>
                  </a:lnTo>
                  <a:lnTo>
                    <a:pt x="0" y="23"/>
                  </a:lnTo>
                  <a:lnTo>
                    <a:pt x="0" y="40"/>
                  </a:lnTo>
                  <a:lnTo>
                    <a:pt x="0" y="52"/>
                  </a:lnTo>
                  <a:lnTo>
                    <a:pt x="0" y="61"/>
                  </a:lnTo>
                  <a:lnTo>
                    <a:pt x="1" y="69"/>
                  </a:lnTo>
                  <a:lnTo>
                    <a:pt x="3" y="78"/>
                  </a:lnTo>
                  <a:lnTo>
                    <a:pt x="7" y="88"/>
                  </a:lnTo>
                  <a:lnTo>
                    <a:pt x="11" y="99"/>
                  </a:lnTo>
                  <a:lnTo>
                    <a:pt x="20" y="121"/>
                  </a:lnTo>
                  <a:lnTo>
                    <a:pt x="27" y="141"/>
                  </a:lnTo>
                  <a:lnTo>
                    <a:pt x="31" y="135"/>
                  </a:lnTo>
                  <a:lnTo>
                    <a:pt x="33" y="129"/>
                  </a:lnTo>
                  <a:lnTo>
                    <a:pt x="34" y="127"/>
                  </a:lnTo>
                  <a:lnTo>
                    <a:pt x="36" y="125"/>
                  </a:lnTo>
                  <a:lnTo>
                    <a:pt x="38" y="123"/>
                  </a:lnTo>
                  <a:lnTo>
                    <a:pt x="40" y="12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468" name="Freeform 420"/>
            <p:cNvSpPr>
              <a:spLocks/>
            </p:cNvSpPr>
            <p:nvPr/>
          </p:nvSpPr>
          <p:spPr bwMode="auto">
            <a:xfrm>
              <a:off x="1379" y="1383"/>
              <a:ext cx="83" cy="41"/>
            </a:xfrm>
            <a:custGeom>
              <a:avLst/>
              <a:gdLst/>
              <a:ahLst/>
              <a:cxnLst>
                <a:cxn ang="0">
                  <a:pos x="0" y="93"/>
                </a:cxn>
                <a:cxn ang="0">
                  <a:pos x="0" y="96"/>
                </a:cxn>
                <a:cxn ang="0">
                  <a:pos x="2" y="100"/>
                </a:cxn>
                <a:cxn ang="0">
                  <a:pos x="4" y="103"/>
                </a:cxn>
                <a:cxn ang="0">
                  <a:pos x="6" y="106"/>
                </a:cxn>
                <a:cxn ang="0">
                  <a:pos x="14" y="111"/>
                </a:cxn>
                <a:cxn ang="0">
                  <a:pos x="23" y="115"/>
                </a:cxn>
                <a:cxn ang="0">
                  <a:pos x="31" y="120"/>
                </a:cxn>
                <a:cxn ang="0">
                  <a:pos x="41" y="122"/>
                </a:cxn>
                <a:cxn ang="0">
                  <a:pos x="51" y="124"/>
                </a:cxn>
                <a:cxn ang="0">
                  <a:pos x="60" y="124"/>
                </a:cxn>
                <a:cxn ang="0">
                  <a:pos x="68" y="124"/>
                </a:cxn>
                <a:cxn ang="0">
                  <a:pos x="75" y="123"/>
                </a:cxn>
                <a:cxn ang="0">
                  <a:pos x="81" y="122"/>
                </a:cxn>
                <a:cxn ang="0">
                  <a:pos x="87" y="120"/>
                </a:cxn>
                <a:cxn ang="0">
                  <a:pos x="97" y="114"/>
                </a:cxn>
                <a:cxn ang="0">
                  <a:pos x="106" y="108"/>
                </a:cxn>
                <a:cxn ang="0">
                  <a:pos x="115" y="103"/>
                </a:cxn>
                <a:cxn ang="0">
                  <a:pos x="125" y="98"/>
                </a:cxn>
                <a:cxn ang="0">
                  <a:pos x="130" y="96"/>
                </a:cxn>
                <a:cxn ang="0">
                  <a:pos x="137" y="94"/>
                </a:cxn>
                <a:cxn ang="0">
                  <a:pos x="145" y="93"/>
                </a:cxn>
                <a:cxn ang="0">
                  <a:pos x="152" y="93"/>
                </a:cxn>
                <a:cxn ang="0">
                  <a:pos x="162" y="94"/>
                </a:cxn>
                <a:cxn ang="0">
                  <a:pos x="171" y="96"/>
                </a:cxn>
                <a:cxn ang="0">
                  <a:pos x="180" y="99"/>
                </a:cxn>
                <a:cxn ang="0">
                  <a:pos x="188" y="103"/>
                </a:cxn>
                <a:cxn ang="0">
                  <a:pos x="204" y="111"/>
                </a:cxn>
                <a:cxn ang="0">
                  <a:pos x="219" y="117"/>
                </a:cxn>
                <a:cxn ang="0">
                  <a:pos x="259" y="117"/>
                </a:cxn>
                <a:cxn ang="0">
                  <a:pos x="259" y="99"/>
                </a:cxn>
                <a:cxn ang="0">
                  <a:pos x="252" y="98"/>
                </a:cxn>
                <a:cxn ang="0">
                  <a:pos x="244" y="96"/>
                </a:cxn>
                <a:cxn ang="0">
                  <a:pos x="236" y="94"/>
                </a:cxn>
                <a:cxn ang="0">
                  <a:pos x="226" y="93"/>
                </a:cxn>
                <a:cxn ang="0">
                  <a:pos x="230" y="85"/>
                </a:cxn>
                <a:cxn ang="0">
                  <a:pos x="236" y="79"/>
                </a:cxn>
                <a:cxn ang="0">
                  <a:pos x="240" y="74"/>
                </a:cxn>
                <a:cxn ang="0">
                  <a:pos x="246" y="69"/>
                </a:cxn>
                <a:cxn ang="0">
                  <a:pos x="238" y="61"/>
                </a:cxn>
                <a:cxn ang="0">
                  <a:pos x="230" y="56"/>
                </a:cxn>
                <a:cxn ang="0">
                  <a:pos x="222" y="50"/>
                </a:cxn>
                <a:cxn ang="0">
                  <a:pos x="214" y="46"/>
                </a:cxn>
                <a:cxn ang="0">
                  <a:pos x="197" y="37"/>
                </a:cxn>
                <a:cxn ang="0">
                  <a:pos x="182" y="30"/>
                </a:cxn>
                <a:cxn ang="0">
                  <a:pos x="166" y="23"/>
                </a:cxn>
                <a:cxn ang="0">
                  <a:pos x="153" y="17"/>
                </a:cxn>
                <a:cxn ang="0">
                  <a:pos x="147" y="13"/>
                </a:cxn>
                <a:cxn ang="0">
                  <a:pos x="141" y="10"/>
                </a:cxn>
                <a:cxn ang="0">
                  <a:pos x="137" y="5"/>
                </a:cxn>
                <a:cxn ang="0">
                  <a:pos x="132" y="0"/>
                </a:cxn>
                <a:cxn ang="0">
                  <a:pos x="124" y="3"/>
                </a:cxn>
                <a:cxn ang="0">
                  <a:pos x="114" y="7"/>
                </a:cxn>
                <a:cxn ang="0">
                  <a:pos x="105" y="12"/>
                </a:cxn>
                <a:cxn ang="0">
                  <a:pos x="95" y="17"/>
                </a:cxn>
                <a:cxn ang="0">
                  <a:pos x="75" y="29"/>
                </a:cxn>
                <a:cxn ang="0">
                  <a:pos x="57" y="42"/>
                </a:cxn>
                <a:cxn ang="0">
                  <a:pos x="38" y="56"/>
                </a:cxn>
                <a:cxn ang="0">
                  <a:pos x="23" y="70"/>
                </a:cxn>
                <a:cxn ang="0">
                  <a:pos x="9" y="83"/>
                </a:cxn>
                <a:cxn ang="0">
                  <a:pos x="0" y="93"/>
                </a:cxn>
              </a:cxnLst>
              <a:rect l="0" t="0" r="r" b="b"/>
              <a:pathLst>
                <a:path w="259" h="124">
                  <a:moveTo>
                    <a:pt x="0" y="93"/>
                  </a:moveTo>
                  <a:lnTo>
                    <a:pt x="0" y="96"/>
                  </a:lnTo>
                  <a:lnTo>
                    <a:pt x="2" y="100"/>
                  </a:lnTo>
                  <a:lnTo>
                    <a:pt x="4" y="103"/>
                  </a:lnTo>
                  <a:lnTo>
                    <a:pt x="6" y="106"/>
                  </a:lnTo>
                  <a:lnTo>
                    <a:pt x="14" y="111"/>
                  </a:lnTo>
                  <a:lnTo>
                    <a:pt x="23" y="115"/>
                  </a:lnTo>
                  <a:lnTo>
                    <a:pt x="31" y="120"/>
                  </a:lnTo>
                  <a:lnTo>
                    <a:pt x="41" y="122"/>
                  </a:lnTo>
                  <a:lnTo>
                    <a:pt x="51" y="124"/>
                  </a:lnTo>
                  <a:lnTo>
                    <a:pt x="60" y="124"/>
                  </a:lnTo>
                  <a:lnTo>
                    <a:pt x="68" y="124"/>
                  </a:lnTo>
                  <a:lnTo>
                    <a:pt x="75" y="123"/>
                  </a:lnTo>
                  <a:lnTo>
                    <a:pt x="81" y="122"/>
                  </a:lnTo>
                  <a:lnTo>
                    <a:pt x="87" y="120"/>
                  </a:lnTo>
                  <a:lnTo>
                    <a:pt x="97" y="114"/>
                  </a:lnTo>
                  <a:lnTo>
                    <a:pt x="106" y="108"/>
                  </a:lnTo>
                  <a:lnTo>
                    <a:pt x="115" y="103"/>
                  </a:lnTo>
                  <a:lnTo>
                    <a:pt x="125" y="98"/>
                  </a:lnTo>
                  <a:lnTo>
                    <a:pt x="130" y="96"/>
                  </a:lnTo>
                  <a:lnTo>
                    <a:pt x="137" y="94"/>
                  </a:lnTo>
                  <a:lnTo>
                    <a:pt x="145" y="93"/>
                  </a:lnTo>
                  <a:lnTo>
                    <a:pt x="152" y="93"/>
                  </a:lnTo>
                  <a:lnTo>
                    <a:pt x="162" y="94"/>
                  </a:lnTo>
                  <a:lnTo>
                    <a:pt x="171" y="96"/>
                  </a:lnTo>
                  <a:lnTo>
                    <a:pt x="180" y="99"/>
                  </a:lnTo>
                  <a:lnTo>
                    <a:pt x="188" y="103"/>
                  </a:lnTo>
                  <a:lnTo>
                    <a:pt x="204" y="111"/>
                  </a:lnTo>
                  <a:lnTo>
                    <a:pt x="219" y="117"/>
                  </a:lnTo>
                  <a:lnTo>
                    <a:pt x="259" y="117"/>
                  </a:lnTo>
                  <a:lnTo>
                    <a:pt x="259" y="99"/>
                  </a:lnTo>
                  <a:lnTo>
                    <a:pt x="252" y="98"/>
                  </a:lnTo>
                  <a:lnTo>
                    <a:pt x="244" y="96"/>
                  </a:lnTo>
                  <a:lnTo>
                    <a:pt x="236" y="94"/>
                  </a:lnTo>
                  <a:lnTo>
                    <a:pt x="226" y="93"/>
                  </a:lnTo>
                  <a:lnTo>
                    <a:pt x="230" y="85"/>
                  </a:lnTo>
                  <a:lnTo>
                    <a:pt x="236" y="79"/>
                  </a:lnTo>
                  <a:lnTo>
                    <a:pt x="240" y="74"/>
                  </a:lnTo>
                  <a:lnTo>
                    <a:pt x="246" y="69"/>
                  </a:lnTo>
                  <a:lnTo>
                    <a:pt x="238" y="61"/>
                  </a:lnTo>
                  <a:lnTo>
                    <a:pt x="230" y="56"/>
                  </a:lnTo>
                  <a:lnTo>
                    <a:pt x="222" y="50"/>
                  </a:lnTo>
                  <a:lnTo>
                    <a:pt x="214" y="46"/>
                  </a:lnTo>
                  <a:lnTo>
                    <a:pt x="197" y="37"/>
                  </a:lnTo>
                  <a:lnTo>
                    <a:pt x="182" y="30"/>
                  </a:lnTo>
                  <a:lnTo>
                    <a:pt x="166" y="23"/>
                  </a:lnTo>
                  <a:lnTo>
                    <a:pt x="153" y="17"/>
                  </a:lnTo>
                  <a:lnTo>
                    <a:pt x="147" y="13"/>
                  </a:lnTo>
                  <a:lnTo>
                    <a:pt x="141" y="10"/>
                  </a:lnTo>
                  <a:lnTo>
                    <a:pt x="137" y="5"/>
                  </a:lnTo>
                  <a:lnTo>
                    <a:pt x="132" y="0"/>
                  </a:lnTo>
                  <a:lnTo>
                    <a:pt x="124" y="3"/>
                  </a:lnTo>
                  <a:lnTo>
                    <a:pt x="114" y="7"/>
                  </a:lnTo>
                  <a:lnTo>
                    <a:pt x="105" y="12"/>
                  </a:lnTo>
                  <a:lnTo>
                    <a:pt x="95" y="17"/>
                  </a:lnTo>
                  <a:lnTo>
                    <a:pt x="75" y="29"/>
                  </a:lnTo>
                  <a:lnTo>
                    <a:pt x="57" y="42"/>
                  </a:lnTo>
                  <a:lnTo>
                    <a:pt x="38" y="56"/>
                  </a:lnTo>
                  <a:lnTo>
                    <a:pt x="23" y="70"/>
                  </a:lnTo>
                  <a:lnTo>
                    <a:pt x="9" y="83"/>
                  </a:lnTo>
                  <a:lnTo>
                    <a:pt x="0" y="9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469" name="Freeform 421"/>
            <p:cNvSpPr>
              <a:spLocks/>
            </p:cNvSpPr>
            <p:nvPr/>
          </p:nvSpPr>
          <p:spPr bwMode="auto">
            <a:xfrm>
              <a:off x="1509" y="1389"/>
              <a:ext cx="38" cy="19"/>
            </a:xfrm>
            <a:custGeom>
              <a:avLst/>
              <a:gdLst/>
              <a:ahLst/>
              <a:cxnLst>
                <a:cxn ang="0">
                  <a:pos x="0" y="32"/>
                </a:cxn>
                <a:cxn ang="0">
                  <a:pos x="7" y="35"/>
                </a:cxn>
                <a:cxn ang="0">
                  <a:pos x="14" y="38"/>
                </a:cxn>
                <a:cxn ang="0">
                  <a:pos x="20" y="42"/>
                </a:cxn>
                <a:cxn ang="0">
                  <a:pos x="26" y="47"/>
                </a:cxn>
                <a:cxn ang="0">
                  <a:pos x="32" y="51"/>
                </a:cxn>
                <a:cxn ang="0">
                  <a:pos x="36" y="54"/>
                </a:cxn>
                <a:cxn ang="0">
                  <a:pos x="41" y="56"/>
                </a:cxn>
                <a:cxn ang="0">
                  <a:pos x="47" y="57"/>
                </a:cxn>
                <a:cxn ang="0">
                  <a:pos x="55" y="57"/>
                </a:cxn>
                <a:cxn ang="0">
                  <a:pos x="62" y="56"/>
                </a:cxn>
                <a:cxn ang="0">
                  <a:pos x="70" y="55"/>
                </a:cxn>
                <a:cxn ang="0">
                  <a:pos x="77" y="53"/>
                </a:cxn>
                <a:cxn ang="0">
                  <a:pos x="83" y="50"/>
                </a:cxn>
                <a:cxn ang="0">
                  <a:pos x="89" y="48"/>
                </a:cxn>
                <a:cxn ang="0">
                  <a:pos x="93" y="44"/>
                </a:cxn>
                <a:cxn ang="0">
                  <a:pos x="97" y="40"/>
                </a:cxn>
                <a:cxn ang="0">
                  <a:pos x="106" y="32"/>
                </a:cxn>
                <a:cxn ang="0">
                  <a:pos x="112" y="23"/>
                </a:cxn>
                <a:cxn ang="0">
                  <a:pos x="116" y="13"/>
                </a:cxn>
                <a:cxn ang="0">
                  <a:pos x="119" y="1"/>
                </a:cxn>
                <a:cxn ang="0">
                  <a:pos x="101" y="0"/>
                </a:cxn>
                <a:cxn ang="0">
                  <a:pos x="82" y="0"/>
                </a:cxn>
                <a:cxn ang="0">
                  <a:pos x="63" y="2"/>
                </a:cxn>
                <a:cxn ang="0">
                  <a:pos x="45" y="5"/>
                </a:cxn>
                <a:cxn ang="0">
                  <a:pos x="36" y="7"/>
                </a:cxn>
                <a:cxn ang="0">
                  <a:pos x="28" y="10"/>
                </a:cxn>
                <a:cxn ang="0">
                  <a:pos x="22" y="13"/>
                </a:cxn>
                <a:cxn ang="0">
                  <a:pos x="15" y="16"/>
                </a:cxn>
                <a:cxn ang="0">
                  <a:pos x="10" y="19"/>
                </a:cxn>
                <a:cxn ang="0">
                  <a:pos x="5" y="23"/>
                </a:cxn>
                <a:cxn ang="0">
                  <a:pos x="2" y="27"/>
                </a:cxn>
                <a:cxn ang="0">
                  <a:pos x="0" y="32"/>
                </a:cxn>
              </a:cxnLst>
              <a:rect l="0" t="0" r="r" b="b"/>
              <a:pathLst>
                <a:path w="119" h="57">
                  <a:moveTo>
                    <a:pt x="0" y="32"/>
                  </a:moveTo>
                  <a:lnTo>
                    <a:pt x="7" y="35"/>
                  </a:lnTo>
                  <a:lnTo>
                    <a:pt x="14" y="38"/>
                  </a:lnTo>
                  <a:lnTo>
                    <a:pt x="20" y="42"/>
                  </a:lnTo>
                  <a:lnTo>
                    <a:pt x="26" y="47"/>
                  </a:lnTo>
                  <a:lnTo>
                    <a:pt x="32" y="51"/>
                  </a:lnTo>
                  <a:lnTo>
                    <a:pt x="36" y="54"/>
                  </a:lnTo>
                  <a:lnTo>
                    <a:pt x="41" y="56"/>
                  </a:lnTo>
                  <a:lnTo>
                    <a:pt x="47" y="57"/>
                  </a:lnTo>
                  <a:lnTo>
                    <a:pt x="55" y="57"/>
                  </a:lnTo>
                  <a:lnTo>
                    <a:pt x="62" y="56"/>
                  </a:lnTo>
                  <a:lnTo>
                    <a:pt x="70" y="55"/>
                  </a:lnTo>
                  <a:lnTo>
                    <a:pt x="77" y="53"/>
                  </a:lnTo>
                  <a:lnTo>
                    <a:pt x="83" y="50"/>
                  </a:lnTo>
                  <a:lnTo>
                    <a:pt x="89" y="48"/>
                  </a:lnTo>
                  <a:lnTo>
                    <a:pt x="93" y="44"/>
                  </a:lnTo>
                  <a:lnTo>
                    <a:pt x="97" y="40"/>
                  </a:lnTo>
                  <a:lnTo>
                    <a:pt x="106" y="32"/>
                  </a:lnTo>
                  <a:lnTo>
                    <a:pt x="112" y="23"/>
                  </a:lnTo>
                  <a:lnTo>
                    <a:pt x="116" y="13"/>
                  </a:lnTo>
                  <a:lnTo>
                    <a:pt x="119" y="1"/>
                  </a:lnTo>
                  <a:lnTo>
                    <a:pt x="101" y="0"/>
                  </a:lnTo>
                  <a:lnTo>
                    <a:pt x="82" y="0"/>
                  </a:lnTo>
                  <a:lnTo>
                    <a:pt x="63" y="2"/>
                  </a:lnTo>
                  <a:lnTo>
                    <a:pt x="45" y="5"/>
                  </a:lnTo>
                  <a:lnTo>
                    <a:pt x="36" y="7"/>
                  </a:lnTo>
                  <a:lnTo>
                    <a:pt x="28" y="10"/>
                  </a:lnTo>
                  <a:lnTo>
                    <a:pt x="22" y="13"/>
                  </a:lnTo>
                  <a:lnTo>
                    <a:pt x="15" y="16"/>
                  </a:lnTo>
                  <a:lnTo>
                    <a:pt x="10" y="19"/>
                  </a:lnTo>
                  <a:lnTo>
                    <a:pt x="5" y="23"/>
                  </a:lnTo>
                  <a:lnTo>
                    <a:pt x="2" y="27"/>
                  </a:lnTo>
                  <a:lnTo>
                    <a:pt x="0" y="3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470" name="Freeform 422"/>
            <p:cNvSpPr>
              <a:spLocks/>
            </p:cNvSpPr>
            <p:nvPr/>
          </p:nvSpPr>
          <p:spPr bwMode="auto">
            <a:xfrm>
              <a:off x="1554" y="1335"/>
              <a:ext cx="34" cy="17"/>
            </a:xfrm>
            <a:custGeom>
              <a:avLst/>
              <a:gdLst/>
              <a:ahLst/>
              <a:cxnLst>
                <a:cxn ang="0">
                  <a:pos x="0" y="50"/>
                </a:cxn>
                <a:cxn ang="0">
                  <a:pos x="6" y="51"/>
                </a:cxn>
                <a:cxn ang="0">
                  <a:pos x="9" y="52"/>
                </a:cxn>
                <a:cxn ang="0">
                  <a:pos x="13" y="52"/>
                </a:cxn>
                <a:cxn ang="0">
                  <a:pos x="17" y="52"/>
                </a:cxn>
                <a:cxn ang="0">
                  <a:pos x="24" y="50"/>
                </a:cxn>
                <a:cxn ang="0">
                  <a:pos x="34" y="50"/>
                </a:cxn>
                <a:cxn ang="0">
                  <a:pos x="43" y="49"/>
                </a:cxn>
                <a:cxn ang="0">
                  <a:pos x="53" y="48"/>
                </a:cxn>
                <a:cxn ang="0">
                  <a:pos x="62" y="47"/>
                </a:cxn>
                <a:cxn ang="0">
                  <a:pos x="70" y="43"/>
                </a:cxn>
                <a:cxn ang="0">
                  <a:pos x="79" y="40"/>
                </a:cxn>
                <a:cxn ang="0">
                  <a:pos x="88" y="36"/>
                </a:cxn>
                <a:cxn ang="0">
                  <a:pos x="97" y="31"/>
                </a:cxn>
                <a:cxn ang="0">
                  <a:pos x="107" y="24"/>
                </a:cxn>
                <a:cxn ang="0">
                  <a:pos x="107" y="0"/>
                </a:cxn>
                <a:cxn ang="0">
                  <a:pos x="98" y="1"/>
                </a:cxn>
                <a:cxn ang="0">
                  <a:pos x="86" y="3"/>
                </a:cxn>
                <a:cxn ang="0">
                  <a:pos x="72" y="7"/>
                </a:cxn>
                <a:cxn ang="0">
                  <a:pos x="56" y="13"/>
                </a:cxn>
                <a:cxn ang="0">
                  <a:pos x="41" y="20"/>
                </a:cxn>
                <a:cxn ang="0">
                  <a:pos x="25" y="28"/>
                </a:cxn>
                <a:cxn ang="0">
                  <a:pos x="19" y="33"/>
                </a:cxn>
                <a:cxn ang="0">
                  <a:pos x="12" y="38"/>
                </a:cxn>
                <a:cxn ang="0">
                  <a:pos x="6" y="43"/>
                </a:cxn>
                <a:cxn ang="0">
                  <a:pos x="0" y="50"/>
                </a:cxn>
              </a:cxnLst>
              <a:rect l="0" t="0" r="r" b="b"/>
              <a:pathLst>
                <a:path w="107" h="52">
                  <a:moveTo>
                    <a:pt x="0" y="50"/>
                  </a:moveTo>
                  <a:lnTo>
                    <a:pt x="6" y="51"/>
                  </a:lnTo>
                  <a:lnTo>
                    <a:pt x="9" y="52"/>
                  </a:lnTo>
                  <a:lnTo>
                    <a:pt x="13" y="52"/>
                  </a:lnTo>
                  <a:lnTo>
                    <a:pt x="17" y="52"/>
                  </a:lnTo>
                  <a:lnTo>
                    <a:pt x="24" y="50"/>
                  </a:lnTo>
                  <a:lnTo>
                    <a:pt x="34" y="50"/>
                  </a:lnTo>
                  <a:lnTo>
                    <a:pt x="43" y="49"/>
                  </a:lnTo>
                  <a:lnTo>
                    <a:pt x="53" y="48"/>
                  </a:lnTo>
                  <a:lnTo>
                    <a:pt x="62" y="47"/>
                  </a:lnTo>
                  <a:lnTo>
                    <a:pt x="70" y="43"/>
                  </a:lnTo>
                  <a:lnTo>
                    <a:pt x="79" y="40"/>
                  </a:lnTo>
                  <a:lnTo>
                    <a:pt x="88" y="36"/>
                  </a:lnTo>
                  <a:lnTo>
                    <a:pt x="97" y="31"/>
                  </a:lnTo>
                  <a:lnTo>
                    <a:pt x="107" y="24"/>
                  </a:lnTo>
                  <a:lnTo>
                    <a:pt x="107" y="0"/>
                  </a:lnTo>
                  <a:lnTo>
                    <a:pt x="98" y="1"/>
                  </a:lnTo>
                  <a:lnTo>
                    <a:pt x="86" y="3"/>
                  </a:lnTo>
                  <a:lnTo>
                    <a:pt x="72" y="7"/>
                  </a:lnTo>
                  <a:lnTo>
                    <a:pt x="56" y="13"/>
                  </a:lnTo>
                  <a:lnTo>
                    <a:pt x="41" y="20"/>
                  </a:lnTo>
                  <a:lnTo>
                    <a:pt x="25" y="28"/>
                  </a:lnTo>
                  <a:lnTo>
                    <a:pt x="19" y="33"/>
                  </a:lnTo>
                  <a:lnTo>
                    <a:pt x="12" y="38"/>
                  </a:lnTo>
                  <a:lnTo>
                    <a:pt x="6" y="43"/>
                  </a:lnTo>
                  <a:lnTo>
                    <a:pt x="0" y="5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471" name="Freeform 423"/>
            <p:cNvSpPr>
              <a:spLocks/>
            </p:cNvSpPr>
            <p:nvPr/>
          </p:nvSpPr>
          <p:spPr bwMode="auto">
            <a:xfrm>
              <a:off x="1381" y="1244"/>
              <a:ext cx="79" cy="32"/>
            </a:xfrm>
            <a:custGeom>
              <a:avLst/>
              <a:gdLst/>
              <a:ahLst/>
              <a:cxnLst>
                <a:cxn ang="0">
                  <a:pos x="27" y="99"/>
                </a:cxn>
                <a:cxn ang="0">
                  <a:pos x="22" y="97"/>
                </a:cxn>
                <a:cxn ang="0">
                  <a:pos x="17" y="96"/>
                </a:cxn>
                <a:cxn ang="0">
                  <a:pos x="12" y="93"/>
                </a:cxn>
                <a:cxn ang="0">
                  <a:pos x="9" y="90"/>
                </a:cxn>
                <a:cxn ang="0">
                  <a:pos x="6" y="86"/>
                </a:cxn>
                <a:cxn ang="0">
                  <a:pos x="2" y="82"/>
                </a:cxn>
                <a:cxn ang="0">
                  <a:pos x="1" y="78"/>
                </a:cxn>
                <a:cxn ang="0">
                  <a:pos x="0" y="73"/>
                </a:cxn>
                <a:cxn ang="0">
                  <a:pos x="0" y="69"/>
                </a:cxn>
                <a:cxn ang="0">
                  <a:pos x="1" y="65"/>
                </a:cxn>
                <a:cxn ang="0">
                  <a:pos x="3" y="60"/>
                </a:cxn>
                <a:cxn ang="0">
                  <a:pos x="5" y="56"/>
                </a:cxn>
                <a:cxn ang="0">
                  <a:pos x="10" y="49"/>
                </a:cxn>
                <a:cxn ang="0">
                  <a:pos x="18" y="41"/>
                </a:cxn>
                <a:cxn ang="0">
                  <a:pos x="25" y="34"/>
                </a:cxn>
                <a:cxn ang="0">
                  <a:pos x="35" y="28"/>
                </a:cxn>
                <a:cxn ang="0">
                  <a:pos x="46" y="23"/>
                </a:cxn>
                <a:cxn ang="0">
                  <a:pos x="57" y="18"/>
                </a:cxn>
                <a:cxn ang="0">
                  <a:pos x="69" y="14"/>
                </a:cxn>
                <a:cxn ang="0">
                  <a:pos x="81" y="10"/>
                </a:cxn>
                <a:cxn ang="0">
                  <a:pos x="92" y="7"/>
                </a:cxn>
                <a:cxn ang="0">
                  <a:pos x="104" y="4"/>
                </a:cxn>
                <a:cxn ang="0">
                  <a:pos x="124" y="1"/>
                </a:cxn>
                <a:cxn ang="0">
                  <a:pos x="140" y="0"/>
                </a:cxn>
                <a:cxn ang="0">
                  <a:pos x="168" y="0"/>
                </a:cxn>
                <a:cxn ang="0">
                  <a:pos x="193" y="1"/>
                </a:cxn>
                <a:cxn ang="0">
                  <a:pos x="219" y="2"/>
                </a:cxn>
                <a:cxn ang="0">
                  <a:pos x="246" y="6"/>
                </a:cxn>
                <a:cxn ang="0">
                  <a:pos x="244" y="11"/>
                </a:cxn>
                <a:cxn ang="0">
                  <a:pos x="241" y="15"/>
                </a:cxn>
                <a:cxn ang="0">
                  <a:pos x="236" y="20"/>
                </a:cxn>
                <a:cxn ang="0">
                  <a:pos x="231" y="26"/>
                </a:cxn>
                <a:cxn ang="0">
                  <a:pos x="215" y="36"/>
                </a:cxn>
                <a:cxn ang="0">
                  <a:pos x="199" y="46"/>
                </a:cxn>
                <a:cxn ang="0">
                  <a:pos x="180" y="55"/>
                </a:cxn>
                <a:cxn ang="0">
                  <a:pos x="162" y="61"/>
                </a:cxn>
                <a:cxn ang="0">
                  <a:pos x="152" y="64"/>
                </a:cxn>
                <a:cxn ang="0">
                  <a:pos x="143" y="66"/>
                </a:cxn>
                <a:cxn ang="0">
                  <a:pos x="134" y="67"/>
                </a:cxn>
                <a:cxn ang="0">
                  <a:pos x="126" y="67"/>
                </a:cxn>
                <a:cxn ang="0">
                  <a:pos x="120" y="67"/>
                </a:cxn>
                <a:cxn ang="0">
                  <a:pos x="110" y="67"/>
                </a:cxn>
                <a:cxn ang="0">
                  <a:pos x="100" y="67"/>
                </a:cxn>
                <a:cxn ang="0">
                  <a:pos x="93" y="67"/>
                </a:cxn>
                <a:cxn ang="0">
                  <a:pos x="88" y="69"/>
                </a:cxn>
                <a:cxn ang="0">
                  <a:pos x="80" y="72"/>
                </a:cxn>
                <a:cxn ang="0">
                  <a:pos x="72" y="77"/>
                </a:cxn>
                <a:cxn ang="0">
                  <a:pos x="63" y="83"/>
                </a:cxn>
                <a:cxn ang="0">
                  <a:pos x="53" y="88"/>
                </a:cxn>
                <a:cxn ang="0">
                  <a:pos x="44" y="93"/>
                </a:cxn>
                <a:cxn ang="0">
                  <a:pos x="35" y="96"/>
                </a:cxn>
                <a:cxn ang="0">
                  <a:pos x="27" y="99"/>
                </a:cxn>
              </a:cxnLst>
              <a:rect l="0" t="0" r="r" b="b"/>
              <a:pathLst>
                <a:path w="246" h="99">
                  <a:moveTo>
                    <a:pt x="27" y="99"/>
                  </a:moveTo>
                  <a:lnTo>
                    <a:pt x="22" y="97"/>
                  </a:lnTo>
                  <a:lnTo>
                    <a:pt x="17" y="96"/>
                  </a:lnTo>
                  <a:lnTo>
                    <a:pt x="12" y="93"/>
                  </a:lnTo>
                  <a:lnTo>
                    <a:pt x="9" y="90"/>
                  </a:lnTo>
                  <a:lnTo>
                    <a:pt x="6" y="86"/>
                  </a:lnTo>
                  <a:lnTo>
                    <a:pt x="2" y="82"/>
                  </a:lnTo>
                  <a:lnTo>
                    <a:pt x="1" y="78"/>
                  </a:lnTo>
                  <a:lnTo>
                    <a:pt x="0" y="73"/>
                  </a:lnTo>
                  <a:lnTo>
                    <a:pt x="0" y="69"/>
                  </a:lnTo>
                  <a:lnTo>
                    <a:pt x="1" y="65"/>
                  </a:lnTo>
                  <a:lnTo>
                    <a:pt x="3" y="60"/>
                  </a:lnTo>
                  <a:lnTo>
                    <a:pt x="5" y="56"/>
                  </a:lnTo>
                  <a:lnTo>
                    <a:pt x="10" y="49"/>
                  </a:lnTo>
                  <a:lnTo>
                    <a:pt x="18" y="41"/>
                  </a:lnTo>
                  <a:lnTo>
                    <a:pt x="25" y="34"/>
                  </a:lnTo>
                  <a:lnTo>
                    <a:pt x="35" y="28"/>
                  </a:lnTo>
                  <a:lnTo>
                    <a:pt x="46" y="23"/>
                  </a:lnTo>
                  <a:lnTo>
                    <a:pt x="57" y="18"/>
                  </a:lnTo>
                  <a:lnTo>
                    <a:pt x="69" y="14"/>
                  </a:lnTo>
                  <a:lnTo>
                    <a:pt x="81" y="10"/>
                  </a:lnTo>
                  <a:lnTo>
                    <a:pt x="92" y="7"/>
                  </a:lnTo>
                  <a:lnTo>
                    <a:pt x="104" y="4"/>
                  </a:lnTo>
                  <a:lnTo>
                    <a:pt x="124" y="1"/>
                  </a:lnTo>
                  <a:lnTo>
                    <a:pt x="140" y="0"/>
                  </a:lnTo>
                  <a:lnTo>
                    <a:pt x="168" y="0"/>
                  </a:lnTo>
                  <a:lnTo>
                    <a:pt x="193" y="1"/>
                  </a:lnTo>
                  <a:lnTo>
                    <a:pt x="219" y="2"/>
                  </a:lnTo>
                  <a:lnTo>
                    <a:pt x="246" y="6"/>
                  </a:lnTo>
                  <a:lnTo>
                    <a:pt x="244" y="11"/>
                  </a:lnTo>
                  <a:lnTo>
                    <a:pt x="241" y="15"/>
                  </a:lnTo>
                  <a:lnTo>
                    <a:pt x="236" y="20"/>
                  </a:lnTo>
                  <a:lnTo>
                    <a:pt x="231" y="26"/>
                  </a:lnTo>
                  <a:lnTo>
                    <a:pt x="215" y="36"/>
                  </a:lnTo>
                  <a:lnTo>
                    <a:pt x="199" y="46"/>
                  </a:lnTo>
                  <a:lnTo>
                    <a:pt x="180" y="55"/>
                  </a:lnTo>
                  <a:lnTo>
                    <a:pt x="162" y="61"/>
                  </a:lnTo>
                  <a:lnTo>
                    <a:pt x="152" y="64"/>
                  </a:lnTo>
                  <a:lnTo>
                    <a:pt x="143" y="66"/>
                  </a:lnTo>
                  <a:lnTo>
                    <a:pt x="134" y="67"/>
                  </a:lnTo>
                  <a:lnTo>
                    <a:pt x="126" y="67"/>
                  </a:lnTo>
                  <a:lnTo>
                    <a:pt x="120" y="67"/>
                  </a:lnTo>
                  <a:lnTo>
                    <a:pt x="110" y="67"/>
                  </a:lnTo>
                  <a:lnTo>
                    <a:pt x="100" y="67"/>
                  </a:lnTo>
                  <a:lnTo>
                    <a:pt x="93" y="67"/>
                  </a:lnTo>
                  <a:lnTo>
                    <a:pt x="88" y="69"/>
                  </a:lnTo>
                  <a:lnTo>
                    <a:pt x="80" y="72"/>
                  </a:lnTo>
                  <a:lnTo>
                    <a:pt x="72" y="77"/>
                  </a:lnTo>
                  <a:lnTo>
                    <a:pt x="63" y="83"/>
                  </a:lnTo>
                  <a:lnTo>
                    <a:pt x="53" y="88"/>
                  </a:lnTo>
                  <a:lnTo>
                    <a:pt x="44" y="93"/>
                  </a:lnTo>
                  <a:lnTo>
                    <a:pt x="35" y="96"/>
                  </a:lnTo>
                  <a:lnTo>
                    <a:pt x="27" y="9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472" name="Freeform 424"/>
            <p:cNvSpPr>
              <a:spLocks/>
            </p:cNvSpPr>
            <p:nvPr/>
          </p:nvSpPr>
          <p:spPr bwMode="auto">
            <a:xfrm>
              <a:off x="1294" y="1248"/>
              <a:ext cx="76" cy="40"/>
            </a:xfrm>
            <a:custGeom>
              <a:avLst/>
              <a:gdLst/>
              <a:ahLst/>
              <a:cxnLst>
                <a:cxn ang="0">
                  <a:pos x="33" y="88"/>
                </a:cxn>
                <a:cxn ang="0">
                  <a:pos x="10" y="78"/>
                </a:cxn>
                <a:cxn ang="0">
                  <a:pos x="0" y="55"/>
                </a:cxn>
                <a:cxn ang="0">
                  <a:pos x="20" y="37"/>
                </a:cxn>
                <a:cxn ang="0">
                  <a:pos x="40" y="37"/>
                </a:cxn>
                <a:cxn ang="0">
                  <a:pos x="61" y="37"/>
                </a:cxn>
                <a:cxn ang="0">
                  <a:pos x="72" y="36"/>
                </a:cxn>
                <a:cxn ang="0">
                  <a:pos x="83" y="33"/>
                </a:cxn>
                <a:cxn ang="0">
                  <a:pos x="104" y="23"/>
                </a:cxn>
                <a:cxn ang="0">
                  <a:pos x="123" y="11"/>
                </a:cxn>
                <a:cxn ang="0">
                  <a:pos x="146" y="0"/>
                </a:cxn>
                <a:cxn ang="0">
                  <a:pos x="161" y="8"/>
                </a:cxn>
                <a:cxn ang="0">
                  <a:pos x="181" y="12"/>
                </a:cxn>
                <a:cxn ang="0">
                  <a:pos x="190" y="10"/>
                </a:cxn>
                <a:cxn ang="0">
                  <a:pos x="201" y="6"/>
                </a:cxn>
                <a:cxn ang="0">
                  <a:pos x="213" y="0"/>
                </a:cxn>
                <a:cxn ang="0">
                  <a:pos x="232" y="6"/>
                </a:cxn>
                <a:cxn ang="0">
                  <a:pos x="228" y="18"/>
                </a:cxn>
                <a:cxn ang="0">
                  <a:pos x="219" y="25"/>
                </a:cxn>
                <a:cxn ang="0">
                  <a:pos x="207" y="30"/>
                </a:cxn>
                <a:cxn ang="0">
                  <a:pos x="201" y="43"/>
                </a:cxn>
                <a:cxn ang="0">
                  <a:pos x="206" y="62"/>
                </a:cxn>
                <a:cxn ang="0">
                  <a:pos x="185" y="85"/>
                </a:cxn>
                <a:cxn ang="0">
                  <a:pos x="157" y="96"/>
                </a:cxn>
                <a:cxn ang="0">
                  <a:pos x="139" y="98"/>
                </a:cxn>
                <a:cxn ang="0">
                  <a:pos x="116" y="100"/>
                </a:cxn>
                <a:cxn ang="0">
                  <a:pos x="96" y="106"/>
                </a:cxn>
                <a:cxn ang="0">
                  <a:pos x="82" y="115"/>
                </a:cxn>
                <a:cxn ang="0">
                  <a:pos x="67" y="122"/>
                </a:cxn>
                <a:cxn ang="0">
                  <a:pos x="58" y="122"/>
                </a:cxn>
                <a:cxn ang="0">
                  <a:pos x="53" y="115"/>
                </a:cxn>
                <a:cxn ang="0">
                  <a:pos x="48" y="100"/>
                </a:cxn>
              </a:cxnLst>
              <a:rect l="0" t="0" r="r" b="b"/>
              <a:pathLst>
                <a:path w="233" h="123">
                  <a:moveTo>
                    <a:pt x="47" y="93"/>
                  </a:moveTo>
                  <a:lnTo>
                    <a:pt x="33" y="88"/>
                  </a:lnTo>
                  <a:lnTo>
                    <a:pt x="21" y="83"/>
                  </a:lnTo>
                  <a:lnTo>
                    <a:pt x="10" y="78"/>
                  </a:lnTo>
                  <a:lnTo>
                    <a:pt x="0" y="74"/>
                  </a:lnTo>
                  <a:lnTo>
                    <a:pt x="0" y="55"/>
                  </a:lnTo>
                  <a:lnTo>
                    <a:pt x="10" y="46"/>
                  </a:lnTo>
                  <a:lnTo>
                    <a:pt x="20" y="37"/>
                  </a:lnTo>
                  <a:lnTo>
                    <a:pt x="30" y="37"/>
                  </a:lnTo>
                  <a:lnTo>
                    <a:pt x="40" y="37"/>
                  </a:lnTo>
                  <a:lnTo>
                    <a:pt x="51" y="37"/>
                  </a:lnTo>
                  <a:lnTo>
                    <a:pt x="61" y="37"/>
                  </a:lnTo>
                  <a:lnTo>
                    <a:pt x="66" y="37"/>
                  </a:lnTo>
                  <a:lnTo>
                    <a:pt x="72" y="36"/>
                  </a:lnTo>
                  <a:lnTo>
                    <a:pt x="77" y="35"/>
                  </a:lnTo>
                  <a:lnTo>
                    <a:pt x="83" y="33"/>
                  </a:lnTo>
                  <a:lnTo>
                    <a:pt x="94" y="28"/>
                  </a:lnTo>
                  <a:lnTo>
                    <a:pt x="104" y="23"/>
                  </a:lnTo>
                  <a:lnTo>
                    <a:pt x="114" y="17"/>
                  </a:lnTo>
                  <a:lnTo>
                    <a:pt x="123" y="11"/>
                  </a:lnTo>
                  <a:lnTo>
                    <a:pt x="134" y="5"/>
                  </a:lnTo>
                  <a:lnTo>
                    <a:pt x="146" y="0"/>
                  </a:lnTo>
                  <a:lnTo>
                    <a:pt x="153" y="4"/>
                  </a:lnTo>
                  <a:lnTo>
                    <a:pt x="161" y="8"/>
                  </a:lnTo>
                  <a:lnTo>
                    <a:pt x="171" y="11"/>
                  </a:lnTo>
                  <a:lnTo>
                    <a:pt x="181" y="12"/>
                  </a:lnTo>
                  <a:lnTo>
                    <a:pt x="185" y="12"/>
                  </a:lnTo>
                  <a:lnTo>
                    <a:pt x="190" y="10"/>
                  </a:lnTo>
                  <a:lnTo>
                    <a:pt x="196" y="8"/>
                  </a:lnTo>
                  <a:lnTo>
                    <a:pt x="201" y="6"/>
                  </a:lnTo>
                  <a:lnTo>
                    <a:pt x="210" y="2"/>
                  </a:lnTo>
                  <a:lnTo>
                    <a:pt x="213" y="0"/>
                  </a:lnTo>
                  <a:lnTo>
                    <a:pt x="233" y="0"/>
                  </a:lnTo>
                  <a:lnTo>
                    <a:pt x="232" y="6"/>
                  </a:lnTo>
                  <a:lnTo>
                    <a:pt x="231" y="12"/>
                  </a:lnTo>
                  <a:lnTo>
                    <a:pt x="228" y="18"/>
                  </a:lnTo>
                  <a:lnTo>
                    <a:pt x="224" y="22"/>
                  </a:lnTo>
                  <a:lnTo>
                    <a:pt x="219" y="25"/>
                  </a:lnTo>
                  <a:lnTo>
                    <a:pt x="213" y="28"/>
                  </a:lnTo>
                  <a:lnTo>
                    <a:pt x="207" y="30"/>
                  </a:lnTo>
                  <a:lnTo>
                    <a:pt x="200" y="30"/>
                  </a:lnTo>
                  <a:lnTo>
                    <a:pt x="201" y="43"/>
                  </a:lnTo>
                  <a:lnTo>
                    <a:pt x="204" y="52"/>
                  </a:lnTo>
                  <a:lnTo>
                    <a:pt x="206" y="62"/>
                  </a:lnTo>
                  <a:lnTo>
                    <a:pt x="207" y="74"/>
                  </a:lnTo>
                  <a:lnTo>
                    <a:pt x="185" y="85"/>
                  </a:lnTo>
                  <a:lnTo>
                    <a:pt x="166" y="93"/>
                  </a:lnTo>
                  <a:lnTo>
                    <a:pt x="157" y="96"/>
                  </a:lnTo>
                  <a:lnTo>
                    <a:pt x="149" y="98"/>
                  </a:lnTo>
                  <a:lnTo>
                    <a:pt x="139" y="98"/>
                  </a:lnTo>
                  <a:lnTo>
                    <a:pt x="127" y="99"/>
                  </a:lnTo>
                  <a:lnTo>
                    <a:pt x="116" y="100"/>
                  </a:lnTo>
                  <a:lnTo>
                    <a:pt x="105" y="103"/>
                  </a:lnTo>
                  <a:lnTo>
                    <a:pt x="96" y="106"/>
                  </a:lnTo>
                  <a:lnTo>
                    <a:pt x="88" y="111"/>
                  </a:lnTo>
                  <a:lnTo>
                    <a:pt x="82" y="115"/>
                  </a:lnTo>
                  <a:lnTo>
                    <a:pt x="74" y="119"/>
                  </a:lnTo>
                  <a:lnTo>
                    <a:pt x="67" y="122"/>
                  </a:lnTo>
                  <a:lnTo>
                    <a:pt x="61" y="123"/>
                  </a:lnTo>
                  <a:lnTo>
                    <a:pt x="58" y="122"/>
                  </a:lnTo>
                  <a:lnTo>
                    <a:pt x="55" y="119"/>
                  </a:lnTo>
                  <a:lnTo>
                    <a:pt x="53" y="115"/>
                  </a:lnTo>
                  <a:lnTo>
                    <a:pt x="51" y="110"/>
                  </a:lnTo>
                  <a:lnTo>
                    <a:pt x="48" y="100"/>
                  </a:lnTo>
                  <a:lnTo>
                    <a:pt x="47" y="9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473" name="Freeform 425"/>
            <p:cNvSpPr>
              <a:spLocks/>
            </p:cNvSpPr>
            <p:nvPr/>
          </p:nvSpPr>
          <p:spPr bwMode="auto">
            <a:xfrm>
              <a:off x="983" y="1236"/>
              <a:ext cx="157" cy="56"/>
            </a:xfrm>
            <a:custGeom>
              <a:avLst/>
              <a:gdLst/>
              <a:ahLst/>
              <a:cxnLst>
                <a:cxn ang="0">
                  <a:pos x="0" y="147"/>
                </a:cxn>
                <a:cxn ang="0">
                  <a:pos x="3" y="156"/>
                </a:cxn>
                <a:cxn ang="0">
                  <a:pos x="9" y="162"/>
                </a:cxn>
                <a:cxn ang="0">
                  <a:pos x="17" y="167"/>
                </a:cxn>
                <a:cxn ang="0">
                  <a:pos x="31" y="170"/>
                </a:cxn>
                <a:cxn ang="0">
                  <a:pos x="51" y="172"/>
                </a:cxn>
                <a:cxn ang="0">
                  <a:pos x="73" y="172"/>
                </a:cxn>
                <a:cxn ang="0">
                  <a:pos x="99" y="167"/>
                </a:cxn>
                <a:cxn ang="0">
                  <a:pos x="139" y="156"/>
                </a:cxn>
                <a:cxn ang="0">
                  <a:pos x="189" y="135"/>
                </a:cxn>
                <a:cxn ang="0">
                  <a:pos x="240" y="113"/>
                </a:cxn>
                <a:cxn ang="0">
                  <a:pos x="287" y="100"/>
                </a:cxn>
                <a:cxn ang="0">
                  <a:pos x="350" y="87"/>
                </a:cxn>
                <a:cxn ang="0">
                  <a:pos x="401" y="75"/>
                </a:cxn>
                <a:cxn ang="0">
                  <a:pos x="434" y="64"/>
                </a:cxn>
                <a:cxn ang="0">
                  <a:pos x="461" y="52"/>
                </a:cxn>
                <a:cxn ang="0">
                  <a:pos x="475" y="42"/>
                </a:cxn>
                <a:cxn ang="0">
                  <a:pos x="482" y="35"/>
                </a:cxn>
                <a:cxn ang="0">
                  <a:pos x="449" y="26"/>
                </a:cxn>
                <a:cxn ang="0">
                  <a:pos x="387" y="16"/>
                </a:cxn>
                <a:cxn ang="0">
                  <a:pos x="331" y="6"/>
                </a:cxn>
                <a:cxn ang="0">
                  <a:pos x="272" y="0"/>
                </a:cxn>
                <a:cxn ang="0">
                  <a:pos x="225" y="0"/>
                </a:cxn>
                <a:cxn ang="0">
                  <a:pos x="203" y="4"/>
                </a:cxn>
                <a:cxn ang="0">
                  <a:pos x="186" y="8"/>
                </a:cxn>
                <a:cxn ang="0">
                  <a:pos x="176" y="6"/>
                </a:cxn>
                <a:cxn ang="0">
                  <a:pos x="169" y="3"/>
                </a:cxn>
                <a:cxn ang="0">
                  <a:pos x="165" y="8"/>
                </a:cxn>
                <a:cxn ang="0">
                  <a:pos x="161" y="24"/>
                </a:cxn>
                <a:cxn ang="0">
                  <a:pos x="154" y="36"/>
                </a:cxn>
                <a:cxn ang="0">
                  <a:pos x="144" y="46"/>
                </a:cxn>
                <a:cxn ang="0">
                  <a:pos x="127" y="58"/>
                </a:cxn>
                <a:cxn ang="0">
                  <a:pos x="97" y="69"/>
                </a:cxn>
                <a:cxn ang="0">
                  <a:pos x="66" y="78"/>
                </a:cxn>
                <a:cxn ang="0">
                  <a:pos x="38" y="88"/>
                </a:cxn>
                <a:cxn ang="0">
                  <a:pos x="19" y="98"/>
                </a:cxn>
                <a:cxn ang="0">
                  <a:pos x="10" y="107"/>
                </a:cxn>
                <a:cxn ang="0">
                  <a:pos x="3" y="119"/>
                </a:cxn>
                <a:cxn ang="0">
                  <a:pos x="0" y="134"/>
                </a:cxn>
              </a:cxnLst>
              <a:rect l="0" t="0" r="r" b="b"/>
              <a:pathLst>
                <a:path w="484" h="172">
                  <a:moveTo>
                    <a:pt x="0" y="142"/>
                  </a:moveTo>
                  <a:lnTo>
                    <a:pt x="0" y="147"/>
                  </a:lnTo>
                  <a:lnTo>
                    <a:pt x="1" y="152"/>
                  </a:lnTo>
                  <a:lnTo>
                    <a:pt x="3" y="156"/>
                  </a:lnTo>
                  <a:lnTo>
                    <a:pt x="6" y="159"/>
                  </a:lnTo>
                  <a:lnTo>
                    <a:pt x="9" y="162"/>
                  </a:lnTo>
                  <a:lnTo>
                    <a:pt x="13" y="165"/>
                  </a:lnTo>
                  <a:lnTo>
                    <a:pt x="17" y="167"/>
                  </a:lnTo>
                  <a:lnTo>
                    <a:pt x="21" y="168"/>
                  </a:lnTo>
                  <a:lnTo>
                    <a:pt x="31" y="170"/>
                  </a:lnTo>
                  <a:lnTo>
                    <a:pt x="41" y="172"/>
                  </a:lnTo>
                  <a:lnTo>
                    <a:pt x="51" y="172"/>
                  </a:lnTo>
                  <a:lnTo>
                    <a:pt x="59" y="172"/>
                  </a:lnTo>
                  <a:lnTo>
                    <a:pt x="73" y="172"/>
                  </a:lnTo>
                  <a:lnTo>
                    <a:pt x="86" y="170"/>
                  </a:lnTo>
                  <a:lnTo>
                    <a:pt x="99" y="167"/>
                  </a:lnTo>
                  <a:lnTo>
                    <a:pt x="113" y="164"/>
                  </a:lnTo>
                  <a:lnTo>
                    <a:pt x="139" y="156"/>
                  </a:lnTo>
                  <a:lnTo>
                    <a:pt x="164" y="146"/>
                  </a:lnTo>
                  <a:lnTo>
                    <a:pt x="189" y="135"/>
                  </a:lnTo>
                  <a:lnTo>
                    <a:pt x="215" y="124"/>
                  </a:lnTo>
                  <a:lnTo>
                    <a:pt x="240" y="113"/>
                  </a:lnTo>
                  <a:lnTo>
                    <a:pt x="265" y="104"/>
                  </a:lnTo>
                  <a:lnTo>
                    <a:pt x="287" y="100"/>
                  </a:lnTo>
                  <a:lnTo>
                    <a:pt x="316" y="94"/>
                  </a:lnTo>
                  <a:lnTo>
                    <a:pt x="350" y="87"/>
                  </a:lnTo>
                  <a:lnTo>
                    <a:pt x="385" y="80"/>
                  </a:lnTo>
                  <a:lnTo>
                    <a:pt x="401" y="75"/>
                  </a:lnTo>
                  <a:lnTo>
                    <a:pt x="418" y="70"/>
                  </a:lnTo>
                  <a:lnTo>
                    <a:pt x="434" y="64"/>
                  </a:lnTo>
                  <a:lnTo>
                    <a:pt x="449" y="58"/>
                  </a:lnTo>
                  <a:lnTo>
                    <a:pt x="461" y="52"/>
                  </a:lnTo>
                  <a:lnTo>
                    <a:pt x="471" y="46"/>
                  </a:lnTo>
                  <a:lnTo>
                    <a:pt x="475" y="42"/>
                  </a:lnTo>
                  <a:lnTo>
                    <a:pt x="479" y="39"/>
                  </a:lnTo>
                  <a:lnTo>
                    <a:pt x="482" y="35"/>
                  </a:lnTo>
                  <a:lnTo>
                    <a:pt x="484" y="31"/>
                  </a:lnTo>
                  <a:lnTo>
                    <a:pt x="449" y="26"/>
                  </a:lnTo>
                  <a:lnTo>
                    <a:pt x="417" y="21"/>
                  </a:lnTo>
                  <a:lnTo>
                    <a:pt x="387" y="16"/>
                  </a:lnTo>
                  <a:lnTo>
                    <a:pt x="359" y="10"/>
                  </a:lnTo>
                  <a:lnTo>
                    <a:pt x="331" y="6"/>
                  </a:lnTo>
                  <a:lnTo>
                    <a:pt x="303" y="3"/>
                  </a:lnTo>
                  <a:lnTo>
                    <a:pt x="272" y="0"/>
                  </a:lnTo>
                  <a:lnTo>
                    <a:pt x="239" y="0"/>
                  </a:lnTo>
                  <a:lnTo>
                    <a:pt x="225" y="0"/>
                  </a:lnTo>
                  <a:lnTo>
                    <a:pt x="213" y="2"/>
                  </a:lnTo>
                  <a:lnTo>
                    <a:pt x="203" y="4"/>
                  </a:lnTo>
                  <a:lnTo>
                    <a:pt x="195" y="6"/>
                  </a:lnTo>
                  <a:lnTo>
                    <a:pt x="186" y="8"/>
                  </a:lnTo>
                  <a:lnTo>
                    <a:pt x="180" y="7"/>
                  </a:lnTo>
                  <a:lnTo>
                    <a:pt x="176" y="6"/>
                  </a:lnTo>
                  <a:lnTo>
                    <a:pt x="173" y="5"/>
                  </a:lnTo>
                  <a:lnTo>
                    <a:pt x="169" y="3"/>
                  </a:lnTo>
                  <a:lnTo>
                    <a:pt x="165" y="0"/>
                  </a:lnTo>
                  <a:lnTo>
                    <a:pt x="165" y="8"/>
                  </a:lnTo>
                  <a:lnTo>
                    <a:pt x="163" y="17"/>
                  </a:lnTo>
                  <a:lnTo>
                    <a:pt x="161" y="24"/>
                  </a:lnTo>
                  <a:lnTo>
                    <a:pt x="159" y="31"/>
                  </a:lnTo>
                  <a:lnTo>
                    <a:pt x="154" y="36"/>
                  </a:lnTo>
                  <a:lnTo>
                    <a:pt x="150" y="42"/>
                  </a:lnTo>
                  <a:lnTo>
                    <a:pt x="144" y="46"/>
                  </a:lnTo>
                  <a:lnTo>
                    <a:pt x="139" y="50"/>
                  </a:lnTo>
                  <a:lnTo>
                    <a:pt x="127" y="58"/>
                  </a:lnTo>
                  <a:lnTo>
                    <a:pt x="113" y="63"/>
                  </a:lnTo>
                  <a:lnTo>
                    <a:pt x="97" y="69"/>
                  </a:lnTo>
                  <a:lnTo>
                    <a:pt x="82" y="73"/>
                  </a:lnTo>
                  <a:lnTo>
                    <a:pt x="66" y="78"/>
                  </a:lnTo>
                  <a:lnTo>
                    <a:pt x="52" y="82"/>
                  </a:lnTo>
                  <a:lnTo>
                    <a:pt x="38" y="88"/>
                  </a:lnTo>
                  <a:lnTo>
                    <a:pt x="25" y="94"/>
                  </a:lnTo>
                  <a:lnTo>
                    <a:pt x="19" y="98"/>
                  </a:lnTo>
                  <a:lnTo>
                    <a:pt x="15" y="103"/>
                  </a:lnTo>
                  <a:lnTo>
                    <a:pt x="10" y="107"/>
                  </a:lnTo>
                  <a:lnTo>
                    <a:pt x="6" y="113"/>
                  </a:lnTo>
                  <a:lnTo>
                    <a:pt x="3" y="119"/>
                  </a:lnTo>
                  <a:lnTo>
                    <a:pt x="1" y="126"/>
                  </a:lnTo>
                  <a:lnTo>
                    <a:pt x="0" y="134"/>
                  </a:lnTo>
                  <a:lnTo>
                    <a:pt x="0" y="14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474" name="Freeform 426"/>
            <p:cNvSpPr>
              <a:spLocks/>
            </p:cNvSpPr>
            <p:nvPr/>
          </p:nvSpPr>
          <p:spPr bwMode="auto">
            <a:xfrm>
              <a:off x="1043" y="1255"/>
              <a:ext cx="221" cy="79"/>
            </a:xfrm>
            <a:custGeom>
              <a:avLst/>
              <a:gdLst/>
              <a:ahLst/>
              <a:cxnLst>
                <a:cxn ang="0">
                  <a:pos x="317" y="5"/>
                </a:cxn>
                <a:cxn ang="0">
                  <a:pos x="304" y="27"/>
                </a:cxn>
                <a:cxn ang="0">
                  <a:pos x="297" y="41"/>
                </a:cxn>
                <a:cxn ang="0">
                  <a:pos x="299" y="43"/>
                </a:cxn>
                <a:cxn ang="0">
                  <a:pos x="337" y="39"/>
                </a:cxn>
                <a:cxn ang="0">
                  <a:pos x="372" y="19"/>
                </a:cxn>
                <a:cxn ang="0">
                  <a:pos x="379" y="38"/>
                </a:cxn>
                <a:cxn ang="0">
                  <a:pos x="377" y="55"/>
                </a:cxn>
                <a:cxn ang="0">
                  <a:pos x="405" y="69"/>
                </a:cxn>
                <a:cxn ang="0">
                  <a:pos x="511" y="51"/>
                </a:cxn>
                <a:cxn ang="0">
                  <a:pos x="514" y="70"/>
                </a:cxn>
                <a:cxn ang="0">
                  <a:pos x="541" y="63"/>
                </a:cxn>
                <a:cxn ang="0">
                  <a:pos x="557" y="45"/>
                </a:cxn>
                <a:cxn ang="0">
                  <a:pos x="558" y="19"/>
                </a:cxn>
                <a:cxn ang="0">
                  <a:pos x="563" y="8"/>
                </a:cxn>
                <a:cxn ang="0">
                  <a:pos x="579" y="0"/>
                </a:cxn>
                <a:cxn ang="0">
                  <a:pos x="624" y="3"/>
                </a:cxn>
                <a:cxn ang="0">
                  <a:pos x="645" y="0"/>
                </a:cxn>
                <a:cxn ang="0">
                  <a:pos x="657" y="39"/>
                </a:cxn>
                <a:cxn ang="0">
                  <a:pos x="653" y="70"/>
                </a:cxn>
                <a:cxn ang="0">
                  <a:pos x="637" y="101"/>
                </a:cxn>
                <a:cxn ang="0">
                  <a:pos x="618" y="124"/>
                </a:cxn>
                <a:cxn ang="0">
                  <a:pos x="648" y="137"/>
                </a:cxn>
                <a:cxn ang="0">
                  <a:pos x="672" y="145"/>
                </a:cxn>
                <a:cxn ang="0">
                  <a:pos x="684" y="180"/>
                </a:cxn>
                <a:cxn ang="0">
                  <a:pos x="639" y="185"/>
                </a:cxn>
                <a:cxn ang="0">
                  <a:pos x="608" y="181"/>
                </a:cxn>
                <a:cxn ang="0">
                  <a:pos x="574" y="180"/>
                </a:cxn>
                <a:cxn ang="0">
                  <a:pos x="564" y="184"/>
                </a:cxn>
                <a:cxn ang="0">
                  <a:pos x="542" y="200"/>
                </a:cxn>
                <a:cxn ang="0">
                  <a:pos x="524" y="209"/>
                </a:cxn>
                <a:cxn ang="0">
                  <a:pos x="493" y="209"/>
                </a:cxn>
                <a:cxn ang="0">
                  <a:pos x="452" y="204"/>
                </a:cxn>
                <a:cxn ang="0">
                  <a:pos x="422" y="198"/>
                </a:cxn>
                <a:cxn ang="0">
                  <a:pos x="337" y="211"/>
                </a:cxn>
                <a:cxn ang="0">
                  <a:pos x="231" y="230"/>
                </a:cxn>
                <a:cxn ang="0">
                  <a:pos x="169" y="238"/>
                </a:cxn>
                <a:cxn ang="0">
                  <a:pos x="124" y="238"/>
                </a:cxn>
                <a:cxn ang="0">
                  <a:pos x="100" y="228"/>
                </a:cxn>
                <a:cxn ang="0">
                  <a:pos x="67" y="208"/>
                </a:cxn>
                <a:cxn ang="0">
                  <a:pos x="29" y="196"/>
                </a:cxn>
                <a:cxn ang="0">
                  <a:pos x="0" y="173"/>
                </a:cxn>
                <a:cxn ang="0">
                  <a:pos x="64" y="159"/>
                </a:cxn>
                <a:cxn ang="0">
                  <a:pos x="100" y="154"/>
                </a:cxn>
                <a:cxn ang="0">
                  <a:pos x="156" y="160"/>
                </a:cxn>
                <a:cxn ang="0">
                  <a:pos x="201" y="165"/>
                </a:cxn>
                <a:cxn ang="0">
                  <a:pos x="224" y="162"/>
                </a:cxn>
                <a:cxn ang="0">
                  <a:pos x="26" y="136"/>
                </a:cxn>
                <a:cxn ang="0">
                  <a:pos x="52" y="128"/>
                </a:cxn>
                <a:cxn ang="0">
                  <a:pos x="109" y="117"/>
                </a:cxn>
                <a:cxn ang="0">
                  <a:pos x="165" y="108"/>
                </a:cxn>
                <a:cxn ang="0">
                  <a:pos x="187" y="99"/>
                </a:cxn>
                <a:cxn ang="0">
                  <a:pos x="166" y="93"/>
                </a:cxn>
                <a:cxn ang="0">
                  <a:pos x="125" y="98"/>
                </a:cxn>
                <a:cxn ang="0">
                  <a:pos x="71" y="110"/>
                </a:cxn>
                <a:cxn ang="0">
                  <a:pos x="52" y="106"/>
                </a:cxn>
                <a:cxn ang="0">
                  <a:pos x="55" y="90"/>
                </a:cxn>
                <a:cxn ang="0">
                  <a:pos x="54" y="81"/>
                </a:cxn>
                <a:cxn ang="0">
                  <a:pos x="59" y="78"/>
                </a:cxn>
              </a:cxnLst>
              <a:rect l="0" t="0" r="r" b="b"/>
              <a:pathLst>
                <a:path w="684" h="240">
                  <a:moveTo>
                    <a:pt x="60" y="75"/>
                  </a:moveTo>
                  <a:lnTo>
                    <a:pt x="320" y="0"/>
                  </a:lnTo>
                  <a:lnTo>
                    <a:pt x="317" y="5"/>
                  </a:lnTo>
                  <a:lnTo>
                    <a:pt x="314" y="13"/>
                  </a:lnTo>
                  <a:lnTo>
                    <a:pt x="310" y="20"/>
                  </a:lnTo>
                  <a:lnTo>
                    <a:pt x="304" y="27"/>
                  </a:lnTo>
                  <a:lnTo>
                    <a:pt x="300" y="33"/>
                  </a:lnTo>
                  <a:lnTo>
                    <a:pt x="297" y="39"/>
                  </a:lnTo>
                  <a:lnTo>
                    <a:pt x="297" y="41"/>
                  </a:lnTo>
                  <a:lnTo>
                    <a:pt x="297" y="42"/>
                  </a:lnTo>
                  <a:lnTo>
                    <a:pt x="298" y="43"/>
                  </a:lnTo>
                  <a:lnTo>
                    <a:pt x="299" y="43"/>
                  </a:lnTo>
                  <a:lnTo>
                    <a:pt x="315" y="43"/>
                  </a:lnTo>
                  <a:lnTo>
                    <a:pt x="327" y="41"/>
                  </a:lnTo>
                  <a:lnTo>
                    <a:pt x="337" y="39"/>
                  </a:lnTo>
                  <a:lnTo>
                    <a:pt x="346" y="36"/>
                  </a:lnTo>
                  <a:lnTo>
                    <a:pt x="359" y="28"/>
                  </a:lnTo>
                  <a:lnTo>
                    <a:pt x="372" y="19"/>
                  </a:lnTo>
                  <a:lnTo>
                    <a:pt x="376" y="26"/>
                  </a:lnTo>
                  <a:lnTo>
                    <a:pt x="378" y="32"/>
                  </a:lnTo>
                  <a:lnTo>
                    <a:pt x="379" y="38"/>
                  </a:lnTo>
                  <a:lnTo>
                    <a:pt x="378" y="44"/>
                  </a:lnTo>
                  <a:lnTo>
                    <a:pt x="378" y="49"/>
                  </a:lnTo>
                  <a:lnTo>
                    <a:pt x="377" y="55"/>
                  </a:lnTo>
                  <a:lnTo>
                    <a:pt x="378" y="61"/>
                  </a:lnTo>
                  <a:lnTo>
                    <a:pt x="379" y="69"/>
                  </a:lnTo>
                  <a:lnTo>
                    <a:pt x="405" y="69"/>
                  </a:lnTo>
                  <a:lnTo>
                    <a:pt x="512" y="19"/>
                  </a:lnTo>
                  <a:lnTo>
                    <a:pt x="511" y="36"/>
                  </a:lnTo>
                  <a:lnTo>
                    <a:pt x="511" y="51"/>
                  </a:lnTo>
                  <a:lnTo>
                    <a:pt x="511" y="58"/>
                  </a:lnTo>
                  <a:lnTo>
                    <a:pt x="512" y="65"/>
                  </a:lnTo>
                  <a:lnTo>
                    <a:pt x="514" y="70"/>
                  </a:lnTo>
                  <a:lnTo>
                    <a:pt x="518" y="75"/>
                  </a:lnTo>
                  <a:lnTo>
                    <a:pt x="531" y="68"/>
                  </a:lnTo>
                  <a:lnTo>
                    <a:pt x="541" y="63"/>
                  </a:lnTo>
                  <a:lnTo>
                    <a:pt x="549" y="57"/>
                  </a:lnTo>
                  <a:lnTo>
                    <a:pt x="553" y="51"/>
                  </a:lnTo>
                  <a:lnTo>
                    <a:pt x="557" y="45"/>
                  </a:lnTo>
                  <a:lnTo>
                    <a:pt x="558" y="38"/>
                  </a:lnTo>
                  <a:lnTo>
                    <a:pt x="558" y="30"/>
                  </a:lnTo>
                  <a:lnTo>
                    <a:pt x="558" y="19"/>
                  </a:lnTo>
                  <a:lnTo>
                    <a:pt x="559" y="15"/>
                  </a:lnTo>
                  <a:lnTo>
                    <a:pt x="560" y="11"/>
                  </a:lnTo>
                  <a:lnTo>
                    <a:pt x="563" y="8"/>
                  </a:lnTo>
                  <a:lnTo>
                    <a:pt x="566" y="5"/>
                  </a:lnTo>
                  <a:lnTo>
                    <a:pt x="572" y="1"/>
                  </a:lnTo>
                  <a:lnTo>
                    <a:pt x="579" y="0"/>
                  </a:lnTo>
                  <a:lnTo>
                    <a:pt x="600" y="1"/>
                  </a:lnTo>
                  <a:lnTo>
                    <a:pt x="616" y="2"/>
                  </a:lnTo>
                  <a:lnTo>
                    <a:pt x="624" y="3"/>
                  </a:lnTo>
                  <a:lnTo>
                    <a:pt x="630" y="3"/>
                  </a:lnTo>
                  <a:lnTo>
                    <a:pt x="637" y="2"/>
                  </a:lnTo>
                  <a:lnTo>
                    <a:pt x="645" y="0"/>
                  </a:lnTo>
                  <a:lnTo>
                    <a:pt x="650" y="15"/>
                  </a:lnTo>
                  <a:lnTo>
                    <a:pt x="653" y="28"/>
                  </a:lnTo>
                  <a:lnTo>
                    <a:pt x="657" y="39"/>
                  </a:lnTo>
                  <a:lnTo>
                    <a:pt x="658" y="50"/>
                  </a:lnTo>
                  <a:lnTo>
                    <a:pt x="657" y="59"/>
                  </a:lnTo>
                  <a:lnTo>
                    <a:pt x="653" y="70"/>
                  </a:lnTo>
                  <a:lnTo>
                    <a:pt x="649" y="81"/>
                  </a:lnTo>
                  <a:lnTo>
                    <a:pt x="643" y="91"/>
                  </a:lnTo>
                  <a:lnTo>
                    <a:pt x="637" y="101"/>
                  </a:lnTo>
                  <a:lnTo>
                    <a:pt x="630" y="110"/>
                  </a:lnTo>
                  <a:lnTo>
                    <a:pt x="624" y="119"/>
                  </a:lnTo>
                  <a:lnTo>
                    <a:pt x="618" y="124"/>
                  </a:lnTo>
                  <a:lnTo>
                    <a:pt x="628" y="130"/>
                  </a:lnTo>
                  <a:lnTo>
                    <a:pt x="638" y="134"/>
                  </a:lnTo>
                  <a:lnTo>
                    <a:pt x="648" y="137"/>
                  </a:lnTo>
                  <a:lnTo>
                    <a:pt x="657" y="139"/>
                  </a:lnTo>
                  <a:lnTo>
                    <a:pt x="664" y="142"/>
                  </a:lnTo>
                  <a:lnTo>
                    <a:pt x="672" y="145"/>
                  </a:lnTo>
                  <a:lnTo>
                    <a:pt x="679" y="149"/>
                  </a:lnTo>
                  <a:lnTo>
                    <a:pt x="684" y="154"/>
                  </a:lnTo>
                  <a:lnTo>
                    <a:pt x="684" y="180"/>
                  </a:lnTo>
                  <a:lnTo>
                    <a:pt x="665" y="183"/>
                  </a:lnTo>
                  <a:lnTo>
                    <a:pt x="650" y="185"/>
                  </a:lnTo>
                  <a:lnTo>
                    <a:pt x="639" y="185"/>
                  </a:lnTo>
                  <a:lnTo>
                    <a:pt x="629" y="184"/>
                  </a:lnTo>
                  <a:lnTo>
                    <a:pt x="619" y="183"/>
                  </a:lnTo>
                  <a:lnTo>
                    <a:pt x="608" y="181"/>
                  </a:lnTo>
                  <a:lnTo>
                    <a:pt x="595" y="180"/>
                  </a:lnTo>
                  <a:lnTo>
                    <a:pt x="579" y="180"/>
                  </a:lnTo>
                  <a:lnTo>
                    <a:pt x="574" y="180"/>
                  </a:lnTo>
                  <a:lnTo>
                    <a:pt x="571" y="181"/>
                  </a:lnTo>
                  <a:lnTo>
                    <a:pt x="568" y="182"/>
                  </a:lnTo>
                  <a:lnTo>
                    <a:pt x="564" y="184"/>
                  </a:lnTo>
                  <a:lnTo>
                    <a:pt x="557" y="189"/>
                  </a:lnTo>
                  <a:lnTo>
                    <a:pt x="550" y="195"/>
                  </a:lnTo>
                  <a:lnTo>
                    <a:pt x="542" y="200"/>
                  </a:lnTo>
                  <a:lnTo>
                    <a:pt x="534" y="205"/>
                  </a:lnTo>
                  <a:lnTo>
                    <a:pt x="528" y="207"/>
                  </a:lnTo>
                  <a:lnTo>
                    <a:pt x="524" y="209"/>
                  </a:lnTo>
                  <a:lnTo>
                    <a:pt x="518" y="210"/>
                  </a:lnTo>
                  <a:lnTo>
                    <a:pt x="512" y="210"/>
                  </a:lnTo>
                  <a:lnTo>
                    <a:pt x="493" y="209"/>
                  </a:lnTo>
                  <a:lnTo>
                    <a:pt x="478" y="208"/>
                  </a:lnTo>
                  <a:lnTo>
                    <a:pt x="463" y="206"/>
                  </a:lnTo>
                  <a:lnTo>
                    <a:pt x="452" y="204"/>
                  </a:lnTo>
                  <a:lnTo>
                    <a:pt x="441" y="202"/>
                  </a:lnTo>
                  <a:lnTo>
                    <a:pt x="432" y="200"/>
                  </a:lnTo>
                  <a:lnTo>
                    <a:pt x="422" y="198"/>
                  </a:lnTo>
                  <a:lnTo>
                    <a:pt x="412" y="198"/>
                  </a:lnTo>
                  <a:lnTo>
                    <a:pt x="389" y="202"/>
                  </a:lnTo>
                  <a:lnTo>
                    <a:pt x="337" y="211"/>
                  </a:lnTo>
                  <a:lnTo>
                    <a:pt x="283" y="221"/>
                  </a:lnTo>
                  <a:lnTo>
                    <a:pt x="253" y="228"/>
                  </a:lnTo>
                  <a:lnTo>
                    <a:pt x="231" y="230"/>
                  </a:lnTo>
                  <a:lnTo>
                    <a:pt x="209" y="232"/>
                  </a:lnTo>
                  <a:lnTo>
                    <a:pt x="189" y="235"/>
                  </a:lnTo>
                  <a:lnTo>
                    <a:pt x="169" y="238"/>
                  </a:lnTo>
                  <a:lnTo>
                    <a:pt x="150" y="240"/>
                  </a:lnTo>
                  <a:lnTo>
                    <a:pt x="132" y="239"/>
                  </a:lnTo>
                  <a:lnTo>
                    <a:pt x="124" y="238"/>
                  </a:lnTo>
                  <a:lnTo>
                    <a:pt x="115" y="236"/>
                  </a:lnTo>
                  <a:lnTo>
                    <a:pt x="108" y="233"/>
                  </a:lnTo>
                  <a:lnTo>
                    <a:pt x="100" y="228"/>
                  </a:lnTo>
                  <a:lnTo>
                    <a:pt x="100" y="210"/>
                  </a:lnTo>
                  <a:lnTo>
                    <a:pt x="84" y="209"/>
                  </a:lnTo>
                  <a:lnTo>
                    <a:pt x="67" y="208"/>
                  </a:lnTo>
                  <a:lnTo>
                    <a:pt x="53" y="205"/>
                  </a:lnTo>
                  <a:lnTo>
                    <a:pt x="41" y="201"/>
                  </a:lnTo>
                  <a:lnTo>
                    <a:pt x="29" y="196"/>
                  </a:lnTo>
                  <a:lnTo>
                    <a:pt x="18" y="189"/>
                  </a:lnTo>
                  <a:lnTo>
                    <a:pt x="9" y="182"/>
                  </a:lnTo>
                  <a:lnTo>
                    <a:pt x="0" y="173"/>
                  </a:lnTo>
                  <a:lnTo>
                    <a:pt x="28" y="167"/>
                  </a:lnTo>
                  <a:lnTo>
                    <a:pt x="53" y="161"/>
                  </a:lnTo>
                  <a:lnTo>
                    <a:pt x="64" y="159"/>
                  </a:lnTo>
                  <a:lnTo>
                    <a:pt x="76" y="156"/>
                  </a:lnTo>
                  <a:lnTo>
                    <a:pt x="88" y="155"/>
                  </a:lnTo>
                  <a:lnTo>
                    <a:pt x="100" y="154"/>
                  </a:lnTo>
                  <a:lnTo>
                    <a:pt x="121" y="155"/>
                  </a:lnTo>
                  <a:lnTo>
                    <a:pt x="140" y="157"/>
                  </a:lnTo>
                  <a:lnTo>
                    <a:pt x="156" y="160"/>
                  </a:lnTo>
                  <a:lnTo>
                    <a:pt x="171" y="162"/>
                  </a:lnTo>
                  <a:lnTo>
                    <a:pt x="186" y="164"/>
                  </a:lnTo>
                  <a:lnTo>
                    <a:pt x="201" y="165"/>
                  </a:lnTo>
                  <a:lnTo>
                    <a:pt x="209" y="164"/>
                  </a:lnTo>
                  <a:lnTo>
                    <a:pt x="216" y="164"/>
                  </a:lnTo>
                  <a:lnTo>
                    <a:pt x="224" y="162"/>
                  </a:lnTo>
                  <a:lnTo>
                    <a:pt x="233" y="160"/>
                  </a:lnTo>
                  <a:lnTo>
                    <a:pt x="126" y="142"/>
                  </a:lnTo>
                  <a:lnTo>
                    <a:pt x="26" y="136"/>
                  </a:lnTo>
                  <a:lnTo>
                    <a:pt x="34" y="133"/>
                  </a:lnTo>
                  <a:lnTo>
                    <a:pt x="42" y="130"/>
                  </a:lnTo>
                  <a:lnTo>
                    <a:pt x="52" y="128"/>
                  </a:lnTo>
                  <a:lnTo>
                    <a:pt x="62" y="125"/>
                  </a:lnTo>
                  <a:lnTo>
                    <a:pt x="85" y="122"/>
                  </a:lnTo>
                  <a:lnTo>
                    <a:pt x="109" y="117"/>
                  </a:lnTo>
                  <a:lnTo>
                    <a:pt x="133" y="114"/>
                  </a:lnTo>
                  <a:lnTo>
                    <a:pt x="155" y="110"/>
                  </a:lnTo>
                  <a:lnTo>
                    <a:pt x="165" y="108"/>
                  </a:lnTo>
                  <a:lnTo>
                    <a:pt x="174" y="105"/>
                  </a:lnTo>
                  <a:lnTo>
                    <a:pt x="180" y="102"/>
                  </a:lnTo>
                  <a:lnTo>
                    <a:pt x="187" y="99"/>
                  </a:lnTo>
                  <a:lnTo>
                    <a:pt x="180" y="96"/>
                  </a:lnTo>
                  <a:lnTo>
                    <a:pt x="172" y="94"/>
                  </a:lnTo>
                  <a:lnTo>
                    <a:pt x="166" y="93"/>
                  </a:lnTo>
                  <a:lnTo>
                    <a:pt x="158" y="93"/>
                  </a:lnTo>
                  <a:lnTo>
                    <a:pt x="142" y="95"/>
                  </a:lnTo>
                  <a:lnTo>
                    <a:pt x="125" y="98"/>
                  </a:lnTo>
                  <a:lnTo>
                    <a:pt x="107" y="102"/>
                  </a:lnTo>
                  <a:lnTo>
                    <a:pt x="89" y="107"/>
                  </a:lnTo>
                  <a:lnTo>
                    <a:pt x="71" y="110"/>
                  </a:lnTo>
                  <a:lnTo>
                    <a:pt x="54" y="111"/>
                  </a:lnTo>
                  <a:lnTo>
                    <a:pt x="52" y="110"/>
                  </a:lnTo>
                  <a:lnTo>
                    <a:pt x="52" y="106"/>
                  </a:lnTo>
                  <a:lnTo>
                    <a:pt x="53" y="102"/>
                  </a:lnTo>
                  <a:lnTo>
                    <a:pt x="54" y="96"/>
                  </a:lnTo>
                  <a:lnTo>
                    <a:pt x="55" y="90"/>
                  </a:lnTo>
                  <a:lnTo>
                    <a:pt x="55" y="86"/>
                  </a:lnTo>
                  <a:lnTo>
                    <a:pt x="55" y="82"/>
                  </a:lnTo>
                  <a:lnTo>
                    <a:pt x="54" y="81"/>
                  </a:lnTo>
                  <a:lnTo>
                    <a:pt x="55" y="81"/>
                  </a:lnTo>
                  <a:lnTo>
                    <a:pt x="57" y="80"/>
                  </a:lnTo>
                  <a:lnTo>
                    <a:pt x="59" y="78"/>
                  </a:lnTo>
                  <a:lnTo>
                    <a:pt x="60" y="7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475" name="Freeform 427"/>
            <p:cNvSpPr>
              <a:spLocks/>
            </p:cNvSpPr>
            <p:nvPr/>
          </p:nvSpPr>
          <p:spPr bwMode="auto">
            <a:xfrm>
              <a:off x="1645" y="1643"/>
              <a:ext cx="108" cy="93"/>
            </a:xfrm>
            <a:custGeom>
              <a:avLst/>
              <a:gdLst/>
              <a:ahLst/>
              <a:cxnLst>
                <a:cxn ang="0">
                  <a:pos x="180" y="38"/>
                </a:cxn>
                <a:cxn ang="0">
                  <a:pos x="202" y="24"/>
                </a:cxn>
                <a:cxn ang="0">
                  <a:pos x="226" y="7"/>
                </a:cxn>
                <a:cxn ang="0">
                  <a:pos x="240" y="1"/>
                </a:cxn>
                <a:cxn ang="0">
                  <a:pos x="246" y="1"/>
                </a:cxn>
                <a:cxn ang="0">
                  <a:pos x="245" y="12"/>
                </a:cxn>
                <a:cxn ang="0">
                  <a:pos x="234" y="33"/>
                </a:cxn>
                <a:cxn ang="0">
                  <a:pos x="217" y="55"/>
                </a:cxn>
                <a:cxn ang="0">
                  <a:pos x="202" y="67"/>
                </a:cxn>
                <a:cxn ang="0">
                  <a:pos x="191" y="71"/>
                </a:cxn>
                <a:cxn ang="0">
                  <a:pos x="191" y="73"/>
                </a:cxn>
                <a:cxn ang="0">
                  <a:pos x="201" y="74"/>
                </a:cxn>
                <a:cxn ang="0">
                  <a:pos x="216" y="72"/>
                </a:cxn>
                <a:cxn ang="0">
                  <a:pos x="224" y="77"/>
                </a:cxn>
                <a:cxn ang="0">
                  <a:pos x="217" y="88"/>
                </a:cxn>
                <a:cxn ang="0">
                  <a:pos x="214" y="97"/>
                </a:cxn>
                <a:cxn ang="0">
                  <a:pos x="217" y="105"/>
                </a:cxn>
                <a:cxn ang="0">
                  <a:pos x="249" y="113"/>
                </a:cxn>
                <a:cxn ang="0">
                  <a:pos x="308" y="124"/>
                </a:cxn>
                <a:cxn ang="0">
                  <a:pos x="322" y="131"/>
                </a:cxn>
                <a:cxn ang="0">
                  <a:pos x="315" y="140"/>
                </a:cxn>
                <a:cxn ang="0">
                  <a:pos x="303" y="149"/>
                </a:cxn>
                <a:cxn ang="0">
                  <a:pos x="299" y="154"/>
                </a:cxn>
                <a:cxn ang="0">
                  <a:pos x="302" y="160"/>
                </a:cxn>
                <a:cxn ang="0">
                  <a:pos x="308" y="168"/>
                </a:cxn>
                <a:cxn ang="0">
                  <a:pos x="319" y="176"/>
                </a:cxn>
                <a:cxn ang="0">
                  <a:pos x="329" y="184"/>
                </a:cxn>
                <a:cxn ang="0">
                  <a:pos x="290" y="211"/>
                </a:cxn>
                <a:cxn ang="0">
                  <a:pos x="241" y="241"/>
                </a:cxn>
                <a:cxn ang="0">
                  <a:pos x="207" y="268"/>
                </a:cxn>
                <a:cxn ang="0">
                  <a:pos x="173" y="244"/>
                </a:cxn>
                <a:cxn ang="0">
                  <a:pos x="182" y="243"/>
                </a:cxn>
                <a:cxn ang="0">
                  <a:pos x="189" y="240"/>
                </a:cxn>
                <a:cxn ang="0">
                  <a:pos x="200" y="232"/>
                </a:cxn>
                <a:cxn ang="0">
                  <a:pos x="149" y="232"/>
                </a:cxn>
                <a:cxn ang="0">
                  <a:pos x="101" y="232"/>
                </a:cxn>
                <a:cxn ang="0">
                  <a:pos x="58" y="232"/>
                </a:cxn>
                <a:cxn ang="0">
                  <a:pos x="27" y="232"/>
                </a:cxn>
                <a:cxn ang="0">
                  <a:pos x="11" y="227"/>
                </a:cxn>
                <a:cxn ang="0">
                  <a:pos x="3" y="222"/>
                </a:cxn>
                <a:cxn ang="0">
                  <a:pos x="0" y="213"/>
                </a:cxn>
                <a:cxn ang="0">
                  <a:pos x="4" y="205"/>
                </a:cxn>
                <a:cxn ang="0">
                  <a:pos x="13" y="197"/>
                </a:cxn>
                <a:cxn ang="0">
                  <a:pos x="41" y="179"/>
                </a:cxn>
                <a:cxn ang="0">
                  <a:pos x="73" y="162"/>
                </a:cxn>
                <a:cxn ang="0">
                  <a:pos x="85" y="152"/>
                </a:cxn>
                <a:cxn ang="0">
                  <a:pos x="93" y="145"/>
                </a:cxn>
                <a:cxn ang="0">
                  <a:pos x="106" y="130"/>
                </a:cxn>
                <a:cxn ang="0">
                  <a:pos x="116" y="114"/>
                </a:cxn>
                <a:cxn ang="0">
                  <a:pos x="130" y="79"/>
                </a:cxn>
                <a:cxn ang="0">
                  <a:pos x="138" y="64"/>
                </a:cxn>
                <a:cxn ang="0">
                  <a:pos x="147" y="52"/>
                </a:cxn>
                <a:cxn ang="0">
                  <a:pos x="158" y="43"/>
                </a:cxn>
                <a:cxn ang="0">
                  <a:pos x="173" y="40"/>
                </a:cxn>
              </a:cxnLst>
              <a:rect l="0" t="0" r="r" b="b"/>
              <a:pathLst>
                <a:path w="332" h="287">
                  <a:moveTo>
                    <a:pt x="173" y="40"/>
                  </a:moveTo>
                  <a:lnTo>
                    <a:pt x="180" y="38"/>
                  </a:lnTo>
                  <a:lnTo>
                    <a:pt x="190" y="32"/>
                  </a:lnTo>
                  <a:lnTo>
                    <a:pt x="202" y="24"/>
                  </a:lnTo>
                  <a:lnTo>
                    <a:pt x="215" y="15"/>
                  </a:lnTo>
                  <a:lnTo>
                    <a:pt x="226" y="7"/>
                  </a:lnTo>
                  <a:lnTo>
                    <a:pt x="237" y="2"/>
                  </a:lnTo>
                  <a:lnTo>
                    <a:pt x="240" y="1"/>
                  </a:lnTo>
                  <a:lnTo>
                    <a:pt x="243" y="0"/>
                  </a:lnTo>
                  <a:lnTo>
                    <a:pt x="246" y="1"/>
                  </a:lnTo>
                  <a:lnTo>
                    <a:pt x="246" y="4"/>
                  </a:lnTo>
                  <a:lnTo>
                    <a:pt x="245" y="12"/>
                  </a:lnTo>
                  <a:lnTo>
                    <a:pt x="240" y="22"/>
                  </a:lnTo>
                  <a:lnTo>
                    <a:pt x="234" y="33"/>
                  </a:lnTo>
                  <a:lnTo>
                    <a:pt x="226" y="44"/>
                  </a:lnTo>
                  <a:lnTo>
                    <a:pt x="217" y="55"/>
                  </a:lnTo>
                  <a:lnTo>
                    <a:pt x="207" y="64"/>
                  </a:lnTo>
                  <a:lnTo>
                    <a:pt x="202" y="67"/>
                  </a:lnTo>
                  <a:lnTo>
                    <a:pt x="196" y="69"/>
                  </a:lnTo>
                  <a:lnTo>
                    <a:pt x="191" y="71"/>
                  </a:lnTo>
                  <a:lnTo>
                    <a:pt x="186" y="71"/>
                  </a:lnTo>
                  <a:lnTo>
                    <a:pt x="191" y="73"/>
                  </a:lnTo>
                  <a:lnTo>
                    <a:pt x="196" y="74"/>
                  </a:lnTo>
                  <a:lnTo>
                    <a:pt x="201" y="74"/>
                  </a:lnTo>
                  <a:lnTo>
                    <a:pt x="206" y="74"/>
                  </a:lnTo>
                  <a:lnTo>
                    <a:pt x="216" y="72"/>
                  </a:lnTo>
                  <a:lnTo>
                    <a:pt x="226" y="71"/>
                  </a:lnTo>
                  <a:lnTo>
                    <a:pt x="224" y="77"/>
                  </a:lnTo>
                  <a:lnTo>
                    <a:pt x="219" y="84"/>
                  </a:lnTo>
                  <a:lnTo>
                    <a:pt x="217" y="88"/>
                  </a:lnTo>
                  <a:lnTo>
                    <a:pt x="215" y="93"/>
                  </a:lnTo>
                  <a:lnTo>
                    <a:pt x="214" y="97"/>
                  </a:lnTo>
                  <a:lnTo>
                    <a:pt x="213" y="102"/>
                  </a:lnTo>
                  <a:lnTo>
                    <a:pt x="217" y="105"/>
                  </a:lnTo>
                  <a:lnTo>
                    <a:pt x="230" y="109"/>
                  </a:lnTo>
                  <a:lnTo>
                    <a:pt x="249" y="113"/>
                  </a:lnTo>
                  <a:lnTo>
                    <a:pt x="269" y="117"/>
                  </a:lnTo>
                  <a:lnTo>
                    <a:pt x="308" y="124"/>
                  </a:lnTo>
                  <a:lnTo>
                    <a:pt x="326" y="127"/>
                  </a:lnTo>
                  <a:lnTo>
                    <a:pt x="322" y="131"/>
                  </a:lnTo>
                  <a:lnTo>
                    <a:pt x="319" y="136"/>
                  </a:lnTo>
                  <a:lnTo>
                    <a:pt x="315" y="140"/>
                  </a:lnTo>
                  <a:lnTo>
                    <a:pt x="310" y="144"/>
                  </a:lnTo>
                  <a:lnTo>
                    <a:pt x="303" y="149"/>
                  </a:lnTo>
                  <a:lnTo>
                    <a:pt x="299" y="151"/>
                  </a:lnTo>
                  <a:lnTo>
                    <a:pt x="299" y="154"/>
                  </a:lnTo>
                  <a:lnTo>
                    <a:pt x="301" y="157"/>
                  </a:lnTo>
                  <a:lnTo>
                    <a:pt x="302" y="160"/>
                  </a:lnTo>
                  <a:lnTo>
                    <a:pt x="304" y="164"/>
                  </a:lnTo>
                  <a:lnTo>
                    <a:pt x="308" y="168"/>
                  </a:lnTo>
                  <a:lnTo>
                    <a:pt x="314" y="173"/>
                  </a:lnTo>
                  <a:lnTo>
                    <a:pt x="319" y="176"/>
                  </a:lnTo>
                  <a:lnTo>
                    <a:pt x="325" y="180"/>
                  </a:lnTo>
                  <a:lnTo>
                    <a:pt x="329" y="184"/>
                  </a:lnTo>
                  <a:lnTo>
                    <a:pt x="332" y="188"/>
                  </a:lnTo>
                  <a:lnTo>
                    <a:pt x="290" y="211"/>
                  </a:lnTo>
                  <a:lnTo>
                    <a:pt x="257" y="231"/>
                  </a:lnTo>
                  <a:lnTo>
                    <a:pt x="241" y="241"/>
                  </a:lnTo>
                  <a:lnTo>
                    <a:pt x="225" y="253"/>
                  </a:lnTo>
                  <a:lnTo>
                    <a:pt x="207" y="268"/>
                  </a:lnTo>
                  <a:lnTo>
                    <a:pt x="186" y="287"/>
                  </a:lnTo>
                  <a:lnTo>
                    <a:pt x="173" y="244"/>
                  </a:lnTo>
                  <a:lnTo>
                    <a:pt x="178" y="244"/>
                  </a:lnTo>
                  <a:lnTo>
                    <a:pt x="182" y="243"/>
                  </a:lnTo>
                  <a:lnTo>
                    <a:pt x="185" y="242"/>
                  </a:lnTo>
                  <a:lnTo>
                    <a:pt x="189" y="240"/>
                  </a:lnTo>
                  <a:lnTo>
                    <a:pt x="194" y="236"/>
                  </a:lnTo>
                  <a:lnTo>
                    <a:pt x="200" y="232"/>
                  </a:lnTo>
                  <a:lnTo>
                    <a:pt x="174" y="232"/>
                  </a:lnTo>
                  <a:lnTo>
                    <a:pt x="149" y="232"/>
                  </a:lnTo>
                  <a:lnTo>
                    <a:pt x="125" y="232"/>
                  </a:lnTo>
                  <a:lnTo>
                    <a:pt x="101" y="232"/>
                  </a:lnTo>
                  <a:lnTo>
                    <a:pt x="79" y="232"/>
                  </a:lnTo>
                  <a:lnTo>
                    <a:pt x="58" y="232"/>
                  </a:lnTo>
                  <a:lnTo>
                    <a:pt x="41" y="232"/>
                  </a:lnTo>
                  <a:lnTo>
                    <a:pt x="27" y="232"/>
                  </a:lnTo>
                  <a:lnTo>
                    <a:pt x="19" y="231"/>
                  </a:lnTo>
                  <a:lnTo>
                    <a:pt x="11" y="227"/>
                  </a:lnTo>
                  <a:lnTo>
                    <a:pt x="6" y="225"/>
                  </a:lnTo>
                  <a:lnTo>
                    <a:pt x="3" y="222"/>
                  </a:lnTo>
                  <a:lnTo>
                    <a:pt x="1" y="218"/>
                  </a:lnTo>
                  <a:lnTo>
                    <a:pt x="0" y="213"/>
                  </a:lnTo>
                  <a:lnTo>
                    <a:pt x="1" y="209"/>
                  </a:lnTo>
                  <a:lnTo>
                    <a:pt x="4" y="205"/>
                  </a:lnTo>
                  <a:lnTo>
                    <a:pt x="7" y="201"/>
                  </a:lnTo>
                  <a:lnTo>
                    <a:pt x="13" y="197"/>
                  </a:lnTo>
                  <a:lnTo>
                    <a:pt x="26" y="188"/>
                  </a:lnTo>
                  <a:lnTo>
                    <a:pt x="41" y="179"/>
                  </a:lnTo>
                  <a:lnTo>
                    <a:pt x="58" y="170"/>
                  </a:lnTo>
                  <a:lnTo>
                    <a:pt x="73" y="162"/>
                  </a:lnTo>
                  <a:lnTo>
                    <a:pt x="80" y="156"/>
                  </a:lnTo>
                  <a:lnTo>
                    <a:pt x="85" y="152"/>
                  </a:lnTo>
                  <a:lnTo>
                    <a:pt x="90" y="149"/>
                  </a:lnTo>
                  <a:lnTo>
                    <a:pt x="93" y="145"/>
                  </a:lnTo>
                  <a:lnTo>
                    <a:pt x="100" y="138"/>
                  </a:lnTo>
                  <a:lnTo>
                    <a:pt x="106" y="130"/>
                  </a:lnTo>
                  <a:lnTo>
                    <a:pt x="112" y="122"/>
                  </a:lnTo>
                  <a:lnTo>
                    <a:pt x="116" y="114"/>
                  </a:lnTo>
                  <a:lnTo>
                    <a:pt x="124" y="96"/>
                  </a:lnTo>
                  <a:lnTo>
                    <a:pt x="130" y="79"/>
                  </a:lnTo>
                  <a:lnTo>
                    <a:pt x="134" y="71"/>
                  </a:lnTo>
                  <a:lnTo>
                    <a:pt x="138" y="64"/>
                  </a:lnTo>
                  <a:lnTo>
                    <a:pt x="141" y="58"/>
                  </a:lnTo>
                  <a:lnTo>
                    <a:pt x="147" y="52"/>
                  </a:lnTo>
                  <a:lnTo>
                    <a:pt x="151" y="47"/>
                  </a:lnTo>
                  <a:lnTo>
                    <a:pt x="158" y="43"/>
                  </a:lnTo>
                  <a:lnTo>
                    <a:pt x="164" y="41"/>
                  </a:lnTo>
                  <a:lnTo>
                    <a:pt x="173" y="4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476" name="Freeform 428"/>
            <p:cNvSpPr>
              <a:spLocks/>
            </p:cNvSpPr>
            <p:nvPr/>
          </p:nvSpPr>
          <p:spPr bwMode="auto">
            <a:xfrm>
              <a:off x="1102" y="1190"/>
              <a:ext cx="111" cy="27"/>
            </a:xfrm>
            <a:custGeom>
              <a:avLst/>
              <a:gdLst/>
              <a:ahLst/>
              <a:cxnLst>
                <a:cxn ang="0">
                  <a:pos x="106" y="86"/>
                </a:cxn>
                <a:cxn ang="0">
                  <a:pos x="119" y="81"/>
                </a:cxn>
                <a:cxn ang="0">
                  <a:pos x="133" y="76"/>
                </a:cxn>
                <a:cxn ang="0">
                  <a:pos x="148" y="72"/>
                </a:cxn>
                <a:cxn ang="0">
                  <a:pos x="164" y="69"/>
                </a:cxn>
                <a:cxn ang="0">
                  <a:pos x="197" y="63"/>
                </a:cxn>
                <a:cxn ang="0">
                  <a:pos x="231" y="57"/>
                </a:cxn>
                <a:cxn ang="0">
                  <a:pos x="247" y="53"/>
                </a:cxn>
                <a:cxn ang="0">
                  <a:pos x="264" y="50"/>
                </a:cxn>
                <a:cxn ang="0">
                  <a:pos x="279" y="46"/>
                </a:cxn>
                <a:cxn ang="0">
                  <a:pos x="294" y="40"/>
                </a:cxn>
                <a:cxn ang="0">
                  <a:pos x="309" y="35"/>
                </a:cxn>
                <a:cxn ang="0">
                  <a:pos x="322" y="28"/>
                </a:cxn>
                <a:cxn ang="0">
                  <a:pos x="334" y="21"/>
                </a:cxn>
                <a:cxn ang="0">
                  <a:pos x="345" y="13"/>
                </a:cxn>
                <a:cxn ang="0">
                  <a:pos x="335" y="12"/>
                </a:cxn>
                <a:cxn ang="0">
                  <a:pos x="326" y="11"/>
                </a:cxn>
                <a:cxn ang="0">
                  <a:pos x="317" y="9"/>
                </a:cxn>
                <a:cxn ang="0">
                  <a:pos x="309" y="6"/>
                </a:cxn>
                <a:cxn ang="0">
                  <a:pos x="300" y="4"/>
                </a:cxn>
                <a:cxn ang="0">
                  <a:pos x="291" y="2"/>
                </a:cxn>
                <a:cxn ang="0">
                  <a:pos x="281" y="1"/>
                </a:cxn>
                <a:cxn ang="0">
                  <a:pos x="272" y="0"/>
                </a:cxn>
                <a:cxn ang="0">
                  <a:pos x="259" y="1"/>
                </a:cxn>
                <a:cxn ang="0">
                  <a:pos x="245" y="3"/>
                </a:cxn>
                <a:cxn ang="0">
                  <a:pos x="227" y="5"/>
                </a:cxn>
                <a:cxn ang="0">
                  <a:pos x="209" y="9"/>
                </a:cxn>
                <a:cxn ang="0">
                  <a:pos x="168" y="18"/>
                </a:cxn>
                <a:cxn ang="0">
                  <a:pos x="126" y="29"/>
                </a:cxn>
                <a:cxn ang="0">
                  <a:pos x="104" y="36"/>
                </a:cxn>
                <a:cxn ang="0">
                  <a:pos x="85" y="42"/>
                </a:cxn>
                <a:cxn ang="0">
                  <a:pos x="66" y="50"/>
                </a:cxn>
                <a:cxn ang="0">
                  <a:pos x="47" y="58"/>
                </a:cxn>
                <a:cxn ang="0">
                  <a:pos x="32" y="65"/>
                </a:cxn>
                <a:cxn ang="0">
                  <a:pos x="19" y="72"/>
                </a:cxn>
                <a:cxn ang="0">
                  <a:pos x="8" y="79"/>
                </a:cxn>
                <a:cxn ang="0">
                  <a:pos x="0" y="86"/>
                </a:cxn>
                <a:cxn ang="0">
                  <a:pos x="106" y="86"/>
                </a:cxn>
              </a:cxnLst>
              <a:rect l="0" t="0" r="r" b="b"/>
              <a:pathLst>
                <a:path w="345" h="86">
                  <a:moveTo>
                    <a:pt x="106" y="86"/>
                  </a:moveTo>
                  <a:lnTo>
                    <a:pt x="119" y="81"/>
                  </a:lnTo>
                  <a:lnTo>
                    <a:pt x="133" y="76"/>
                  </a:lnTo>
                  <a:lnTo>
                    <a:pt x="148" y="72"/>
                  </a:lnTo>
                  <a:lnTo>
                    <a:pt x="164" y="69"/>
                  </a:lnTo>
                  <a:lnTo>
                    <a:pt x="197" y="63"/>
                  </a:lnTo>
                  <a:lnTo>
                    <a:pt x="231" y="57"/>
                  </a:lnTo>
                  <a:lnTo>
                    <a:pt x="247" y="53"/>
                  </a:lnTo>
                  <a:lnTo>
                    <a:pt x="264" y="50"/>
                  </a:lnTo>
                  <a:lnTo>
                    <a:pt x="279" y="46"/>
                  </a:lnTo>
                  <a:lnTo>
                    <a:pt x="294" y="40"/>
                  </a:lnTo>
                  <a:lnTo>
                    <a:pt x="309" y="35"/>
                  </a:lnTo>
                  <a:lnTo>
                    <a:pt x="322" y="28"/>
                  </a:lnTo>
                  <a:lnTo>
                    <a:pt x="334" y="21"/>
                  </a:lnTo>
                  <a:lnTo>
                    <a:pt x="345" y="13"/>
                  </a:lnTo>
                  <a:lnTo>
                    <a:pt x="335" y="12"/>
                  </a:lnTo>
                  <a:lnTo>
                    <a:pt x="326" y="11"/>
                  </a:lnTo>
                  <a:lnTo>
                    <a:pt x="317" y="9"/>
                  </a:lnTo>
                  <a:lnTo>
                    <a:pt x="309" y="6"/>
                  </a:lnTo>
                  <a:lnTo>
                    <a:pt x="300" y="4"/>
                  </a:lnTo>
                  <a:lnTo>
                    <a:pt x="291" y="2"/>
                  </a:lnTo>
                  <a:lnTo>
                    <a:pt x="281" y="1"/>
                  </a:lnTo>
                  <a:lnTo>
                    <a:pt x="272" y="0"/>
                  </a:lnTo>
                  <a:lnTo>
                    <a:pt x="259" y="1"/>
                  </a:lnTo>
                  <a:lnTo>
                    <a:pt x="245" y="3"/>
                  </a:lnTo>
                  <a:lnTo>
                    <a:pt x="227" y="5"/>
                  </a:lnTo>
                  <a:lnTo>
                    <a:pt x="209" y="9"/>
                  </a:lnTo>
                  <a:lnTo>
                    <a:pt x="168" y="18"/>
                  </a:lnTo>
                  <a:lnTo>
                    <a:pt x="126" y="29"/>
                  </a:lnTo>
                  <a:lnTo>
                    <a:pt x="104" y="36"/>
                  </a:lnTo>
                  <a:lnTo>
                    <a:pt x="85" y="42"/>
                  </a:lnTo>
                  <a:lnTo>
                    <a:pt x="66" y="50"/>
                  </a:lnTo>
                  <a:lnTo>
                    <a:pt x="47" y="58"/>
                  </a:lnTo>
                  <a:lnTo>
                    <a:pt x="32" y="65"/>
                  </a:lnTo>
                  <a:lnTo>
                    <a:pt x="19" y="72"/>
                  </a:lnTo>
                  <a:lnTo>
                    <a:pt x="8" y="79"/>
                  </a:lnTo>
                  <a:lnTo>
                    <a:pt x="0" y="86"/>
                  </a:lnTo>
                  <a:lnTo>
                    <a:pt x="106" y="8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477" name="Freeform 429"/>
            <p:cNvSpPr>
              <a:spLocks/>
            </p:cNvSpPr>
            <p:nvPr/>
          </p:nvSpPr>
          <p:spPr bwMode="auto">
            <a:xfrm>
              <a:off x="1158" y="1199"/>
              <a:ext cx="149" cy="43"/>
            </a:xfrm>
            <a:custGeom>
              <a:avLst/>
              <a:gdLst/>
              <a:ahLst/>
              <a:cxnLst>
                <a:cxn ang="0">
                  <a:pos x="19" y="86"/>
                </a:cxn>
                <a:cxn ang="0">
                  <a:pos x="77" y="81"/>
                </a:cxn>
                <a:cxn ang="0">
                  <a:pos x="103" y="81"/>
                </a:cxn>
                <a:cxn ang="0">
                  <a:pos x="92" y="89"/>
                </a:cxn>
                <a:cxn ang="0">
                  <a:pos x="81" y="100"/>
                </a:cxn>
                <a:cxn ang="0">
                  <a:pos x="73" y="112"/>
                </a:cxn>
                <a:cxn ang="0">
                  <a:pos x="73" y="119"/>
                </a:cxn>
                <a:cxn ang="0">
                  <a:pos x="79" y="124"/>
                </a:cxn>
                <a:cxn ang="0">
                  <a:pos x="92" y="129"/>
                </a:cxn>
                <a:cxn ang="0">
                  <a:pos x="109" y="129"/>
                </a:cxn>
                <a:cxn ang="0">
                  <a:pos x="128" y="127"/>
                </a:cxn>
                <a:cxn ang="0">
                  <a:pos x="157" y="119"/>
                </a:cxn>
                <a:cxn ang="0">
                  <a:pos x="196" y="108"/>
                </a:cxn>
                <a:cxn ang="0">
                  <a:pos x="226" y="101"/>
                </a:cxn>
                <a:cxn ang="0">
                  <a:pos x="248" y="99"/>
                </a:cxn>
                <a:cxn ang="0">
                  <a:pos x="266" y="99"/>
                </a:cxn>
                <a:cxn ang="0">
                  <a:pos x="304" y="99"/>
                </a:cxn>
                <a:cxn ang="0">
                  <a:pos x="333" y="98"/>
                </a:cxn>
                <a:cxn ang="0">
                  <a:pos x="376" y="93"/>
                </a:cxn>
                <a:cxn ang="0">
                  <a:pos x="415" y="83"/>
                </a:cxn>
                <a:cxn ang="0">
                  <a:pos x="449" y="66"/>
                </a:cxn>
                <a:cxn ang="0">
                  <a:pos x="455" y="51"/>
                </a:cxn>
                <a:cxn ang="0">
                  <a:pos x="439" y="48"/>
                </a:cxn>
                <a:cxn ang="0">
                  <a:pos x="413" y="48"/>
                </a:cxn>
                <a:cxn ang="0">
                  <a:pos x="396" y="46"/>
                </a:cxn>
                <a:cxn ang="0">
                  <a:pos x="406" y="36"/>
                </a:cxn>
                <a:cxn ang="0">
                  <a:pos x="413" y="22"/>
                </a:cxn>
                <a:cxn ang="0">
                  <a:pos x="418" y="7"/>
                </a:cxn>
                <a:cxn ang="0">
                  <a:pos x="378" y="0"/>
                </a:cxn>
                <a:cxn ang="0">
                  <a:pos x="360" y="19"/>
                </a:cxn>
                <a:cxn ang="0">
                  <a:pos x="343" y="41"/>
                </a:cxn>
                <a:cxn ang="0">
                  <a:pos x="323" y="59"/>
                </a:cxn>
                <a:cxn ang="0">
                  <a:pos x="312" y="65"/>
                </a:cxn>
                <a:cxn ang="0">
                  <a:pos x="298" y="68"/>
                </a:cxn>
                <a:cxn ang="0">
                  <a:pos x="278" y="66"/>
                </a:cxn>
                <a:cxn ang="0">
                  <a:pos x="262" y="63"/>
                </a:cxn>
                <a:cxn ang="0">
                  <a:pos x="239" y="54"/>
                </a:cxn>
                <a:cxn ang="0">
                  <a:pos x="205" y="31"/>
                </a:cxn>
                <a:cxn ang="0">
                  <a:pos x="180" y="29"/>
                </a:cxn>
                <a:cxn ang="0">
                  <a:pos x="150" y="31"/>
                </a:cxn>
                <a:cxn ang="0">
                  <a:pos x="117" y="37"/>
                </a:cxn>
                <a:cxn ang="0">
                  <a:pos x="85" y="45"/>
                </a:cxn>
                <a:cxn ang="0">
                  <a:pos x="54" y="54"/>
                </a:cxn>
                <a:cxn ang="0">
                  <a:pos x="29" y="65"/>
                </a:cxn>
                <a:cxn ang="0">
                  <a:pos x="9" y="77"/>
                </a:cxn>
                <a:cxn ang="0">
                  <a:pos x="0" y="86"/>
                </a:cxn>
              </a:cxnLst>
              <a:rect l="0" t="0" r="r" b="b"/>
              <a:pathLst>
                <a:path w="464" h="130">
                  <a:moveTo>
                    <a:pt x="0" y="86"/>
                  </a:moveTo>
                  <a:lnTo>
                    <a:pt x="19" y="86"/>
                  </a:lnTo>
                  <a:lnTo>
                    <a:pt x="48" y="83"/>
                  </a:lnTo>
                  <a:lnTo>
                    <a:pt x="77" y="81"/>
                  </a:lnTo>
                  <a:lnTo>
                    <a:pt x="106" y="80"/>
                  </a:lnTo>
                  <a:lnTo>
                    <a:pt x="103" y="81"/>
                  </a:lnTo>
                  <a:lnTo>
                    <a:pt x="97" y="84"/>
                  </a:lnTo>
                  <a:lnTo>
                    <a:pt x="92" y="89"/>
                  </a:lnTo>
                  <a:lnTo>
                    <a:pt x="86" y="94"/>
                  </a:lnTo>
                  <a:lnTo>
                    <a:pt x="81" y="100"/>
                  </a:lnTo>
                  <a:lnTo>
                    <a:pt x="76" y="106"/>
                  </a:lnTo>
                  <a:lnTo>
                    <a:pt x="73" y="112"/>
                  </a:lnTo>
                  <a:lnTo>
                    <a:pt x="72" y="117"/>
                  </a:lnTo>
                  <a:lnTo>
                    <a:pt x="73" y="119"/>
                  </a:lnTo>
                  <a:lnTo>
                    <a:pt x="75" y="121"/>
                  </a:lnTo>
                  <a:lnTo>
                    <a:pt x="79" y="124"/>
                  </a:lnTo>
                  <a:lnTo>
                    <a:pt x="83" y="126"/>
                  </a:lnTo>
                  <a:lnTo>
                    <a:pt x="92" y="129"/>
                  </a:lnTo>
                  <a:lnTo>
                    <a:pt x="99" y="130"/>
                  </a:lnTo>
                  <a:lnTo>
                    <a:pt x="109" y="129"/>
                  </a:lnTo>
                  <a:lnTo>
                    <a:pt x="119" y="129"/>
                  </a:lnTo>
                  <a:lnTo>
                    <a:pt x="128" y="127"/>
                  </a:lnTo>
                  <a:lnTo>
                    <a:pt x="138" y="125"/>
                  </a:lnTo>
                  <a:lnTo>
                    <a:pt x="157" y="119"/>
                  </a:lnTo>
                  <a:lnTo>
                    <a:pt x="176" y="114"/>
                  </a:lnTo>
                  <a:lnTo>
                    <a:pt x="196" y="108"/>
                  </a:lnTo>
                  <a:lnTo>
                    <a:pt x="216" y="103"/>
                  </a:lnTo>
                  <a:lnTo>
                    <a:pt x="226" y="101"/>
                  </a:lnTo>
                  <a:lnTo>
                    <a:pt x="237" y="100"/>
                  </a:lnTo>
                  <a:lnTo>
                    <a:pt x="248" y="99"/>
                  </a:lnTo>
                  <a:lnTo>
                    <a:pt x="259" y="99"/>
                  </a:lnTo>
                  <a:lnTo>
                    <a:pt x="266" y="99"/>
                  </a:lnTo>
                  <a:lnTo>
                    <a:pt x="285" y="99"/>
                  </a:lnTo>
                  <a:lnTo>
                    <a:pt x="304" y="99"/>
                  </a:lnTo>
                  <a:lnTo>
                    <a:pt x="311" y="99"/>
                  </a:lnTo>
                  <a:lnTo>
                    <a:pt x="333" y="98"/>
                  </a:lnTo>
                  <a:lnTo>
                    <a:pt x="355" y="96"/>
                  </a:lnTo>
                  <a:lnTo>
                    <a:pt x="376" y="93"/>
                  </a:lnTo>
                  <a:lnTo>
                    <a:pt x="396" y="89"/>
                  </a:lnTo>
                  <a:lnTo>
                    <a:pt x="415" y="83"/>
                  </a:lnTo>
                  <a:lnTo>
                    <a:pt x="432" y="76"/>
                  </a:lnTo>
                  <a:lnTo>
                    <a:pt x="449" y="66"/>
                  </a:lnTo>
                  <a:lnTo>
                    <a:pt x="464" y="55"/>
                  </a:lnTo>
                  <a:lnTo>
                    <a:pt x="455" y="51"/>
                  </a:lnTo>
                  <a:lnTo>
                    <a:pt x="446" y="49"/>
                  </a:lnTo>
                  <a:lnTo>
                    <a:pt x="439" y="48"/>
                  </a:lnTo>
                  <a:lnTo>
                    <a:pt x="430" y="48"/>
                  </a:lnTo>
                  <a:lnTo>
                    <a:pt x="413" y="48"/>
                  </a:lnTo>
                  <a:lnTo>
                    <a:pt x="392" y="49"/>
                  </a:lnTo>
                  <a:lnTo>
                    <a:pt x="396" y="46"/>
                  </a:lnTo>
                  <a:lnTo>
                    <a:pt x="401" y="42"/>
                  </a:lnTo>
                  <a:lnTo>
                    <a:pt x="406" y="36"/>
                  </a:lnTo>
                  <a:lnTo>
                    <a:pt x="410" y="29"/>
                  </a:lnTo>
                  <a:lnTo>
                    <a:pt x="413" y="22"/>
                  </a:lnTo>
                  <a:lnTo>
                    <a:pt x="416" y="15"/>
                  </a:lnTo>
                  <a:lnTo>
                    <a:pt x="418" y="7"/>
                  </a:lnTo>
                  <a:lnTo>
                    <a:pt x="418" y="0"/>
                  </a:lnTo>
                  <a:lnTo>
                    <a:pt x="378" y="0"/>
                  </a:lnTo>
                  <a:lnTo>
                    <a:pt x="368" y="8"/>
                  </a:lnTo>
                  <a:lnTo>
                    <a:pt x="360" y="19"/>
                  </a:lnTo>
                  <a:lnTo>
                    <a:pt x="352" y="30"/>
                  </a:lnTo>
                  <a:lnTo>
                    <a:pt x="343" y="41"/>
                  </a:lnTo>
                  <a:lnTo>
                    <a:pt x="334" y="51"/>
                  </a:lnTo>
                  <a:lnTo>
                    <a:pt x="323" y="59"/>
                  </a:lnTo>
                  <a:lnTo>
                    <a:pt x="318" y="63"/>
                  </a:lnTo>
                  <a:lnTo>
                    <a:pt x="312" y="65"/>
                  </a:lnTo>
                  <a:lnTo>
                    <a:pt x="306" y="68"/>
                  </a:lnTo>
                  <a:lnTo>
                    <a:pt x="298" y="68"/>
                  </a:lnTo>
                  <a:lnTo>
                    <a:pt x="287" y="68"/>
                  </a:lnTo>
                  <a:lnTo>
                    <a:pt x="278" y="66"/>
                  </a:lnTo>
                  <a:lnTo>
                    <a:pt x="270" y="65"/>
                  </a:lnTo>
                  <a:lnTo>
                    <a:pt x="262" y="63"/>
                  </a:lnTo>
                  <a:lnTo>
                    <a:pt x="250" y="59"/>
                  </a:lnTo>
                  <a:lnTo>
                    <a:pt x="239" y="54"/>
                  </a:lnTo>
                  <a:lnTo>
                    <a:pt x="222" y="42"/>
                  </a:lnTo>
                  <a:lnTo>
                    <a:pt x="205" y="31"/>
                  </a:lnTo>
                  <a:lnTo>
                    <a:pt x="193" y="29"/>
                  </a:lnTo>
                  <a:lnTo>
                    <a:pt x="180" y="29"/>
                  </a:lnTo>
                  <a:lnTo>
                    <a:pt x="165" y="29"/>
                  </a:lnTo>
                  <a:lnTo>
                    <a:pt x="150" y="31"/>
                  </a:lnTo>
                  <a:lnTo>
                    <a:pt x="133" y="33"/>
                  </a:lnTo>
                  <a:lnTo>
                    <a:pt x="117" y="37"/>
                  </a:lnTo>
                  <a:lnTo>
                    <a:pt x="101" y="40"/>
                  </a:lnTo>
                  <a:lnTo>
                    <a:pt x="85" y="45"/>
                  </a:lnTo>
                  <a:lnTo>
                    <a:pt x="70" y="49"/>
                  </a:lnTo>
                  <a:lnTo>
                    <a:pt x="54" y="54"/>
                  </a:lnTo>
                  <a:lnTo>
                    <a:pt x="41" y="60"/>
                  </a:lnTo>
                  <a:lnTo>
                    <a:pt x="29" y="65"/>
                  </a:lnTo>
                  <a:lnTo>
                    <a:pt x="18" y="71"/>
                  </a:lnTo>
                  <a:lnTo>
                    <a:pt x="9" y="77"/>
                  </a:lnTo>
                  <a:lnTo>
                    <a:pt x="3" y="82"/>
                  </a:lnTo>
                  <a:lnTo>
                    <a:pt x="0" y="8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478" name="Freeform 430"/>
            <p:cNvSpPr>
              <a:spLocks/>
            </p:cNvSpPr>
            <p:nvPr/>
          </p:nvSpPr>
          <p:spPr bwMode="auto">
            <a:xfrm>
              <a:off x="1472" y="1205"/>
              <a:ext cx="153" cy="31"/>
            </a:xfrm>
            <a:custGeom>
              <a:avLst/>
              <a:gdLst/>
              <a:ahLst/>
              <a:cxnLst>
                <a:cxn ang="0">
                  <a:pos x="63" y="0"/>
                </a:cxn>
                <a:cxn ang="0">
                  <a:pos x="44" y="0"/>
                </a:cxn>
                <a:cxn ang="0">
                  <a:pos x="24" y="0"/>
                </a:cxn>
                <a:cxn ang="0">
                  <a:pos x="12" y="3"/>
                </a:cxn>
                <a:cxn ang="0">
                  <a:pos x="7" y="8"/>
                </a:cxn>
                <a:cxn ang="0">
                  <a:pos x="7" y="16"/>
                </a:cxn>
                <a:cxn ang="0">
                  <a:pos x="10" y="23"/>
                </a:cxn>
                <a:cxn ang="0">
                  <a:pos x="15" y="32"/>
                </a:cxn>
                <a:cxn ang="0">
                  <a:pos x="14" y="41"/>
                </a:cxn>
                <a:cxn ang="0">
                  <a:pos x="4" y="50"/>
                </a:cxn>
                <a:cxn ang="0">
                  <a:pos x="1" y="57"/>
                </a:cxn>
                <a:cxn ang="0">
                  <a:pos x="2" y="64"/>
                </a:cxn>
                <a:cxn ang="0">
                  <a:pos x="14" y="69"/>
                </a:cxn>
                <a:cxn ang="0">
                  <a:pos x="48" y="76"/>
                </a:cxn>
                <a:cxn ang="0">
                  <a:pos x="109" y="85"/>
                </a:cxn>
                <a:cxn ang="0">
                  <a:pos x="167" y="91"/>
                </a:cxn>
                <a:cxn ang="0">
                  <a:pos x="365" y="92"/>
                </a:cxn>
                <a:cxn ang="0">
                  <a:pos x="374" y="81"/>
                </a:cxn>
                <a:cxn ang="0">
                  <a:pos x="385" y="75"/>
                </a:cxn>
                <a:cxn ang="0">
                  <a:pos x="397" y="73"/>
                </a:cxn>
                <a:cxn ang="0">
                  <a:pos x="411" y="73"/>
                </a:cxn>
                <a:cxn ang="0">
                  <a:pos x="441" y="76"/>
                </a:cxn>
                <a:cxn ang="0">
                  <a:pos x="456" y="76"/>
                </a:cxn>
                <a:cxn ang="0">
                  <a:pos x="472" y="73"/>
                </a:cxn>
                <a:cxn ang="0">
                  <a:pos x="465" y="33"/>
                </a:cxn>
                <a:cxn ang="0">
                  <a:pos x="453" y="26"/>
                </a:cxn>
                <a:cxn ang="0">
                  <a:pos x="443" y="18"/>
                </a:cxn>
                <a:cxn ang="0">
                  <a:pos x="432" y="13"/>
                </a:cxn>
                <a:cxn ang="0">
                  <a:pos x="416" y="12"/>
                </a:cxn>
                <a:cxn ang="0">
                  <a:pos x="396" y="15"/>
                </a:cxn>
                <a:cxn ang="0">
                  <a:pos x="367" y="22"/>
                </a:cxn>
                <a:cxn ang="0">
                  <a:pos x="328" y="33"/>
                </a:cxn>
                <a:cxn ang="0">
                  <a:pos x="298" y="39"/>
                </a:cxn>
                <a:cxn ang="0">
                  <a:pos x="276" y="42"/>
                </a:cxn>
                <a:cxn ang="0">
                  <a:pos x="236" y="42"/>
                </a:cxn>
                <a:cxn ang="0">
                  <a:pos x="191" y="42"/>
                </a:cxn>
                <a:cxn ang="0">
                  <a:pos x="156" y="42"/>
                </a:cxn>
                <a:cxn ang="0">
                  <a:pos x="120" y="42"/>
                </a:cxn>
                <a:cxn ang="0">
                  <a:pos x="91" y="41"/>
                </a:cxn>
                <a:cxn ang="0">
                  <a:pos x="78" y="36"/>
                </a:cxn>
                <a:cxn ang="0">
                  <a:pos x="70" y="27"/>
                </a:cxn>
                <a:cxn ang="0">
                  <a:pos x="67" y="17"/>
                </a:cxn>
                <a:cxn ang="0">
                  <a:pos x="69" y="8"/>
                </a:cxn>
                <a:cxn ang="0">
                  <a:pos x="74" y="2"/>
                </a:cxn>
                <a:cxn ang="0">
                  <a:pos x="74" y="0"/>
                </a:cxn>
              </a:cxnLst>
              <a:rect l="0" t="0" r="r" b="b"/>
              <a:pathLst>
                <a:path w="472" h="92">
                  <a:moveTo>
                    <a:pt x="73" y="0"/>
                  </a:moveTo>
                  <a:lnTo>
                    <a:pt x="63" y="0"/>
                  </a:lnTo>
                  <a:lnTo>
                    <a:pt x="53" y="0"/>
                  </a:lnTo>
                  <a:lnTo>
                    <a:pt x="44" y="0"/>
                  </a:lnTo>
                  <a:lnTo>
                    <a:pt x="34" y="0"/>
                  </a:lnTo>
                  <a:lnTo>
                    <a:pt x="24" y="0"/>
                  </a:lnTo>
                  <a:lnTo>
                    <a:pt x="15" y="1"/>
                  </a:lnTo>
                  <a:lnTo>
                    <a:pt x="12" y="3"/>
                  </a:lnTo>
                  <a:lnTo>
                    <a:pt x="8" y="5"/>
                  </a:lnTo>
                  <a:lnTo>
                    <a:pt x="7" y="8"/>
                  </a:lnTo>
                  <a:lnTo>
                    <a:pt x="6" y="12"/>
                  </a:lnTo>
                  <a:lnTo>
                    <a:pt x="7" y="16"/>
                  </a:lnTo>
                  <a:lnTo>
                    <a:pt x="7" y="20"/>
                  </a:lnTo>
                  <a:lnTo>
                    <a:pt x="10" y="23"/>
                  </a:lnTo>
                  <a:lnTo>
                    <a:pt x="11" y="26"/>
                  </a:lnTo>
                  <a:lnTo>
                    <a:pt x="15" y="32"/>
                  </a:lnTo>
                  <a:lnTo>
                    <a:pt x="19" y="36"/>
                  </a:lnTo>
                  <a:lnTo>
                    <a:pt x="14" y="41"/>
                  </a:lnTo>
                  <a:lnTo>
                    <a:pt x="7" y="46"/>
                  </a:lnTo>
                  <a:lnTo>
                    <a:pt x="4" y="50"/>
                  </a:lnTo>
                  <a:lnTo>
                    <a:pt x="2" y="53"/>
                  </a:lnTo>
                  <a:lnTo>
                    <a:pt x="1" y="57"/>
                  </a:lnTo>
                  <a:lnTo>
                    <a:pt x="0" y="61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14" y="69"/>
                  </a:lnTo>
                  <a:lnTo>
                    <a:pt x="24" y="71"/>
                  </a:lnTo>
                  <a:lnTo>
                    <a:pt x="48" y="76"/>
                  </a:lnTo>
                  <a:lnTo>
                    <a:pt x="78" y="81"/>
                  </a:lnTo>
                  <a:lnTo>
                    <a:pt x="109" y="85"/>
                  </a:lnTo>
                  <a:lnTo>
                    <a:pt x="140" y="89"/>
                  </a:lnTo>
                  <a:lnTo>
                    <a:pt x="167" y="91"/>
                  </a:lnTo>
                  <a:lnTo>
                    <a:pt x="186" y="92"/>
                  </a:lnTo>
                  <a:lnTo>
                    <a:pt x="365" y="92"/>
                  </a:lnTo>
                  <a:lnTo>
                    <a:pt x="370" y="86"/>
                  </a:lnTo>
                  <a:lnTo>
                    <a:pt x="374" y="81"/>
                  </a:lnTo>
                  <a:lnTo>
                    <a:pt x="380" y="78"/>
                  </a:lnTo>
                  <a:lnTo>
                    <a:pt x="385" y="75"/>
                  </a:lnTo>
                  <a:lnTo>
                    <a:pt x="391" y="74"/>
                  </a:lnTo>
                  <a:lnTo>
                    <a:pt x="397" y="73"/>
                  </a:lnTo>
                  <a:lnTo>
                    <a:pt x="404" y="73"/>
                  </a:lnTo>
                  <a:lnTo>
                    <a:pt x="411" y="73"/>
                  </a:lnTo>
                  <a:lnTo>
                    <a:pt x="426" y="75"/>
                  </a:lnTo>
                  <a:lnTo>
                    <a:pt x="441" y="76"/>
                  </a:lnTo>
                  <a:lnTo>
                    <a:pt x="449" y="77"/>
                  </a:lnTo>
                  <a:lnTo>
                    <a:pt x="456" y="76"/>
                  </a:lnTo>
                  <a:lnTo>
                    <a:pt x="464" y="75"/>
                  </a:lnTo>
                  <a:lnTo>
                    <a:pt x="472" y="73"/>
                  </a:lnTo>
                  <a:lnTo>
                    <a:pt x="472" y="36"/>
                  </a:lnTo>
                  <a:lnTo>
                    <a:pt x="465" y="33"/>
                  </a:lnTo>
                  <a:lnTo>
                    <a:pt x="459" y="30"/>
                  </a:lnTo>
                  <a:lnTo>
                    <a:pt x="453" y="26"/>
                  </a:lnTo>
                  <a:lnTo>
                    <a:pt x="449" y="22"/>
                  </a:lnTo>
                  <a:lnTo>
                    <a:pt x="443" y="18"/>
                  </a:lnTo>
                  <a:lnTo>
                    <a:pt x="438" y="15"/>
                  </a:lnTo>
                  <a:lnTo>
                    <a:pt x="432" y="13"/>
                  </a:lnTo>
                  <a:lnTo>
                    <a:pt x="426" y="12"/>
                  </a:lnTo>
                  <a:lnTo>
                    <a:pt x="416" y="12"/>
                  </a:lnTo>
                  <a:lnTo>
                    <a:pt x="406" y="13"/>
                  </a:lnTo>
                  <a:lnTo>
                    <a:pt x="396" y="15"/>
                  </a:lnTo>
                  <a:lnTo>
                    <a:pt x="386" y="17"/>
                  </a:lnTo>
                  <a:lnTo>
                    <a:pt x="367" y="22"/>
                  </a:lnTo>
                  <a:lnTo>
                    <a:pt x="348" y="27"/>
                  </a:lnTo>
                  <a:lnTo>
                    <a:pt x="328" y="33"/>
                  </a:lnTo>
                  <a:lnTo>
                    <a:pt x="308" y="38"/>
                  </a:lnTo>
                  <a:lnTo>
                    <a:pt x="298" y="39"/>
                  </a:lnTo>
                  <a:lnTo>
                    <a:pt x="287" y="41"/>
                  </a:lnTo>
                  <a:lnTo>
                    <a:pt x="276" y="42"/>
                  </a:lnTo>
                  <a:lnTo>
                    <a:pt x="265" y="42"/>
                  </a:lnTo>
                  <a:lnTo>
                    <a:pt x="236" y="42"/>
                  </a:lnTo>
                  <a:lnTo>
                    <a:pt x="212" y="42"/>
                  </a:lnTo>
                  <a:lnTo>
                    <a:pt x="191" y="42"/>
                  </a:lnTo>
                  <a:lnTo>
                    <a:pt x="173" y="42"/>
                  </a:lnTo>
                  <a:lnTo>
                    <a:pt x="156" y="42"/>
                  </a:lnTo>
                  <a:lnTo>
                    <a:pt x="139" y="42"/>
                  </a:lnTo>
                  <a:lnTo>
                    <a:pt x="120" y="42"/>
                  </a:lnTo>
                  <a:lnTo>
                    <a:pt x="100" y="42"/>
                  </a:lnTo>
                  <a:lnTo>
                    <a:pt x="91" y="41"/>
                  </a:lnTo>
                  <a:lnTo>
                    <a:pt x="83" y="39"/>
                  </a:lnTo>
                  <a:lnTo>
                    <a:pt x="78" y="36"/>
                  </a:lnTo>
                  <a:lnTo>
                    <a:pt x="73" y="32"/>
                  </a:lnTo>
                  <a:lnTo>
                    <a:pt x="70" y="27"/>
                  </a:lnTo>
                  <a:lnTo>
                    <a:pt x="68" y="22"/>
                  </a:lnTo>
                  <a:lnTo>
                    <a:pt x="67" y="17"/>
                  </a:lnTo>
                  <a:lnTo>
                    <a:pt x="67" y="12"/>
                  </a:lnTo>
                  <a:lnTo>
                    <a:pt x="69" y="8"/>
                  </a:lnTo>
                  <a:lnTo>
                    <a:pt x="72" y="4"/>
                  </a:lnTo>
                  <a:lnTo>
                    <a:pt x="74" y="2"/>
                  </a:lnTo>
                  <a:lnTo>
                    <a:pt x="75" y="1"/>
                  </a:lnTo>
                  <a:lnTo>
                    <a:pt x="74" y="0"/>
                  </a:lnTo>
                  <a:lnTo>
                    <a:pt x="7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479" name="Freeform 431"/>
            <p:cNvSpPr>
              <a:spLocks/>
            </p:cNvSpPr>
            <p:nvPr/>
          </p:nvSpPr>
          <p:spPr bwMode="auto">
            <a:xfrm>
              <a:off x="1513" y="1136"/>
              <a:ext cx="106" cy="45"/>
            </a:xfrm>
            <a:custGeom>
              <a:avLst/>
              <a:gdLst/>
              <a:ahLst/>
              <a:cxnLst>
                <a:cxn ang="0">
                  <a:pos x="145" y="107"/>
                </a:cxn>
                <a:cxn ang="0">
                  <a:pos x="203" y="97"/>
                </a:cxn>
                <a:cxn ang="0">
                  <a:pos x="262" y="84"/>
                </a:cxn>
                <a:cxn ang="0">
                  <a:pos x="300" y="74"/>
                </a:cxn>
                <a:cxn ang="0">
                  <a:pos x="318" y="66"/>
                </a:cxn>
                <a:cxn ang="0">
                  <a:pos x="322" y="56"/>
                </a:cxn>
                <a:cxn ang="0">
                  <a:pos x="312" y="48"/>
                </a:cxn>
                <a:cxn ang="0">
                  <a:pos x="300" y="41"/>
                </a:cxn>
                <a:cxn ang="0">
                  <a:pos x="286" y="37"/>
                </a:cxn>
                <a:cxn ang="0">
                  <a:pos x="263" y="32"/>
                </a:cxn>
                <a:cxn ang="0">
                  <a:pos x="230" y="30"/>
                </a:cxn>
                <a:cxn ang="0">
                  <a:pos x="209" y="30"/>
                </a:cxn>
                <a:cxn ang="0">
                  <a:pos x="202" y="24"/>
                </a:cxn>
                <a:cxn ang="0">
                  <a:pos x="196" y="17"/>
                </a:cxn>
                <a:cxn ang="0">
                  <a:pos x="191" y="9"/>
                </a:cxn>
                <a:cxn ang="0">
                  <a:pos x="180" y="5"/>
                </a:cxn>
                <a:cxn ang="0">
                  <a:pos x="162" y="1"/>
                </a:cxn>
                <a:cxn ang="0">
                  <a:pos x="135" y="1"/>
                </a:cxn>
                <a:cxn ang="0">
                  <a:pos x="87" y="8"/>
                </a:cxn>
                <a:cxn ang="0">
                  <a:pos x="49" y="17"/>
                </a:cxn>
                <a:cxn ang="0">
                  <a:pos x="27" y="26"/>
                </a:cxn>
                <a:cxn ang="0">
                  <a:pos x="11" y="37"/>
                </a:cxn>
                <a:cxn ang="0">
                  <a:pos x="3" y="46"/>
                </a:cxn>
                <a:cxn ang="0">
                  <a:pos x="1" y="52"/>
                </a:cxn>
                <a:cxn ang="0">
                  <a:pos x="34" y="74"/>
                </a:cxn>
                <a:cxn ang="0">
                  <a:pos x="56" y="81"/>
                </a:cxn>
                <a:cxn ang="0">
                  <a:pos x="41" y="90"/>
                </a:cxn>
                <a:cxn ang="0">
                  <a:pos x="38" y="99"/>
                </a:cxn>
                <a:cxn ang="0">
                  <a:pos x="44" y="114"/>
                </a:cxn>
                <a:cxn ang="0">
                  <a:pos x="48" y="128"/>
                </a:cxn>
                <a:cxn ang="0">
                  <a:pos x="55" y="134"/>
                </a:cxn>
                <a:cxn ang="0">
                  <a:pos x="69" y="135"/>
                </a:cxn>
                <a:cxn ang="0">
                  <a:pos x="86" y="131"/>
                </a:cxn>
                <a:cxn ang="0">
                  <a:pos x="101" y="127"/>
                </a:cxn>
                <a:cxn ang="0">
                  <a:pos x="117" y="124"/>
                </a:cxn>
                <a:cxn ang="0">
                  <a:pos x="120" y="111"/>
                </a:cxn>
              </a:cxnLst>
              <a:rect l="0" t="0" r="r" b="b"/>
              <a:pathLst>
                <a:path w="326" h="135">
                  <a:moveTo>
                    <a:pt x="120" y="111"/>
                  </a:moveTo>
                  <a:lnTo>
                    <a:pt x="145" y="107"/>
                  </a:lnTo>
                  <a:lnTo>
                    <a:pt x="172" y="102"/>
                  </a:lnTo>
                  <a:lnTo>
                    <a:pt x="203" y="97"/>
                  </a:lnTo>
                  <a:lnTo>
                    <a:pt x="233" y="90"/>
                  </a:lnTo>
                  <a:lnTo>
                    <a:pt x="262" y="84"/>
                  </a:lnTo>
                  <a:lnTo>
                    <a:pt x="288" y="78"/>
                  </a:lnTo>
                  <a:lnTo>
                    <a:pt x="300" y="74"/>
                  </a:lnTo>
                  <a:lnTo>
                    <a:pt x="310" y="70"/>
                  </a:lnTo>
                  <a:lnTo>
                    <a:pt x="318" y="66"/>
                  </a:lnTo>
                  <a:lnTo>
                    <a:pt x="326" y="62"/>
                  </a:lnTo>
                  <a:lnTo>
                    <a:pt x="322" y="56"/>
                  </a:lnTo>
                  <a:lnTo>
                    <a:pt x="317" y="52"/>
                  </a:lnTo>
                  <a:lnTo>
                    <a:pt x="312" y="48"/>
                  </a:lnTo>
                  <a:lnTo>
                    <a:pt x="306" y="44"/>
                  </a:lnTo>
                  <a:lnTo>
                    <a:pt x="300" y="41"/>
                  </a:lnTo>
                  <a:lnTo>
                    <a:pt x="293" y="39"/>
                  </a:lnTo>
                  <a:lnTo>
                    <a:pt x="286" y="37"/>
                  </a:lnTo>
                  <a:lnTo>
                    <a:pt x="279" y="34"/>
                  </a:lnTo>
                  <a:lnTo>
                    <a:pt x="263" y="32"/>
                  </a:lnTo>
                  <a:lnTo>
                    <a:pt x="247" y="31"/>
                  </a:lnTo>
                  <a:lnTo>
                    <a:pt x="230" y="30"/>
                  </a:lnTo>
                  <a:lnTo>
                    <a:pt x="213" y="30"/>
                  </a:lnTo>
                  <a:lnTo>
                    <a:pt x="209" y="30"/>
                  </a:lnTo>
                  <a:lnTo>
                    <a:pt x="205" y="27"/>
                  </a:lnTo>
                  <a:lnTo>
                    <a:pt x="202" y="24"/>
                  </a:lnTo>
                  <a:lnTo>
                    <a:pt x="200" y="21"/>
                  </a:lnTo>
                  <a:lnTo>
                    <a:pt x="196" y="17"/>
                  </a:lnTo>
                  <a:lnTo>
                    <a:pt x="194" y="13"/>
                  </a:lnTo>
                  <a:lnTo>
                    <a:pt x="191" y="9"/>
                  </a:lnTo>
                  <a:lnTo>
                    <a:pt x="187" y="6"/>
                  </a:lnTo>
                  <a:lnTo>
                    <a:pt x="180" y="5"/>
                  </a:lnTo>
                  <a:lnTo>
                    <a:pt x="172" y="3"/>
                  </a:lnTo>
                  <a:lnTo>
                    <a:pt x="162" y="1"/>
                  </a:lnTo>
                  <a:lnTo>
                    <a:pt x="153" y="0"/>
                  </a:lnTo>
                  <a:lnTo>
                    <a:pt x="135" y="1"/>
                  </a:lnTo>
                  <a:lnTo>
                    <a:pt x="112" y="4"/>
                  </a:lnTo>
                  <a:lnTo>
                    <a:pt x="87" y="8"/>
                  </a:lnTo>
                  <a:lnTo>
                    <a:pt x="61" y="14"/>
                  </a:lnTo>
                  <a:lnTo>
                    <a:pt x="49" y="17"/>
                  </a:lnTo>
                  <a:lnTo>
                    <a:pt x="38" y="21"/>
                  </a:lnTo>
                  <a:lnTo>
                    <a:pt x="27" y="26"/>
                  </a:lnTo>
                  <a:lnTo>
                    <a:pt x="19" y="31"/>
                  </a:lnTo>
                  <a:lnTo>
                    <a:pt x="11" y="37"/>
                  </a:lnTo>
                  <a:lnTo>
                    <a:pt x="5" y="43"/>
                  </a:lnTo>
                  <a:lnTo>
                    <a:pt x="3" y="46"/>
                  </a:lnTo>
                  <a:lnTo>
                    <a:pt x="1" y="49"/>
                  </a:lnTo>
                  <a:lnTo>
                    <a:pt x="1" y="52"/>
                  </a:lnTo>
                  <a:lnTo>
                    <a:pt x="0" y="56"/>
                  </a:lnTo>
                  <a:lnTo>
                    <a:pt x="34" y="74"/>
                  </a:lnTo>
                  <a:lnTo>
                    <a:pt x="73" y="74"/>
                  </a:lnTo>
                  <a:lnTo>
                    <a:pt x="56" y="81"/>
                  </a:lnTo>
                  <a:lnTo>
                    <a:pt x="44" y="87"/>
                  </a:lnTo>
                  <a:lnTo>
                    <a:pt x="41" y="90"/>
                  </a:lnTo>
                  <a:lnTo>
                    <a:pt x="38" y="94"/>
                  </a:lnTo>
                  <a:lnTo>
                    <a:pt x="38" y="99"/>
                  </a:lnTo>
                  <a:lnTo>
                    <a:pt x="41" y="105"/>
                  </a:lnTo>
                  <a:lnTo>
                    <a:pt x="44" y="114"/>
                  </a:lnTo>
                  <a:lnTo>
                    <a:pt x="47" y="123"/>
                  </a:lnTo>
                  <a:lnTo>
                    <a:pt x="48" y="128"/>
                  </a:lnTo>
                  <a:lnTo>
                    <a:pt x="50" y="131"/>
                  </a:lnTo>
                  <a:lnTo>
                    <a:pt x="55" y="134"/>
                  </a:lnTo>
                  <a:lnTo>
                    <a:pt x="60" y="135"/>
                  </a:lnTo>
                  <a:lnTo>
                    <a:pt x="69" y="135"/>
                  </a:lnTo>
                  <a:lnTo>
                    <a:pt x="78" y="133"/>
                  </a:lnTo>
                  <a:lnTo>
                    <a:pt x="86" y="131"/>
                  </a:lnTo>
                  <a:lnTo>
                    <a:pt x="93" y="129"/>
                  </a:lnTo>
                  <a:lnTo>
                    <a:pt x="101" y="127"/>
                  </a:lnTo>
                  <a:lnTo>
                    <a:pt x="109" y="125"/>
                  </a:lnTo>
                  <a:lnTo>
                    <a:pt x="117" y="124"/>
                  </a:lnTo>
                  <a:lnTo>
                    <a:pt x="126" y="123"/>
                  </a:lnTo>
                  <a:lnTo>
                    <a:pt x="120" y="11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480" name="Freeform 432"/>
            <p:cNvSpPr>
              <a:spLocks/>
            </p:cNvSpPr>
            <p:nvPr/>
          </p:nvSpPr>
          <p:spPr bwMode="auto">
            <a:xfrm>
              <a:off x="1584" y="1245"/>
              <a:ext cx="51" cy="18"/>
            </a:xfrm>
            <a:custGeom>
              <a:avLst/>
              <a:gdLst/>
              <a:ahLst/>
              <a:cxnLst>
                <a:cxn ang="0">
                  <a:pos x="46" y="53"/>
                </a:cxn>
                <a:cxn ang="0">
                  <a:pos x="40" y="52"/>
                </a:cxn>
                <a:cxn ang="0">
                  <a:pos x="34" y="49"/>
                </a:cxn>
                <a:cxn ang="0">
                  <a:pos x="26" y="45"/>
                </a:cxn>
                <a:cxn ang="0">
                  <a:pos x="18" y="38"/>
                </a:cxn>
                <a:cxn ang="0">
                  <a:pos x="10" y="31"/>
                </a:cxn>
                <a:cxn ang="0">
                  <a:pos x="5" y="24"/>
                </a:cxn>
                <a:cxn ang="0">
                  <a:pos x="3" y="21"/>
                </a:cxn>
                <a:cxn ang="0">
                  <a:pos x="1" y="17"/>
                </a:cxn>
                <a:cxn ang="0">
                  <a:pos x="0" y="13"/>
                </a:cxn>
                <a:cxn ang="0">
                  <a:pos x="0" y="10"/>
                </a:cxn>
                <a:cxn ang="0">
                  <a:pos x="21" y="10"/>
                </a:cxn>
                <a:cxn ang="0">
                  <a:pos x="39" y="10"/>
                </a:cxn>
                <a:cxn ang="0">
                  <a:pos x="52" y="10"/>
                </a:cxn>
                <a:cxn ang="0">
                  <a:pos x="59" y="10"/>
                </a:cxn>
                <a:cxn ang="0">
                  <a:pos x="83" y="6"/>
                </a:cxn>
                <a:cxn ang="0">
                  <a:pos x="117" y="0"/>
                </a:cxn>
                <a:cxn ang="0">
                  <a:pos x="125" y="0"/>
                </a:cxn>
                <a:cxn ang="0">
                  <a:pos x="132" y="0"/>
                </a:cxn>
                <a:cxn ang="0">
                  <a:pos x="140" y="0"/>
                </a:cxn>
                <a:cxn ang="0">
                  <a:pos x="147" y="2"/>
                </a:cxn>
                <a:cxn ang="0">
                  <a:pos x="151" y="5"/>
                </a:cxn>
                <a:cxn ang="0">
                  <a:pos x="155" y="9"/>
                </a:cxn>
                <a:cxn ang="0">
                  <a:pos x="158" y="15"/>
                </a:cxn>
                <a:cxn ang="0">
                  <a:pos x="159" y="22"/>
                </a:cxn>
                <a:cxn ang="0">
                  <a:pos x="158" y="30"/>
                </a:cxn>
                <a:cxn ang="0">
                  <a:pos x="155" y="37"/>
                </a:cxn>
                <a:cxn ang="0">
                  <a:pos x="151" y="44"/>
                </a:cxn>
                <a:cxn ang="0">
                  <a:pos x="146" y="48"/>
                </a:cxn>
                <a:cxn ang="0">
                  <a:pos x="139" y="52"/>
                </a:cxn>
                <a:cxn ang="0">
                  <a:pos x="132" y="54"/>
                </a:cxn>
                <a:cxn ang="0">
                  <a:pos x="124" y="55"/>
                </a:cxn>
                <a:cxn ang="0">
                  <a:pos x="115" y="56"/>
                </a:cxn>
                <a:cxn ang="0">
                  <a:pos x="77" y="55"/>
                </a:cxn>
                <a:cxn ang="0">
                  <a:pos x="46" y="53"/>
                </a:cxn>
              </a:cxnLst>
              <a:rect l="0" t="0" r="r" b="b"/>
              <a:pathLst>
                <a:path w="159" h="56">
                  <a:moveTo>
                    <a:pt x="46" y="53"/>
                  </a:moveTo>
                  <a:lnTo>
                    <a:pt x="40" y="52"/>
                  </a:lnTo>
                  <a:lnTo>
                    <a:pt x="34" y="49"/>
                  </a:lnTo>
                  <a:lnTo>
                    <a:pt x="26" y="45"/>
                  </a:lnTo>
                  <a:lnTo>
                    <a:pt x="18" y="38"/>
                  </a:lnTo>
                  <a:lnTo>
                    <a:pt x="10" y="31"/>
                  </a:lnTo>
                  <a:lnTo>
                    <a:pt x="5" y="24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21" y="10"/>
                  </a:lnTo>
                  <a:lnTo>
                    <a:pt x="39" y="10"/>
                  </a:lnTo>
                  <a:lnTo>
                    <a:pt x="52" y="10"/>
                  </a:lnTo>
                  <a:lnTo>
                    <a:pt x="59" y="10"/>
                  </a:lnTo>
                  <a:lnTo>
                    <a:pt x="83" y="6"/>
                  </a:lnTo>
                  <a:lnTo>
                    <a:pt x="117" y="0"/>
                  </a:lnTo>
                  <a:lnTo>
                    <a:pt x="125" y="0"/>
                  </a:lnTo>
                  <a:lnTo>
                    <a:pt x="132" y="0"/>
                  </a:lnTo>
                  <a:lnTo>
                    <a:pt x="140" y="0"/>
                  </a:lnTo>
                  <a:lnTo>
                    <a:pt x="147" y="2"/>
                  </a:lnTo>
                  <a:lnTo>
                    <a:pt x="151" y="5"/>
                  </a:lnTo>
                  <a:lnTo>
                    <a:pt x="155" y="9"/>
                  </a:lnTo>
                  <a:lnTo>
                    <a:pt x="158" y="15"/>
                  </a:lnTo>
                  <a:lnTo>
                    <a:pt x="159" y="22"/>
                  </a:lnTo>
                  <a:lnTo>
                    <a:pt x="158" y="30"/>
                  </a:lnTo>
                  <a:lnTo>
                    <a:pt x="155" y="37"/>
                  </a:lnTo>
                  <a:lnTo>
                    <a:pt x="151" y="44"/>
                  </a:lnTo>
                  <a:lnTo>
                    <a:pt x="146" y="48"/>
                  </a:lnTo>
                  <a:lnTo>
                    <a:pt x="139" y="52"/>
                  </a:lnTo>
                  <a:lnTo>
                    <a:pt x="132" y="54"/>
                  </a:lnTo>
                  <a:lnTo>
                    <a:pt x="124" y="55"/>
                  </a:lnTo>
                  <a:lnTo>
                    <a:pt x="115" y="56"/>
                  </a:lnTo>
                  <a:lnTo>
                    <a:pt x="77" y="55"/>
                  </a:lnTo>
                  <a:lnTo>
                    <a:pt x="46" y="5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481" name="Freeform 433"/>
            <p:cNvSpPr>
              <a:spLocks/>
            </p:cNvSpPr>
            <p:nvPr/>
          </p:nvSpPr>
          <p:spPr bwMode="auto">
            <a:xfrm>
              <a:off x="534" y="1280"/>
              <a:ext cx="1205" cy="539"/>
            </a:xfrm>
            <a:custGeom>
              <a:avLst/>
              <a:gdLst/>
              <a:ahLst/>
              <a:cxnLst>
                <a:cxn ang="0">
                  <a:pos x="2931" y="1362"/>
                </a:cxn>
                <a:cxn ang="0">
                  <a:pos x="2556" y="1522"/>
                </a:cxn>
                <a:cxn ang="0">
                  <a:pos x="2312" y="1592"/>
                </a:cxn>
                <a:cxn ang="0">
                  <a:pos x="2294" y="1634"/>
                </a:cxn>
                <a:cxn ang="0">
                  <a:pos x="2177" y="1607"/>
                </a:cxn>
                <a:cxn ang="0">
                  <a:pos x="2279" y="1512"/>
                </a:cxn>
                <a:cxn ang="0">
                  <a:pos x="2166" y="1416"/>
                </a:cxn>
                <a:cxn ang="0">
                  <a:pos x="2094" y="1295"/>
                </a:cxn>
                <a:cxn ang="0">
                  <a:pos x="1947" y="1317"/>
                </a:cxn>
                <a:cxn ang="0">
                  <a:pos x="1771" y="1281"/>
                </a:cxn>
                <a:cxn ang="0">
                  <a:pos x="261" y="1235"/>
                </a:cxn>
                <a:cxn ang="0">
                  <a:pos x="127" y="1125"/>
                </a:cxn>
                <a:cxn ang="0">
                  <a:pos x="151" y="1040"/>
                </a:cxn>
                <a:cxn ang="0">
                  <a:pos x="147" y="927"/>
                </a:cxn>
                <a:cxn ang="0">
                  <a:pos x="259" y="859"/>
                </a:cxn>
                <a:cxn ang="0">
                  <a:pos x="250" y="747"/>
                </a:cxn>
                <a:cxn ang="0">
                  <a:pos x="128" y="665"/>
                </a:cxn>
                <a:cxn ang="0">
                  <a:pos x="602" y="114"/>
                </a:cxn>
                <a:cxn ang="0">
                  <a:pos x="1146" y="105"/>
                </a:cxn>
                <a:cxn ang="0">
                  <a:pos x="1296" y="117"/>
                </a:cxn>
                <a:cxn ang="0">
                  <a:pos x="1641" y="166"/>
                </a:cxn>
                <a:cxn ang="0">
                  <a:pos x="1771" y="206"/>
                </a:cxn>
                <a:cxn ang="0">
                  <a:pos x="2076" y="193"/>
                </a:cxn>
                <a:cxn ang="0">
                  <a:pos x="2286" y="216"/>
                </a:cxn>
                <a:cxn ang="0">
                  <a:pos x="2365" y="216"/>
                </a:cxn>
                <a:cxn ang="0">
                  <a:pos x="2518" y="123"/>
                </a:cxn>
                <a:cxn ang="0">
                  <a:pos x="2587" y="2"/>
                </a:cxn>
                <a:cxn ang="0">
                  <a:pos x="2644" y="105"/>
                </a:cxn>
                <a:cxn ang="0">
                  <a:pos x="2664" y="166"/>
                </a:cxn>
                <a:cxn ang="0">
                  <a:pos x="2716" y="196"/>
                </a:cxn>
                <a:cxn ang="0">
                  <a:pos x="2891" y="121"/>
                </a:cxn>
                <a:cxn ang="0">
                  <a:pos x="3036" y="135"/>
                </a:cxn>
                <a:cxn ang="0">
                  <a:pos x="2883" y="271"/>
                </a:cxn>
                <a:cxn ang="0">
                  <a:pos x="2790" y="289"/>
                </a:cxn>
                <a:cxn ang="0">
                  <a:pos x="2569" y="304"/>
                </a:cxn>
                <a:cxn ang="0">
                  <a:pos x="2501" y="402"/>
                </a:cxn>
                <a:cxn ang="0">
                  <a:pos x="2333" y="471"/>
                </a:cxn>
                <a:cxn ang="0">
                  <a:pos x="2087" y="625"/>
                </a:cxn>
                <a:cxn ang="0">
                  <a:pos x="2106" y="793"/>
                </a:cxn>
                <a:cxn ang="0">
                  <a:pos x="2360" y="907"/>
                </a:cxn>
                <a:cxn ang="0">
                  <a:pos x="2443" y="1059"/>
                </a:cxn>
                <a:cxn ang="0">
                  <a:pos x="2614" y="987"/>
                </a:cxn>
                <a:cxn ang="0">
                  <a:pos x="2848" y="785"/>
                </a:cxn>
                <a:cxn ang="0">
                  <a:pos x="2896" y="597"/>
                </a:cxn>
                <a:cxn ang="0">
                  <a:pos x="3156" y="500"/>
                </a:cxn>
                <a:cxn ang="0">
                  <a:pos x="3276" y="592"/>
                </a:cxn>
                <a:cxn ang="0">
                  <a:pos x="3226" y="736"/>
                </a:cxn>
                <a:cxn ang="0">
                  <a:pos x="3492" y="613"/>
                </a:cxn>
                <a:cxn ang="0">
                  <a:pos x="3545" y="774"/>
                </a:cxn>
                <a:cxn ang="0">
                  <a:pos x="3662" y="924"/>
                </a:cxn>
                <a:cxn ang="0">
                  <a:pos x="3616" y="961"/>
                </a:cxn>
                <a:cxn ang="0">
                  <a:pos x="3694" y="1028"/>
                </a:cxn>
                <a:cxn ang="0">
                  <a:pos x="3556" y="1108"/>
                </a:cxn>
                <a:cxn ang="0">
                  <a:pos x="3151" y="1168"/>
                </a:cxn>
                <a:cxn ang="0">
                  <a:pos x="2853" y="1335"/>
                </a:cxn>
                <a:cxn ang="0">
                  <a:pos x="2905" y="1337"/>
                </a:cxn>
                <a:cxn ang="0">
                  <a:pos x="3216" y="1256"/>
                </a:cxn>
                <a:cxn ang="0">
                  <a:pos x="3066" y="1298"/>
                </a:cxn>
                <a:cxn ang="0">
                  <a:pos x="3138" y="1391"/>
                </a:cxn>
                <a:cxn ang="0">
                  <a:pos x="3248" y="1473"/>
                </a:cxn>
                <a:cxn ang="0">
                  <a:pos x="3018" y="1564"/>
                </a:cxn>
                <a:cxn ang="0">
                  <a:pos x="3189" y="1466"/>
                </a:cxn>
                <a:cxn ang="0">
                  <a:pos x="3016" y="1484"/>
                </a:cxn>
              </a:cxnLst>
              <a:rect l="0" t="0" r="r" b="b"/>
              <a:pathLst>
                <a:path w="3734" h="1644">
                  <a:moveTo>
                    <a:pt x="3010" y="1478"/>
                  </a:moveTo>
                  <a:lnTo>
                    <a:pt x="3010" y="1410"/>
                  </a:lnTo>
                  <a:lnTo>
                    <a:pt x="3013" y="1407"/>
                  </a:lnTo>
                  <a:lnTo>
                    <a:pt x="3016" y="1400"/>
                  </a:lnTo>
                  <a:lnTo>
                    <a:pt x="3021" y="1391"/>
                  </a:lnTo>
                  <a:lnTo>
                    <a:pt x="3025" y="1382"/>
                  </a:lnTo>
                  <a:lnTo>
                    <a:pt x="3029" y="1370"/>
                  </a:lnTo>
                  <a:lnTo>
                    <a:pt x="3033" y="1360"/>
                  </a:lnTo>
                  <a:lnTo>
                    <a:pt x="3036" y="1351"/>
                  </a:lnTo>
                  <a:lnTo>
                    <a:pt x="3036" y="1343"/>
                  </a:lnTo>
                  <a:lnTo>
                    <a:pt x="3032" y="1345"/>
                  </a:lnTo>
                  <a:lnTo>
                    <a:pt x="3026" y="1345"/>
                  </a:lnTo>
                  <a:lnTo>
                    <a:pt x="3021" y="1346"/>
                  </a:lnTo>
                  <a:lnTo>
                    <a:pt x="3014" y="1345"/>
                  </a:lnTo>
                  <a:lnTo>
                    <a:pt x="2997" y="1344"/>
                  </a:lnTo>
                  <a:lnTo>
                    <a:pt x="2977" y="1343"/>
                  </a:lnTo>
                  <a:lnTo>
                    <a:pt x="2967" y="1343"/>
                  </a:lnTo>
                  <a:lnTo>
                    <a:pt x="2958" y="1345"/>
                  </a:lnTo>
                  <a:lnTo>
                    <a:pt x="2950" y="1348"/>
                  </a:lnTo>
                  <a:lnTo>
                    <a:pt x="2943" y="1352"/>
                  </a:lnTo>
                  <a:lnTo>
                    <a:pt x="2936" y="1356"/>
                  </a:lnTo>
                  <a:lnTo>
                    <a:pt x="2931" y="1362"/>
                  </a:lnTo>
                  <a:lnTo>
                    <a:pt x="2925" y="1368"/>
                  </a:lnTo>
                  <a:lnTo>
                    <a:pt x="2920" y="1374"/>
                  </a:lnTo>
                  <a:lnTo>
                    <a:pt x="2909" y="1388"/>
                  </a:lnTo>
                  <a:lnTo>
                    <a:pt x="2899" y="1403"/>
                  </a:lnTo>
                  <a:lnTo>
                    <a:pt x="2889" y="1416"/>
                  </a:lnTo>
                  <a:lnTo>
                    <a:pt x="2877" y="1429"/>
                  </a:lnTo>
                  <a:lnTo>
                    <a:pt x="2867" y="1438"/>
                  </a:lnTo>
                  <a:lnTo>
                    <a:pt x="2857" y="1445"/>
                  </a:lnTo>
                  <a:lnTo>
                    <a:pt x="2847" y="1451"/>
                  </a:lnTo>
                  <a:lnTo>
                    <a:pt x="2836" y="1456"/>
                  </a:lnTo>
                  <a:lnTo>
                    <a:pt x="2826" y="1460"/>
                  </a:lnTo>
                  <a:lnTo>
                    <a:pt x="2815" y="1463"/>
                  </a:lnTo>
                  <a:lnTo>
                    <a:pt x="2803" y="1465"/>
                  </a:lnTo>
                  <a:lnTo>
                    <a:pt x="2792" y="1467"/>
                  </a:lnTo>
                  <a:lnTo>
                    <a:pt x="2767" y="1470"/>
                  </a:lnTo>
                  <a:lnTo>
                    <a:pt x="2741" y="1472"/>
                  </a:lnTo>
                  <a:lnTo>
                    <a:pt x="2711" y="1474"/>
                  </a:lnTo>
                  <a:lnTo>
                    <a:pt x="2678" y="1478"/>
                  </a:lnTo>
                  <a:lnTo>
                    <a:pt x="2591" y="1478"/>
                  </a:lnTo>
                  <a:lnTo>
                    <a:pt x="2580" y="1494"/>
                  </a:lnTo>
                  <a:lnTo>
                    <a:pt x="2569" y="1508"/>
                  </a:lnTo>
                  <a:lnTo>
                    <a:pt x="2556" y="1522"/>
                  </a:lnTo>
                  <a:lnTo>
                    <a:pt x="2543" y="1534"/>
                  </a:lnTo>
                  <a:lnTo>
                    <a:pt x="2530" y="1547"/>
                  </a:lnTo>
                  <a:lnTo>
                    <a:pt x="2514" y="1558"/>
                  </a:lnTo>
                  <a:lnTo>
                    <a:pt x="2500" y="1568"/>
                  </a:lnTo>
                  <a:lnTo>
                    <a:pt x="2485" y="1577"/>
                  </a:lnTo>
                  <a:lnTo>
                    <a:pt x="2492" y="1571"/>
                  </a:lnTo>
                  <a:lnTo>
                    <a:pt x="2498" y="1565"/>
                  </a:lnTo>
                  <a:lnTo>
                    <a:pt x="2502" y="1559"/>
                  </a:lnTo>
                  <a:lnTo>
                    <a:pt x="2504" y="1553"/>
                  </a:lnTo>
                  <a:lnTo>
                    <a:pt x="2478" y="1546"/>
                  </a:lnTo>
                  <a:lnTo>
                    <a:pt x="2445" y="1559"/>
                  </a:lnTo>
                  <a:lnTo>
                    <a:pt x="2408" y="1562"/>
                  </a:lnTo>
                  <a:lnTo>
                    <a:pt x="2364" y="1565"/>
                  </a:lnTo>
                  <a:lnTo>
                    <a:pt x="2353" y="1567"/>
                  </a:lnTo>
                  <a:lnTo>
                    <a:pt x="2343" y="1569"/>
                  </a:lnTo>
                  <a:lnTo>
                    <a:pt x="2334" y="1572"/>
                  </a:lnTo>
                  <a:lnTo>
                    <a:pt x="2328" y="1575"/>
                  </a:lnTo>
                  <a:lnTo>
                    <a:pt x="2321" y="1579"/>
                  </a:lnTo>
                  <a:lnTo>
                    <a:pt x="2316" y="1583"/>
                  </a:lnTo>
                  <a:lnTo>
                    <a:pt x="2315" y="1586"/>
                  </a:lnTo>
                  <a:lnTo>
                    <a:pt x="2313" y="1589"/>
                  </a:lnTo>
                  <a:lnTo>
                    <a:pt x="2312" y="1592"/>
                  </a:lnTo>
                  <a:lnTo>
                    <a:pt x="2312" y="1595"/>
                  </a:lnTo>
                  <a:lnTo>
                    <a:pt x="2312" y="1598"/>
                  </a:lnTo>
                  <a:lnTo>
                    <a:pt x="2313" y="1602"/>
                  </a:lnTo>
                  <a:lnTo>
                    <a:pt x="2316" y="1604"/>
                  </a:lnTo>
                  <a:lnTo>
                    <a:pt x="2318" y="1605"/>
                  </a:lnTo>
                  <a:lnTo>
                    <a:pt x="2324" y="1608"/>
                  </a:lnTo>
                  <a:lnTo>
                    <a:pt x="2332" y="1609"/>
                  </a:lnTo>
                  <a:lnTo>
                    <a:pt x="2351" y="1609"/>
                  </a:lnTo>
                  <a:lnTo>
                    <a:pt x="2372" y="1608"/>
                  </a:lnTo>
                  <a:lnTo>
                    <a:pt x="2388" y="1607"/>
                  </a:lnTo>
                  <a:lnTo>
                    <a:pt x="2405" y="1605"/>
                  </a:lnTo>
                  <a:lnTo>
                    <a:pt x="2421" y="1602"/>
                  </a:lnTo>
                  <a:lnTo>
                    <a:pt x="2438" y="1597"/>
                  </a:lnTo>
                  <a:lnTo>
                    <a:pt x="2425" y="1602"/>
                  </a:lnTo>
                  <a:lnTo>
                    <a:pt x="2414" y="1605"/>
                  </a:lnTo>
                  <a:lnTo>
                    <a:pt x="2402" y="1607"/>
                  </a:lnTo>
                  <a:lnTo>
                    <a:pt x="2391" y="1608"/>
                  </a:lnTo>
                  <a:lnTo>
                    <a:pt x="2319" y="1626"/>
                  </a:lnTo>
                  <a:lnTo>
                    <a:pt x="2313" y="1629"/>
                  </a:lnTo>
                  <a:lnTo>
                    <a:pt x="2307" y="1631"/>
                  </a:lnTo>
                  <a:lnTo>
                    <a:pt x="2300" y="1633"/>
                  </a:lnTo>
                  <a:lnTo>
                    <a:pt x="2294" y="1634"/>
                  </a:lnTo>
                  <a:lnTo>
                    <a:pt x="2296" y="1633"/>
                  </a:lnTo>
                  <a:lnTo>
                    <a:pt x="2299" y="1632"/>
                  </a:lnTo>
                  <a:lnTo>
                    <a:pt x="2290" y="1625"/>
                  </a:lnTo>
                  <a:lnTo>
                    <a:pt x="2283" y="1620"/>
                  </a:lnTo>
                  <a:lnTo>
                    <a:pt x="2273" y="1617"/>
                  </a:lnTo>
                  <a:lnTo>
                    <a:pt x="2263" y="1614"/>
                  </a:lnTo>
                  <a:lnTo>
                    <a:pt x="2253" y="1613"/>
                  </a:lnTo>
                  <a:lnTo>
                    <a:pt x="2243" y="1614"/>
                  </a:lnTo>
                  <a:lnTo>
                    <a:pt x="2233" y="1615"/>
                  </a:lnTo>
                  <a:lnTo>
                    <a:pt x="2224" y="1616"/>
                  </a:lnTo>
                  <a:lnTo>
                    <a:pt x="2207" y="1621"/>
                  </a:lnTo>
                  <a:lnTo>
                    <a:pt x="2193" y="1626"/>
                  </a:lnTo>
                  <a:lnTo>
                    <a:pt x="2183" y="1630"/>
                  </a:lnTo>
                  <a:lnTo>
                    <a:pt x="2179" y="1632"/>
                  </a:lnTo>
                  <a:lnTo>
                    <a:pt x="2172" y="1634"/>
                  </a:lnTo>
                  <a:lnTo>
                    <a:pt x="2162" y="1637"/>
                  </a:lnTo>
                  <a:lnTo>
                    <a:pt x="2150" y="1641"/>
                  </a:lnTo>
                  <a:lnTo>
                    <a:pt x="2137" y="1644"/>
                  </a:lnTo>
                  <a:lnTo>
                    <a:pt x="2147" y="1632"/>
                  </a:lnTo>
                  <a:lnTo>
                    <a:pt x="2156" y="1623"/>
                  </a:lnTo>
                  <a:lnTo>
                    <a:pt x="2167" y="1614"/>
                  </a:lnTo>
                  <a:lnTo>
                    <a:pt x="2177" y="1607"/>
                  </a:lnTo>
                  <a:lnTo>
                    <a:pt x="2187" y="1599"/>
                  </a:lnTo>
                  <a:lnTo>
                    <a:pt x="2196" y="1592"/>
                  </a:lnTo>
                  <a:lnTo>
                    <a:pt x="2200" y="1587"/>
                  </a:lnTo>
                  <a:lnTo>
                    <a:pt x="2205" y="1582"/>
                  </a:lnTo>
                  <a:lnTo>
                    <a:pt x="2209" y="1577"/>
                  </a:lnTo>
                  <a:lnTo>
                    <a:pt x="2212" y="1571"/>
                  </a:lnTo>
                  <a:lnTo>
                    <a:pt x="2219" y="1558"/>
                  </a:lnTo>
                  <a:lnTo>
                    <a:pt x="2222" y="1544"/>
                  </a:lnTo>
                  <a:lnTo>
                    <a:pt x="2224" y="1533"/>
                  </a:lnTo>
                  <a:lnTo>
                    <a:pt x="2228" y="1522"/>
                  </a:lnTo>
                  <a:lnTo>
                    <a:pt x="2230" y="1511"/>
                  </a:lnTo>
                  <a:lnTo>
                    <a:pt x="2234" y="1501"/>
                  </a:lnTo>
                  <a:lnTo>
                    <a:pt x="2238" y="1495"/>
                  </a:lnTo>
                  <a:lnTo>
                    <a:pt x="2242" y="1490"/>
                  </a:lnTo>
                  <a:lnTo>
                    <a:pt x="2246" y="1484"/>
                  </a:lnTo>
                  <a:lnTo>
                    <a:pt x="2252" y="1478"/>
                  </a:lnTo>
                  <a:lnTo>
                    <a:pt x="2265" y="1478"/>
                  </a:lnTo>
                  <a:lnTo>
                    <a:pt x="2266" y="1485"/>
                  </a:lnTo>
                  <a:lnTo>
                    <a:pt x="2267" y="1492"/>
                  </a:lnTo>
                  <a:lnTo>
                    <a:pt x="2271" y="1497"/>
                  </a:lnTo>
                  <a:lnTo>
                    <a:pt x="2273" y="1502"/>
                  </a:lnTo>
                  <a:lnTo>
                    <a:pt x="2279" y="1512"/>
                  </a:lnTo>
                  <a:lnTo>
                    <a:pt x="2286" y="1521"/>
                  </a:lnTo>
                  <a:lnTo>
                    <a:pt x="2298" y="1517"/>
                  </a:lnTo>
                  <a:lnTo>
                    <a:pt x="2310" y="1512"/>
                  </a:lnTo>
                  <a:lnTo>
                    <a:pt x="2324" y="1508"/>
                  </a:lnTo>
                  <a:lnTo>
                    <a:pt x="2345" y="1503"/>
                  </a:lnTo>
                  <a:lnTo>
                    <a:pt x="2345" y="1478"/>
                  </a:lnTo>
                  <a:lnTo>
                    <a:pt x="2331" y="1462"/>
                  </a:lnTo>
                  <a:lnTo>
                    <a:pt x="2317" y="1444"/>
                  </a:lnTo>
                  <a:lnTo>
                    <a:pt x="2309" y="1436"/>
                  </a:lnTo>
                  <a:lnTo>
                    <a:pt x="2300" y="1428"/>
                  </a:lnTo>
                  <a:lnTo>
                    <a:pt x="2296" y="1426"/>
                  </a:lnTo>
                  <a:lnTo>
                    <a:pt x="2290" y="1424"/>
                  </a:lnTo>
                  <a:lnTo>
                    <a:pt x="2285" y="1423"/>
                  </a:lnTo>
                  <a:lnTo>
                    <a:pt x="2279" y="1422"/>
                  </a:lnTo>
                  <a:lnTo>
                    <a:pt x="2249" y="1423"/>
                  </a:lnTo>
                  <a:lnTo>
                    <a:pt x="2215" y="1424"/>
                  </a:lnTo>
                  <a:lnTo>
                    <a:pt x="2199" y="1424"/>
                  </a:lnTo>
                  <a:lnTo>
                    <a:pt x="2185" y="1423"/>
                  </a:lnTo>
                  <a:lnTo>
                    <a:pt x="2178" y="1422"/>
                  </a:lnTo>
                  <a:lnTo>
                    <a:pt x="2173" y="1420"/>
                  </a:lnTo>
                  <a:lnTo>
                    <a:pt x="2168" y="1419"/>
                  </a:lnTo>
                  <a:lnTo>
                    <a:pt x="2166" y="1416"/>
                  </a:lnTo>
                  <a:lnTo>
                    <a:pt x="2163" y="1413"/>
                  </a:lnTo>
                  <a:lnTo>
                    <a:pt x="2161" y="1409"/>
                  </a:lnTo>
                  <a:lnTo>
                    <a:pt x="2159" y="1405"/>
                  </a:lnTo>
                  <a:lnTo>
                    <a:pt x="2159" y="1401"/>
                  </a:lnTo>
                  <a:lnTo>
                    <a:pt x="2159" y="1392"/>
                  </a:lnTo>
                  <a:lnTo>
                    <a:pt x="2160" y="1382"/>
                  </a:lnTo>
                  <a:lnTo>
                    <a:pt x="2161" y="1372"/>
                  </a:lnTo>
                  <a:lnTo>
                    <a:pt x="2161" y="1362"/>
                  </a:lnTo>
                  <a:lnTo>
                    <a:pt x="2160" y="1357"/>
                  </a:lnTo>
                  <a:lnTo>
                    <a:pt x="2159" y="1352"/>
                  </a:lnTo>
                  <a:lnTo>
                    <a:pt x="2155" y="1347"/>
                  </a:lnTo>
                  <a:lnTo>
                    <a:pt x="2153" y="1343"/>
                  </a:lnTo>
                  <a:lnTo>
                    <a:pt x="2149" y="1339"/>
                  </a:lnTo>
                  <a:lnTo>
                    <a:pt x="2144" y="1335"/>
                  </a:lnTo>
                  <a:lnTo>
                    <a:pt x="2139" y="1332"/>
                  </a:lnTo>
                  <a:lnTo>
                    <a:pt x="2133" y="1329"/>
                  </a:lnTo>
                  <a:lnTo>
                    <a:pt x="2122" y="1323"/>
                  </a:lnTo>
                  <a:lnTo>
                    <a:pt x="2111" y="1315"/>
                  </a:lnTo>
                  <a:lnTo>
                    <a:pt x="2107" y="1311"/>
                  </a:lnTo>
                  <a:lnTo>
                    <a:pt x="2102" y="1307"/>
                  </a:lnTo>
                  <a:lnTo>
                    <a:pt x="2097" y="1301"/>
                  </a:lnTo>
                  <a:lnTo>
                    <a:pt x="2094" y="1295"/>
                  </a:lnTo>
                  <a:lnTo>
                    <a:pt x="2091" y="1288"/>
                  </a:lnTo>
                  <a:lnTo>
                    <a:pt x="2088" y="1279"/>
                  </a:lnTo>
                  <a:lnTo>
                    <a:pt x="2087" y="1269"/>
                  </a:lnTo>
                  <a:lnTo>
                    <a:pt x="2086" y="1256"/>
                  </a:lnTo>
                  <a:lnTo>
                    <a:pt x="2060" y="1256"/>
                  </a:lnTo>
                  <a:lnTo>
                    <a:pt x="2046" y="1259"/>
                  </a:lnTo>
                  <a:lnTo>
                    <a:pt x="2027" y="1261"/>
                  </a:lnTo>
                  <a:lnTo>
                    <a:pt x="2017" y="1262"/>
                  </a:lnTo>
                  <a:lnTo>
                    <a:pt x="2007" y="1265"/>
                  </a:lnTo>
                  <a:lnTo>
                    <a:pt x="2003" y="1267"/>
                  </a:lnTo>
                  <a:lnTo>
                    <a:pt x="1999" y="1270"/>
                  </a:lnTo>
                  <a:lnTo>
                    <a:pt x="1996" y="1272"/>
                  </a:lnTo>
                  <a:lnTo>
                    <a:pt x="1993" y="1275"/>
                  </a:lnTo>
                  <a:lnTo>
                    <a:pt x="1985" y="1287"/>
                  </a:lnTo>
                  <a:lnTo>
                    <a:pt x="1976" y="1301"/>
                  </a:lnTo>
                  <a:lnTo>
                    <a:pt x="1974" y="1304"/>
                  </a:lnTo>
                  <a:lnTo>
                    <a:pt x="1971" y="1307"/>
                  </a:lnTo>
                  <a:lnTo>
                    <a:pt x="1968" y="1310"/>
                  </a:lnTo>
                  <a:lnTo>
                    <a:pt x="1963" y="1313"/>
                  </a:lnTo>
                  <a:lnTo>
                    <a:pt x="1959" y="1315"/>
                  </a:lnTo>
                  <a:lnTo>
                    <a:pt x="1953" y="1316"/>
                  </a:lnTo>
                  <a:lnTo>
                    <a:pt x="1947" y="1317"/>
                  </a:lnTo>
                  <a:lnTo>
                    <a:pt x="1940" y="1318"/>
                  </a:lnTo>
                  <a:lnTo>
                    <a:pt x="1930" y="1317"/>
                  </a:lnTo>
                  <a:lnTo>
                    <a:pt x="1920" y="1315"/>
                  </a:lnTo>
                  <a:lnTo>
                    <a:pt x="1910" y="1313"/>
                  </a:lnTo>
                  <a:lnTo>
                    <a:pt x="1901" y="1309"/>
                  </a:lnTo>
                  <a:lnTo>
                    <a:pt x="1892" y="1305"/>
                  </a:lnTo>
                  <a:lnTo>
                    <a:pt x="1883" y="1300"/>
                  </a:lnTo>
                  <a:lnTo>
                    <a:pt x="1874" y="1294"/>
                  </a:lnTo>
                  <a:lnTo>
                    <a:pt x="1867" y="1287"/>
                  </a:lnTo>
                  <a:lnTo>
                    <a:pt x="1864" y="1289"/>
                  </a:lnTo>
                  <a:lnTo>
                    <a:pt x="1860" y="1293"/>
                  </a:lnTo>
                  <a:lnTo>
                    <a:pt x="1853" y="1298"/>
                  </a:lnTo>
                  <a:lnTo>
                    <a:pt x="1847" y="1299"/>
                  </a:lnTo>
                  <a:lnTo>
                    <a:pt x="1840" y="1299"/>
                  </a:lnTo>
                  <a:lnTo>
                    <a:pt x="1833" y="1297"/>
                  </a:lnTo>
                  <a:lnTo>
                    <a:pt x="1826" y="1294"/>
                  </a:lnTo>
                  <a:lnTo>
                    <a:pt x="1819" y="1290"/>
                  </a:lnTo>
                  <a:lnTo>
                    <a:pt x="1813" y="1287"/>
                  </a:lnTo>
                  <a:lnTo>
                    <a:pt x="1805" y="1284"/>
                  </a:lnTo>
                  <a:lnTo>
                    <a:pt x="1796" y="1282"/>
                  </a:lnTo>
                  <a:lnTo>
                    <a:pt x="1787" y="1281"/>
                  </a:lnTo>
                  <a:lnTo>
                    <a:pt x="1771" y="1281"/>
                  </a:lnTo>
                  <a:lnTo>
                    <a:pt x="1761" y="1281"/>
                  </a:lnTo>
                  <a:lnTo>
                    <a:pt x="1756" y="1281"/>
                  </a:lnTo>
                  <a:lnTo>
                    <a:pt x="1751" y="1280"/>
                  </a:lnTo>
                  <a:lnTo>
                    <a:pt x="1747" y="1279"/>
                  </a:lnTo>
                  <a:lnTo>
                    <a:pt x="1742" y="1277"/>
                  </a:lnTo>
                  <a:lnTo>
                    <a:pt x="1734" y="1272"/>
                  </a:lnTo>
                  <a:lnTo>
                    <a:pt x="1727" y="1264"/>
                  </a:lnTo>
                  <a:lnTo>
                    <a:pt x="1722" y="1256"/>
                  </a:lnTo>
                  <a:lnTo>
                    <a:pt x="1717" y="1247"/>
                  </a:lnTo>
                  <a:lnTo>
                    <a:pt x="1715" y="1237"/>
                  </a:lnTo>
                  <a:lnTo>
                    <a:pt x="1714" y="1226"/>
                  </a:lnTo>
                  <a:lnTo>
                    <a:pt x="1681" y="1226"/>
                  </a:lnTo>
                  <a:lnTo>
                    <a:pt x="1682" y="1231"/>
                  </a:lnTo>
                  <a:lnTo>
                    <a:pt x="1684" y="1239"/>
                  </a:lnTo>
                  <a:lnTo>
                    <a:pt x="1686" y="1247"/>
                  </a:lnTo>
                  <a:lnTo>
                    <a:pt x="1688" y="1256"/>
                  </a:lnTo>
                  <a:lnTo>
                    <a:pt x="259" y="1256"/>
                  </a:lnTo>
                  <a:lnTo>
                    <a:pt x="263" y="1245"/>
                  </a:lnTo>
                  <a:lnTo>
                    <a:pt x="265" y="1239"/>
                  </a:lnTo>
                  <a:lnTo>
                    <a:pt x="265" y="1237"/>
                  </a:lnTo>
                  <a:lnTo>
                    <a:pt x="263" y="1236"/>
                  </a:lnTo>
                  <a:lnTo>
                    <a:pt x="261" y="1235"/>
                  </a:lnTo>
                  <a:lnTo>
                    <a:pt x="258" y="1233"/>
                  </a:lnTo>
                  <a:lnTo>
                    <a:pt x="256" y="1229"/>
                  </a:lnTo>
                  <a:lnTo>
                    <a:pt x="252" y="1220"/>
                  </a:lnTo>
                  <a:lnTo>
                    <a:pt x="247" y="1214"/>
                  </a:lnTo>
                  <a:lnTo>
                    <a:pt x="240" y="1207"/>
                  </a:lnTo>
                  <a:lnTo>
                    <a:pt x="235" y="1200"/>
                  </a:lnTo>
                  <a:lnTo>
                    <a:pt x="233" y="1195"/>
                  </a:lnTo>
                  <a:lnTo>
                    <a:pt x="226" y="1194"/>
                  </a:lnTo>
                  <a:lnTo>
                    <a:pt x="217" y="1190"/>
                  </a:lnTo>
                  <a:lnTo>
                    <a:pt x="213" y="1188"/>
                  </a:lnTo>
                  <a:lnTo>
                    <a:pt x="210" y="1184"/>
                  </a:lnTo>
                  <a:lnTo>
                    <a:pt x="206" y="1181"/>
                  </a:lnTo>
                  <a:lnTo>
                    <a:pt x="206" y="1176"/>
                  </a:lnTo>
                  <a:lnTo>
                    <a:pt x="195" y="1173"/>
                  </a:lnTo>
                  <a:lnTo>
                    <a:pt x="182" y="1168"/>
                  </a:lnTo>
                  <a:lnTo>
                    <a:pt x="169" y="1161"/>
                  </a:lnTo>
                  <a:lnTo>
                    <a:pt x="156" y="1153"/>
                  </a:lnTo>
                  <a:lnTo>
                    <a:pt x="145" y="1145"/>
                  </a:lnTo>
                  <a:lnTo>
                    <a:pt x="135" y="1136"/>
                  </a:lnTo>
                  <a:lnTo>
                    <a:pt x="132" y="1132"/>
                  </a:lnTo>
                  <a:lnTo>
                    <a:pt x="128" y="1128"/>
                  </a:lnTo>
                  <a:lnTo>
                    <a:pt x="127" y="1125"/>
                  </a:lnTo>
                  <a:lnTo>
                    <a:pt x="126" y="1121"/>
                  </a:lnTo>
                  <a:lnTo>
                    <a:pt x="127" y="1116"/>
                  </a:lnTo>
                  <a:lnTo>
                    <a:pt x="128" y="1111"/>
                  </a:lnTo>
                  <a:lnTo>
                    <a:pt x="132" y="1106"/>
                  </a:lnTo>
                  <a:lnTo>
                    <a:pt x="136" y="1102"/>
                  </a:lnTo>
                  <a:lnTo>
                    <a:pt x="146" y="1094"/>
                  </a:lnTo>
                  <a:lnTo>
                    <a:pt x="157" y="1088"/>
                  </a:lnTo>
                  <a:lnTo>
                    <a:pt x="169" y="1083"/>
                  </a:lnTo>
                  <a:lnTo>
                    <a:pt x="180" y="1077"/>
                  </a:lnTo>
                  <a:lnTo>
                    <a:pt x="184" y="1075"/>
                  </a:lnTo>
                  <a:lnTo>
                    <a:pt x="188" y="1072"/>
                  </a:lnTo>
                  <a:lnTo>
                    <a:pt x="191" y="1069"/>
                  </a:lnTo>
                  <a:lnTo>
                    <a:pt x="193" y="1066"/>
                  </a:lnTo>
                  <a:lnTo>
                    <a:pt x="183" y="1065"/>
                  </a:lnTo>
                  <a:lnTo>
                    <a:pt x="170" y="1064"/>
                  </a:lnTo>
                  <a:lnTo>
                    <a:pt x="164" y="1063"/>
                  </a:lnTo>
                  <a:lnTo>
                    <a:pt x="158" y="1060"/>
                  </a:lnTo>
                  <a:lnTo>
                    <a:pt x="156" y="1059"/>
                  </a:lnTo>
                  <a:lnTo>
                    <a:pt x="155" y="1057"/>
                  </a:lnTo>
                  <a:lnTo>
                    <a:pt x="154" y="1056"/>
                  </a:lnTo>
                  <a:lnTo>
                    <a:pt x="153" y="1053"/>
                  </a:lnTo>
                  <a:lnTo>
                    <a:pt x="151" y="1040"/>
                  </a:lnTo>
                  <a:lnTo>
                    <a:pt x="148" y="1029"/>
                  </a:lnTo>
                  <a:lnTo>
                    <a:pt x="147" y="1024"/>
                  </a:lnTo>
                  <a:lnTo>
                    <a:pt x="147" y="1019"/>
                  </a:lnTo>
                  <a:lnTo>
                    <a:pt x="149" y="1015"/>
                  </a:lnTo>
                  <a:lnTo>
                    <a:pt x="153" y="1010"/>
                  </a:lnTo>
                  <a:lnTo>
                    <a:pt x="126" y="1010"/>
                  </a:lnTo>
                  <a:lnTo>
                    <a:pt x="133" y="992"/>
                  </a:lnTo>
                  <a:lnTo>
                    <a:pt x="120" y="989"/>
                  </a:lnTo>
                  <a:lnTo>
                    <a:pt x="106" y="985"/>
                  </a:lnTo>
                  <a:lnTo>
                    <a:pt x="108" y="979"/>
                  </a:lnTo>
                  <a:lnTo>
                    <a:pt x="110" y="973"/>
                  </a:lnTo>
                  <a:lnTo>
                    <a:pt x="112" y="969"/>
                  </a:lnTo>
                  <a:lnTo>
                    <a:pt x="114" y="965"/>
                  </a:lnTo>
                  <a:lnTo>
                    <a:pt x="121" y="958"/>
                  </a:lnTo>
                  <a:lnTo>
                    <a:pt x="127" y="954"/>
                  </a:lnTo>
                  <a:lnTo>
                    <a:pt x="134" y="950"/>
                  </a:lnTo>
                  <a:lnTo>
                    <a:pt x="140" y="947"/>
                  </a:lnTo>
                  <a:lnTo>
                    <a:pt x="147" y="942"/>
                  </a:lnTo>
                  <a:lnTo>
                    <a:pt x="153" y="936"/>
                  </a:lnTo>
                  <a:lnTo>
                    <a:pt x="149" y="932"/>
                  </a:lnTo>
                  <a:lnTo>
                    <a:pt x="148" y="929"/>
                  </a:lnTo>
                  <a:lnTo>
                    <a:pt x="147" y="927"/>
                  </a:lnTo>
                  <a:lnTo>
                    <a:pt x="147" y="925"/>
                  </a:lnTo>
                  <a:lnTo>
                    <a:pt x="148" y="923"/>
                  </a:lnTo>
                  <a:lnTo>
                    <a:pt x="149" y="921"/>
                  </a:lnTo>
                  <a:lnTo>
                    <a:pt x="151" y="919"/>
                  </a:lnTo>
                  <a:lnTo>
                    <a:pt x="155" y="917"/>
                  </a:lnTo>
                  <a:lnTo>
                    <a:pt x="161" y="914"/>
                  </a:lnTo>
                  <a:lnTo>
                    <a:pt x="170" y="910"/>
                  </a:lnTo>
                  <a:lnTo>
                    <a:pt x="178" y="905"/>
                  </a:lnTo>
                  <a:lnTo>
                    <a:pt x="187" y="899"/>
                  </a:lnTo>
                  <a:lnTo>
                    <a:pt x="191" y="901"/>
                  </a:lnTo>
                  <a:lnTo>
                    <a:pt x="196" y="902"/>
                  </a:lnTo>
                  <a:lnTo>
                    <a:pt x="203" y="901"/>
                  </a:lnTo>
                  <a:lnTo>
                    <a:pt x="209" y="900"/>
                  </a:lnTo>
                  <a:lnTo>
                    <a:pt x="215" y="898"/>
                  </a:lnTo>
                  <a:lnTo>
                    <a:pt x="221" y="896"/>
                  </a:lnTo>
                  <a:lnTo>
                    <a:pt x="227" y="893"/>
                  </a:lnTo>
                  <a:lnTo>
                    <a:pt x="233" y="889"/>
                  </a:lnTo>
                  <a:lnTo>
                    <a:pt x="243" y="881"/>
                  </a:lnTo>
                  <a:lnTo>
                    <a:pt x="251" y="872"/>
                  </a:lnTo>
                  <a:lnTo>
                    <a:pt x="255" y="868"/>
                  </a:lnTo>
                  <a:lnTo>
                    <a:pt x="257" y="863"/>
                  </a:lnTo>
                  <a:lnTo>
                    <a:pt x="259" y="859"/>
                  </a:lnTo>
                  <a:lnTo>
                    <a:pt x="259" y="856"/>
                  </a:lnTo>
                  <a:lnTo>
                    <a:pt x="259" y="851"/>
                  </a:lnTo>
                  <a:lnTo>
                    <a:pt x="258" y="847"/>
                  </a:lnTo>
                  <a:lnTo>
                    <a:pt x="256" y="843"/>
                  </a:lnTo>
                  <a:lnTo>
                    <a:pt x="254" y="840"/>
                  </a:lnTo>
                  <a:lnTo>
                    <a:pt x="248" y="832"/>
                  </a:lnTo>
                  <a:lnTo>
                    <a:pt x="243" y="826"/>
                  </a:lnTo>
                  <a:lnTo>
                    <a:pt x="236" y="818"/>
                  </a:lnTo>
                  <a:lnTo>
                    <a:pt x="232" y="811"/>
                  </a:lnTo>
                  <a:lnTo>
                    <a:pt x="229" y="807"/>
                  </a:lnTo>
                  <a:lnTo>
                    <a:pt x="227" y="803"/>
                  </a:lnTo>
                  <a:lnTo>
                    <a:pt x="226" y="799"/>
                  </a:lnTo>
                  <a:lnTo>
                    <a:pt x="226" y="794"/>
                  </a:lnTo>
                  <a:lnTo>
                    <a:pt x="226" y="789"/>
                  </a:lnTo>
                  <a:lnTo>
                    <a:pt x="227" y="784"/>
                  </a:lnTo>
                  <a:lnTo>
                    <a:pt x="228" y="780"/>
                  </a:lnTo>
                  <a:lnTo>
                    <a:pt x="231" y="776"/>
                  </a:lnTo>
                  <a:lnTo>
                    <a:pt x="234" y="770"/>
                  </a:lnTo>
                  <a:lnTo>
                    <a:pt x="239" y="763"/>
                  </a:lnTo>
                  <a:lnTo>
                    <a:pt x="244" y="757"/>
                  </a:lnTo>
                  <a:lnTo>
                    <a:pt x="248" y="751"/>
                  </a:lnTo>
                  <a:lnTo>
                    <a:pt x="250" y="747"/>
                  </a:lnTo>
                  <a:lnTo>
                    <a:pt x="251" y="743"/>
                  </a:lnTo>
                  <a:lnTo>
                    <a:pt x="252" y="738"/>
                  </a:lnTo>
                  <a:lnTo>
                    <a:pt x="252" y="733"/>
                  </a:lnTo>
                  <a:lnTo>
                    <a:pt x="252" y="724"/>
                  </a:lnTo>
                  <a:lnTo>
                    <a:pt x="251" y="716"/>
                  </a:lnTo>
                  <a:lnTo>
                    <a:pt x="249" y="707"/>
                  </a:lnTo>
                  <a:lnTo>
                    <a:pt x="247" y="700"/>
                  </a:lnTo>
                  <a:lnTo>
                    <a:pt x="242" y="686"/>
                  </a:lnTo>
                  <a:lnTo>
                    <a:pt x="234" y="674"/>
                  </a:lnTo>
                  <a:lnTo>
                    <a:pt x="218" y="653"/>
                  </a:lnTo>
                  <a:lnTo>
                    <a:pt x="206" y="634"/>
                  </a:lnTo>
                  <a:lnTo>
                    <a:pt x="200" y="634"/>
                  </a:lnTo>
                  <a:lnTo>
                    <a:pt x="194" y="635"/>
                  </a:lnTo>
                  <a:lnTo>
                    <a:pt x="190" y="637"/>
                  </a:lnTo>
                  <a:lnTo>
                    <a:pt x="186" y="639"/>
                  </a:lnTo>
                  <a:lnTo>
                    <a:pt x="177" y="644"/>
                  </a:lnTo>
                  <a:lnTo>
                    <a:pt x="168" y="649"/>
                  </a:lnTo>
                  <a:lnTo>
                    <a:pt x="159" y="656"/>
                  </a:lnTo>
                  <a:lnTo>
                    <a:pt x="148" y="661"/>
                  </a:lnTo>
                  <a:lnTo>
                    <a:pt x="142" y="662"/>
                  </a:lnTo>
                  <a:lnTo>
                    <a:pt x="135" y="664"/>
                  </a:lnTo>
                  <a:lnTo>
                    <a:pt x="128" y="665"/>
                  </a:lnTo>
                  <a:lnTo>
                    <a:pt x="120" y="665"/>
                  </a:lnTo>
                  <a:lnTo>
                    <a:pt x="113" y="663"/>
                  </a:lnTo>
                  <a:lnTo>
                    <a:pt x="104" y="658"/>
                  </a:lnTo>
                  <a:lnTo>
                    <a:pt x="100" y="656"/>
                  </a:lnTo>
                  <a:lnTo>
                    <a:pt x="97" y="652"/>
                  </a:lnTo>
                  <a:lnTo>
                    <a:pt x="94" y="649"/>
                  </a:lnTo>
                  <a:lnTo>
                    <a:pt x="93" y="646"/>
                  </a:lnTo>
                  <a:lnTo>
                    <a:pt x="93" y="640"/>
                  </a:lnTo>
                  <a:lnTo>
                    <a:pt x="95" y="633"/>
                  </a:lnTo>
                  <a:lnTo>
                    <a:pt x="98" y="628"/>
                  </a:lnTo>
                  <a:lnTo>
                    <a:pt x="100" y="622"/>
                  </a:lnTo>
                  <a:lnTo>
                    <a:pt x="102" y="616"/>
                  </a:lnTo>
                  <a:lnTo>
                    <a:pt x="104" y="610"/>
                  </a:lnTo>
                  <a:lnTo>
                    <a:pt x="105" y="604"/>
                  </a:lnTo>
                  <a:lnTo>
                    <a:pt x="106" y="597"/>
                  </a:lnTo>
                  <a:lnTo>
                    <a:pt x="86" y="597"/>
                  </a:lnTo>
                  <a:lnTo>
                    <a:pt x="64" y="597"/>
                  </a:lnTo>
                  <a:lnTo>
                    <a:pt x="35" y="597"/>
                  </a:lnTo>
                  <a:lnTo>
                    <a:pt x="0" y="597"/>
                  </a:lnTo>
                  <a:lnTo>
                    <a:pt x="585" y="117"/>
                  </a:lnTo>
                  <a:lnTo>
                    <a:pt x="594" y="116"/>
                  </a:lnTo>
                  <a:lnTo>
                    <a:pt x="602" y="114"/>
                  </a:lnTo>
                  <a:lnTo>
                    <a:pt x="612" y="112"/>
                  </a:lnTo>
                  <a:lnTo>
                    <a:pt x="625" y="111"/>
                  </a:lnTo>
                  <a:lnTo>
                    <a:pt x="635" y="111"/>
                  </a:lnTo>
                  <a:lnTo>
                    <a:pt x="643" y="113"/>
                  </a:lnTo>
                  <a:lnTo>
                    <a:pt x="651" y="116"/>
                  </a:lnTo>
                  <a:lnTo>
                    <a:pt x="659" y="119"/>
                  </a:lnTo>
                  <a:lnTo>
                    <a:pt x="674" y="128"/>
                  </a:lnTo>
                  <a:lnTo>
                    <a:pt x="687" y="138"/>
                  </a:lnTo>
                  <a:lnTo>
                    <a:pt x="702" y="148"/>
                  </a:lnTo>
                  <a:lnTo>
                    <a:pt x="716" y="158"/>
                  </a:lnTo>
                  <a:lnTo>
                    <a:pt x="724" y="161"/>
                  </a:lnTo>
                  <a:lnTo>
                    <a:pt x="732" y="164"/>
                  </a:lnTo>
                  <a:lnTo>
                    <a:pt x="741" y="166"/>
                  </a:lnTo>
                  <a:lnTo>
                    <a:pt x="751" y="166"/>
                  </a:lnTo>
                  <a:lnTo>
                    <a:pt x="943" y="111"/>
                  </a:lnTo>
                  <a:lnTo>
                    <a:pt x="1096" y="111"/>
                  </a:lnTo>
                  <a:lnTo>
                    <a:pt x="1103" y="112"/>
                  </a:lnTo>
                  <a:lnTo>
                    <a:pt x="1110" y="113"/>
                  </a:lnTo>
                  <a:lnTo>
                    <a:pt x="1117" y="113"/>
                  </a:lnTo>
                  <a:lnTo>
                    <a:pt x="1123" y="113"/>
                  </a:lnTo>
                  <a:lnTo>
                    <a:pt x="1135" y="110"/>
                  </a:lnTo>
                  <a:lnTo>
                    <a:pt x="1146" y="105"/>
                  </a:lnTo>
                  <a:lnTo>
                    <a:pt x="1157" y="100"/>
                  </a:lnTo>
                  <a:lnTo>
                    <a:pt x="1169" y="93"/>
                  </a:lnTo>
                  <a:lnTo>
                    <a:pt x="1181" y="89"/>
                  </a:lnTo>
                  <a:lnTo>
                    <a:pt x="1196" y="85"/>
                  </a:lnTo>
                  <a:lnTo>
                    <a:pt x="1195" y="90"/>
                  </a:lnTo>
                  <a:lnTo>
                    <a:pt x="1195" y="94"/>
                  </a:lnTo>
                  <a:lnTo>
                    <a:pt x="1195" y="100"/>
                  </a:lnTo>
                  <a:lnTo>
                    <a:pt x="1196" y="104"/>
                  </a:lnTo>
                  <a:lnTo>
                    <a:pt x="1198" y="112"/>
                  </a:lnTo>
                  <a:lnTo>
                    <a:pt x="1202" y="120"/>
                  </a:lnTo>
                  <a:lnTo>
                    <a:pt x="1208" y="126"/>
                  </a:lnTo>
                  <a:lnTo>
                    <a:pt x="1214" y="131"/>
                  </a:lnTo>
                  <a:lnTo>
                    <a:pt x="1218" y="132"/>
                  </a:lnTo>
                  <a:lnTo>
                    <a:pt x="1222" y="134"/>
                  </a:lnTo>
                  <a:lnTo>
                    <a:pt x="1225" y="135"/>
                  </a:lnTo>
                  <a:lnTo>
                    <a:pt x="1230" y="135"/>
                  </a:lnTo>
                  <a:lnTo>
                    <a:pt x="1238" y="134"/>
                  </a:lnTo>
                  <a:lnTo>
                    <a:pt x="1247" y="133"/>
                  </a:lnTo>
                  <a:lnTo>
                    <a:pt x="1255" y="131"/>
                  </a:lnTo>
                  <a:lnTo>
                    <a:pt x="1263" y="128"/>
                  </a:lnTo>
                  <a:lnTo>
                    <a:pt x="1278" y="122"/>
                  </a:lnTo>
                  <a:lnTo>
                    <a:pt x="1296" y="117"/>
                  </a:lnTo>
                  <a:lnTo>
                    <a:pt x="1298" y="119"/>
                  </a:lnTo>
                  <a:lnTo>
                    <a:pt x="1300" y="120"/>
                  </a:lnTo>
                  <a:lnTo>
                    <a:pt x="1303" y="122"/>
                  </a:lnTo>
                  <a:lnTo>
                    <a:pt x="1308" y="123"/>
                  </a:lnTo>
                  <a:lnTo>
                    <a:pt x="1319" y="124"/>
                  </a:lnTo>
                  <a:lnTo>
                    <a:pt x="1331" y="124"/>
                  </a:lnTo>
                  <a:lnTo>
                    <a:pt x="1343" y="123"/>
                  </a:lnTo>
                  <a:lnTo>
                    <a:pt x="1355" y="121"/>
                  </a:lnTo>
                  <a:lnTo>
                    <a:pt x="1367" y="119"/>
                  </a:lnTo>
                  <a:lnTo>
                    <a:pt x="1376" y="117"/>
                  </a:lnTo>
                  <a:lnTo>
                    <a:pt x="1386" y="116"/>
                  </a:lnTo>
                  <a:lnTo>
                    <a:pt x="1397" y="114"/>
                  </a:lnTo>
                  <a:lnTo>
                    <a:pt x="1405" y="112"/>
                  </a:lnTo>
                  <a:lnTo>
                    <a:pt x="1409" y="111"/>
                  </a:lnTo>
                  <a:lnTo>
                    <a:pt x="1424" y="112"/>
                  </a:lnTo>
                  <a:lnTo>
                    <a:pt x="1450" y="117"/>
                  </a:lnTo>
                  <a:lnTo>
                    <a:pt x="1483" y="123"/>
                  </a:lnTo>
                  <a:lnTo>
                    <a:pt x="1520" y="131"/>
                  </a:lnTo>
                  <a:lnTo>
                    <a:pt x="1557" y="140"/>
                  </a:lnTo>
                  <a:lnTo>
                    <a:pt x="1592" y="149"/>
                  </a:lnTo>
                  <a:lnTo>
                    <a:pt x="1621" y="159"/>
                  </a:lnTo>
                  <a:lnTo>
                    <a:pt x="1641" y="166"/>
                  </a:lnTo>
                  <a:lnTo>
                    <a:pt x="1632" y="174"/>
                  </a:lnTo>
                  <a:lnTo>
                    <a:pt x="1623" y="179"/>
                  </a:lnTo>
                  <a:lnTo>
                    <a:pt x="1615" y="183"/>
                  </a:lnTo>
                  <a:lnTo>
                    <a:pt x="1607" y="187"/>
                  </a:lnTo>
                  <a:lnTo>
                    <a:pt x="1601" y="189"/>
                  </a:lnTo>
                  <a:lnTo>
                    <a:pt x="1592" y="193"/>
                  </a:lnTo>
                  <a:lnTo>
                    <a:pt x="1584" y="197"/>
                  </a:lnTo>
                  <a:lnTo>
                    <a:pt x="1574" y="202"/>
                  </a:lnTo>
                  <a:lnTo>
                    <a:pt x="1591" y="209"/>
                  </a:lnTo>
                  <a:lnTo>
                    <a:pt x="1606" y="215"/>
                  </a:lnTo>
                  <a:lnTo>
                    <a:pt x="1621" y="219"/>
                  </a:lnTo>
                  <a:lnTo>
                    <a:pt x="1635" y="222"/>
                  </a:lnTo>
                  <a:lnTo>
                    <a:pt x="1648" y="225"/>
                  </a:lnTo>
                  <a:lnTo>
                    <a:pt x="1662" y="226"/>
                  </a:lnTo>
                  <a:lnTo>
                    <a:pt x="1678" y="227"/>
                  </a:lnTo>
                  <a:lnTo>
                    <a:pt x="1694" y="228"/>
                  </a:lnTo>
                  <a:lnTo>
                    <a:pt x="1711" y="227"/>
                  </a:lnTo>
                  <a:lnTo>
                    <a:pt x="1725" y="224"/>
                  </a:lnTo>
                  <a:lnTo>
                    <a:pt x="1737" y="220"/>
                  </a:lnTo>
                  <a:lnTo>
                    <a:pt x="1749" y="216"/>
                  </a:lnTo>
                  <a:lnTo>
                    <a:pt x="1760" y="211"/>
                  </a:lnTo>
                  <a:lnTo>
                    <a:pt x="1771" y="206"/>
                  </a:lnTo>
                  <a:lnTo>
                    <a:pt x="1782" y="203"/>
                  </a:lnTo>
                  <a:lnTo>
                    <a:pt x="1794" y="202"/>
                  </a:lnTo>
                  <a:lnTo>
                    <a:pt x="1800" y="203"/>
                  </a:lnTo>
                  <a:lnTo>
                    <a:pt x="1805" y="204"/>
                  </a:lnTo>
                  <a:lnTo>
                    <a:pt x="1811" y="206"/>
                  </a:lnTo>
                  <a:lnTo>
                    <a:pt x="1816" y="209"/>
                  </a:lnTo>
                  <a:lnTo>
                    <a:pt x="1825" y="217"/>
                  </a:lnTo>
                  <a:lnTo>
                    <a:pt x="1833" y="225"/>
                  </a:lnTo>
                  <a:lnTo>
                    <a:pt x="1841" y="232"/>
                  </a:lnTo>
                  <a:lnTo>
                    <a:pt x="1849" y="239"/>
                  </a:lnTo>
                  <a:lnTo>
                    <a:pt x="1853" y="242"/>
                  </a:lnTo>
                  <a:lnTo>
                    <a:pt x="1858" y="244"/>
                  </a:lnTo>
                  <a:lnTo>
                    <a:pt x="1862" y="245"/>
                  </a:lnTo>
                  <a:lnTo>
                    <a:pt x="1867" y="246"/>
                  </a:lnTo>
                  <a:lnTo>
                    <a:pt x="1880" y="202"/>
                  </a:lnTo>
                  <a:lnTo>
                    <a:pt x="2006" y="178"/>
                  </a:lnTo>
                  <a:lnTo>
                    <a:pt x="2016" y="179"/>
                  </a:lnTo>
                  <a:lnTo>
                    <a:pt x="2026" y="180"/>
                  </a:lnTo>
                  <a:lnTo>
                    <a:pt x="2035" y="181"/>
                  </a:lnTo>
                  <a:lnTo>
                    <a:pt x="2043" y="183"/>
                  </a:lnTo>
                  <a:lnTo>
                    <a:pt x="2060" y="188"/>
                  </a:lnTo>
                  <a:lnTo>
                    <a:pt x="2076" y="193"/>
                  </a:lnTo>
                  <a:lnTo>
                    <a:pt x="2093" y="199"/>
                  </a:lnTo>
                  <a:lnTo>
                    <a:pt x="2109" y="204"/>
                  </a:lnTo>
                  <a:lnTo>
                    <a:pt x="2118" y="206"/>
                  </a:lnTo>
                  <a:lnTo>
                    <a:pt x="2127" y="207"/>
                  </a:lnTo>
                  <a:lnTo>
                    <a:pt x="2137" y="208"/>
                  </a:lnTo>
                  <a:lnTo>
                    <a:pt x="2147" y="208"/>
                  </a:lnTo>
                  <a:lnTo>
                    <a:pt x="2162" y="208"/>
                  </a:lnTo>
                  <a:lnTo>
                    <a:pt x="2173" y="207"/>
                  </a:lnTo>
                  <a:lnTo>
                    <a:pt x="2183" y="205"/>
                  </a:lnTo>
                  <a:lnTo>
                    <a:pt x="2190" y="202"/>
                  </a:lnTo>
                  <a:lnTo>
                    <a:pt x="2198" y="200"/>
                  </a:lnTo>
                  <a:lnTo>
                    <a:pt x="2206" y="198"/>
                  </a:lnTo>
                  <a:lnTo>
                    <a:pt x="2215" y="197"/>
                  </a:lnTo>
                  <a:lnTo>
                    <a:pt x="2226" y="196"/>
                  </a:lnTo>
                  <a:lnTo>
                    <a:pt x="2235" y="197"/>
                  </a:lnTo>
                  <a:lnTo>
                    <a:pt x="2244" y="199"/>
                  </a:lnTo>
                  <a:lnTo>
                    <a:pt x="2253" y="202"/>
                  </a:lnTo>
                  <a:lnTo>
                    <a:pt x="2261" y="205"/>
                  </a:lnTo>
                  <a:lnTo>
                    <a:pt x="2267" y="209"/>
                  </a:lnTo>
                  <a:lnTo>
                    <a:pt x="2274" y="213"/>
                  </a:lnTo>
                  <a:lnTo>
                    <a:pt x="2280" y="215"/>
                  </a:lnTo>
                  <a:lnTo>
                    <a:pt x="2286" y="216"/>
                  </a:lnTo>
                  <a:lnTo>
                    <a:pt x="2290" y="215"/>
                  </a:lnTo>
                  <a:lnTo>
                    <a:pt x="2296" y="213"/>
                  </a:lnTo>
                  <a:lnTo>
                    <a:pt x="2300" y="211"/>
                  </a:lnTo>
                  <a:lnTo>
                    <a:pt x="2305" y="206"/>
                  </a:lnTo>
                  <a:lnTo>
                    <a:pt x="2309" y="202"/>
                  </a:lnTo>
                  <a:lnTo>
                    <a:pt x="2312" y="197"/>
                  </a:lnTo>
                  <a:lnTo>
                    <a:pt x="2316" y="191"/>
                  </a:lnTo>
                  <a:lnTo>
                    <a:pt x="2319" y="184"/>
                  </a:lnTo>
                  <a:lnTo>
                    <a:pt x="2326" y="183"/>
                  </a:lnTo>
                  <a:lnTo>
                    <a:pt x="2334" y="180"/>
                  </a:lnTo>
                  <a:lnTo>
                    <a:pt x="2339" y="179"/>
                  </a:lnTo>
                  <a:lnTo>
                    <a:pt x="2342" y="177"/>
                  </a:lnTo>
                  <a:lnTo>
                    <a:pt x="2344" y="174"/>
                  </a:lnTo>
                  <a:lnTo>
                    <a:pt x="2345" y="172"/>
                  </a:lnTo>
                  <a:lnTo>
                    <a:pt x="2378" y="172"/>
                  </a:lnTo>
                  <a:lnTo>
                    <a:pt x="2376" y="178"/>
                  </a:lnTo>
                  <a:lnTo>
                    <a:pt x="2372" y="185"/>
                  </a:lnTo>
                  <a:lnTo>
                    <a:pt x="2369" y="189"/>
                  </a:lnTo>
                  <a:lnTo>
                    <a:pt x="2367" y="193"/>
                  </a:lnTo>
                  <a:lnTo>
                    <a:pt x="2366" y="198"/>
                  </a:lnTo>
                  <a:lnTo>
                    <a:pt x="2365" y="202"/>
                  </a:lnTo>
                  <a:lnTo>
                    <a:pt x="2365" y="216"/>
                  </a:lnTo>
                  <a:lnTo>
                    <a:pt x="2365" y="228"/>
                  </a:lnTo>
                  <a:lnTo>
                    <a:pt x="2405" y="228"/>
                  </a:lnTo>
                  <a:lnTo>
                    <a:pt x="2401" y="213"/>
                  </a:lnTo>
                  <a:lnTo>
                    <a:pt x="2400" y="203"/>
                  </a:lnTo>
                  <a:lnTo>
                    <a:pt x="2401" y="195"/>
                  </a:lnTo>
                  <a:lnTo>
                    <a:pt x="2405" y="184"/>
                  </a:lnTo>
                  <a:lnTo>
                    <a:pt x="2430" y="184"/>
                  </a:lnTo>
                  <a:lnTo>
                    <a:pt x="2454" y="182"/>
                  </a:lnTo>
                  <a:lnTo>
                    <a:pt x="2465" y="180"/>
                  </a:lnTo>
                  <a:lnTo>
                    <a:pt x="2476" y="178"/>
                  </a:lnTo>
                  <a:lnTo>
                    <a:pt x="2487" y="175"/>
                  </a:lnTo>
                  <a:lnTo>
                    <a:pt x="2497" y="172"/>
                  </a:lnTo>
                  <a:lnTo>
                    <a:pt x="2506" y="168"/>
                  </a:lnTo>
                  <a:lnTo>
                    <a:pt x="2513" y="164"/>
                  </a:lnTo>
                  <a:lnTo>
                    <a:pt x="2521" y="159"/>
                  </a:lnTo>
                  <a:lnTo>
                    <a:pt x="2526" y="153"/>
                  </a:lnTo>
                  <a:lnTo>
                    <a:pt x="2532" y="146"/>
                  </a:lnTo>
                  <a:lnTo>
                    <a:pt x="2535" y="139"/>
                  </a:lnTo>
                  <a:lnTo>
                    <a:pt x="2537" y="131"/>
                  </a:lnTo>
                  <a:lnTo>
                    <a:pt x="2539" y="123"/>
                  </a:lnTo>
                  <a:lnTo>
                    <a:pt x="2532" y="123"/>
                  </a:lnTo>
                  <a:lnTo>
                    <a:pt x="2518" y="123"/>
                  </a:lnTo>
                  <a:lnTo>
                    <a:pt x="2501" y="123"/>
                  </a:lnTo>
                  <a:lnTo>
                    <a:pt x="2491" y="123"/>
                  </a:lnTo>
                  <a:lnTo>
                    <a:pt x="2487" y="120"/>
                  </a:lnTo>
                  <a:lnTo>
                    <a:pt x="2483" y="115"/>
                  </a:lnTo>
                  <a:lnTo>
                    <a:pt x="2479" y="110"/>
                  </a:lnTo>
                  <a:lnTo>
                    <a:pt x="2477" y="105"/>
                  </a:lnTo>
                  <a:lnTo>
                    <a:pt x="2473" y="93"/>
                  </a:lnTo>
                  <a:lnTo>
                    <a:pt x="2472" y="85"/>
                  </a:lnTo>
                  <a:lnTo>
                    <a:pt x="2473" y="81"/>
                  </a:lnTo>
                  <a:lnTo>
                    <a:pt x="2476" y="75"/>
                  </a:lnTo>
                  <a:lnTo>
                    <a:pt x="2480" y="69"/>
                  </a:lnTo>
                  <a:lnTo>
                    <a:pt x="2487" y="62"/>
                  </a:lnTo>
                  <a:lnTo>
                    <a:pt x="2495" y="55"/>
                  </a:lnTo>
                  <a:lnTo>
                    <a:pt x="2503" y="48"/>
                  </a:lnTo>
                  <a:lnTo>
                    <a:pt x="2512" y="40"/>
                  </a:lnTo>
                  <a:lnTo>
                    <a:pt x="2523" y="33"/>
                  </a:lnTo>
                  <a:lnTo>
                    <a:pt x="2534" y="26"/>
                  </a:lnTo>
                  <a:lnTo>
                    <a:pt x="2545" y="20"/>
                  </a:lnTo>
                  <a:lnTo>
                    <a:pt x="2556" y="15"/>
                  </a:lnTo>
                  <a:lnTo>
                    <a:pt x="2567" y="10"/>
                  </a:lnTo>
                  <a:lnTo>
                    <a:pt x="2577" y="6"/>
                  </a:lnTo>
                  <a:lnTo>
                    <a:pt x="2587" y="2"/>
                  </a:lnTo>
                  <a:lnTo>
                    <a:pt x="2597" y="0"/>
                  </a:lnTo>
                  <a:lnTo>
                    <a:pt x="2604" y="0"/>
                  </a:lnTo>
                  <a:lnTo>
                    <a:pt x="2611" y="0"/>
                  </a:lnTo>
                  <a:lnTo>
                    <a:pt x="2621" y="0"/>
                  </a:lnTo>
                  <a:lnTo>
                    <a:pt x="2631" y="0"/>
                  </a:lnTo>
                  <a:lnTo>
                    <a:pt x="2637" y="0"/>
                  </a:lnTo>
                  <a:lnTo>
                    <a:pt x="2638" y="8"/>
                  </a:lnTo>
                  <a:lnTo>
                    <a:pt x="2638" y="16"/>
                  </a:lnTo>
                  <a:lnTo>
                    <a:pt x="2640" y="24"/>
                  </a:lnTo>
                  <a:lnTo>
                    <a:pt x="2642" y="30"/>
                  </a:lnTo>
                  <a:lnTo>
                    <a:pt x="2646" y="42"/>
                  </a:lnTo>
                  <a:lnTo>
                    <a:pt x="2651" y="53"/>
                  </a:lnTo>
                  <a:lnTo>
                    <a:pt x="2656" y="62"/>
                  </a:lnTo>
                  <a:lnTo>
                    <a:pt x="2660" y="71"/>
                  </a:lnTo>
                  <a:lnTo>
                    <a:pt x="2663" y="81"/>
                  </a:lnTo>
                  <a:lnTo>
                    <a:pt x="2664" y="91"/>
                  </a:lnTo>
                  <a:lnTo>
                    <a:pt x="2664" y="95"/>
                  </a:lnTo>
                  <a:lnTo>
                    <a:pt x="2663" y="97"/>
                  </a:lnTo>
                  <a:lnTo>
                    <a:pt x="2660" y="100"/>
                  </a:lnTo>
                  <a:lnTo>
                    <a:pt x="2658" y="101"/>
                  </a:lnTo>
                  <a:lnTo>
                    <a:pt x="2652" y="103"/>
                  </a:lnTo>
                  <a:lnTo>
                    <a:pt x="2644" y="105"/>
                  </a:lnTo>
                  <a:lnTo>
                    <a:pt x="2635" y="106"/>
                  </a:lnTo>
                  <a:lnTo>
                    <a:pt x="2627" y="108"/>
                  </a:lnTo>
                  <a:lnTo>
                    <a:pt x="2624" y="109"/>
                  </a:lnTo>
                  <a:lnTo>
                    <a:pt x="2622" y="111"/>
                  </a:lnTo>
                  <a:lnTo>
                    <a:pt x="2620" y="114"/>
                  </a:lnTo>
                  <a:lnTo>
                    <a:pt x="2618" y="117"/>
                  </a:lnTo>
                  <a:lnTo>
                    <a:pt x="2627" y="118"/>
                  </a:lnTo>
                  <a:lnTo>
                    <a:pt x="2637" y="120"/>
                  </a:lnTo>
                  <a:lnTo>
                    <a:pt x="2647" y="122"/>
                  </a:lnTo>
                  <a:lnTo>
                    <a:pt x="2657" y="123"/>
                  </a:lnTo>
                  <a:lnTo>
                    <a:pt x="2653" y="127"/>
                  </a:lnTo>
                  <a:lnTo>
                    <a:pt x="2649" y="132"/>
                  </a:lnTo>
                  <a:lnTo>
                    <a:pt x="2647" y="137"/>
                  </a:lnTo>
                  <a:lnTo>
                    <a:pt x="2646" y="142"/>
                  </a:lnTo>
                  <a:lnTo>
                    <a:pt x="2644" y="153"/>
                  </a:lnTo>
                  <a:lnTo>
                    <a:pt x="2644" y="166"/>
                  </a:lnTo>
                  <a:lnTo>
                    <a:pt x="2645" y="168"/>
                  </a:lnTo>
                  <a:lnTo>
                    <a:pt x="2646" y="169"/>
                  </a:lnTo>
                  <a:lnTo>
                    <a:pt x="2648" y="169"/>
                  </a:lnTo>
                  <a:lnTo>
                    <a:pt x="2652" y="168"/>
                  </a:lnTo>
                  <a:lnTo>
                    <a:pt x="2658" y="167"/>
                  </a:lnTo>
                  <a:lnTo>
                    <a:pt x="2664" y="166"/>
                  </a:lnTo>
                  <a:lnTo>
                    <a:pt x="2664" y="160"/>
                  </a:lnTo>
                  <a:lnTo>
                    <a:pt x="2664" y="153"/>
                  </a:lnTo>
                  <a:lnTo>
                    <a:pt x="2672" y="151"/>
                  </a:lnTo>
                  <a:lnTo>
                    <a:pt x="2680" y="148"/>
                  </a:lnTo>
                  <a:lnTo>
                    <a:pt x="2685" y="145"/>
                  </a:lnTo>
                  <a:lnTo>
                    <a:pt x="2689" y="142"/>
                  </a:lnTo>
                  <a:lnTo>
                    <a:pt x="2692" y="139"/>
                  </a:lnTo>
                  <a:lnTo>
                    <a:pt x="2696" y="137"/>
                  </a:lnTo>
                  <a:lnTo>
                    <a:pt x="2700" y="135"/>
                  </a:lnTo>
                  <a:lnTo>
                    <a:pt x="2704" y="135"/>
                  </a:lnTo>
                  <a:lnTo>
                    <a:pt x="2709" y="137"/>
                  </a:lnTo>
                  <a:lnTo>
                    <a:pt x="2715" y="138"/>
                  </a:lnTo>
                  <a:lnTo>
                    <a:pt x="2724" y="139"/>
                  </a:lnTo>
                  <a:lnTo>
                    <a:pt x="2733" y="140"/>
                  </a:lnTo>
                  <a:lnTo>
                    <a:pt x="2749" y="141"/>
                  </a:lnTo>
                  <a:lnTo>
                    <a:pt x="2757" y="141"/>
                  </a:lnTo>
                  <a:lnTo>
                    <a:pt x="2752" y="153"/>
                  </a:lnTo>
                  <a:lnTo>
                    <a:pt x="2745" y="164"/>
                  </a:lnTo>
                  <a:lnTo>
                    <a:pt x="2738" y="173"/>
                  </a:lnTo>
                  <a:lnTo>
                    <a:pt x="2731" y="180"/>
                  </a:lnTo>
                  <a:lnTo>
                    <a:pt x="2723" y="188"/>
                  </a:lnTo>
                  <a:lnTo>
                    <a:pt x="2716" y="196"/>
                  </a:lnTo>
                  <a:lnTo>
                    <a:pt x="2710" y="204"/>
                  </a:lnTo>
                  <a:lnTo>
                    <a:pt x="2704" y="216"/>
                  </a:lnTo>
                  <a:lnTo>
                    <a:pt x="2712" y="217"/>
                  </a:lnTo>
                  <a:lnTo>
                    <a:pt x="2719" y="218"/>
                  </a:lnTo>
                  <a:lnTo>
                    <a:pt x="2725" y="218"/>
                  </a:lnTo>
                  <a:lnTo>
                    <a:pt x="2732" y="218"/>
                  </a:lnTo>
                  <a:lnTo>
                    <a:pt x="2744" y="216"/>
                  </a:lnTo>
                  <a:lnTo>
                    <a:pt x="2750" y="216"/>
                  </a:lnTo>
                  <a:lnTo>
                    <a:pt x="2780" y="194"/>
                  </a:lnTo>
                  <a:lnTo>
                    <a:pt x="2810" y="172"/>
                  </a:lnTo>
                  <a:lnTo>
                    <a:pt x="2817" y="167"/>
                  </a:lnTo>
                  <a:lnTo>
                    <a:pt x="2825" y="163"/>
                  </a:lnTo>
                  <a:lnTo>
                    <a:pt x="2834" y="159"/>
                  </a:lnTo>
                  <a:lnTo>
                    <a:pt x="2843" y="155"/>
                  </a:lnTo>
                  <a:lnTo>
                    <a:pt x="2853" y="151"/>
                  </a:lnTo>
                  <a:lnTo>
                    <a:pt x="2862" y="149"/>
                  </a:lnTo>
                  <a:lnTo>
                    <a:pt x="2872" y="147"/>
                  </a:lnTo>
                  <a:lnTo>
                    <a:pt x="2883" y="147"/>
                  </a:lnTo>
                  <a:lnTo>
                    <a:pt x="2884" y="139"/>
                  </a:lnTo>
                  <a:lnTo>
                    <a:pt x="2885" y="132"/>
                  </a:lnTo>
                  <a:lnTo>
                    <a:pt x="2888" y="126"/>
                  </a:lnTo>
                  <a:lnTo>
                    <a:pt x="2891" y="121"/>
                  </a:lnTo>
                  <a:lnTo>
                    <a:pt x="2895" y="116"/>
                  </a:lnTo>
                  <a:lnTo>
                    <a:pt x="2900" y="111"/>
                  </a:lnTo>
                  <a:lnTo>
                    <a:pt x="2905" y="107"/>
                  </a:lnTo>
                  <a:lnTo>
                    <a:pt x="2912" y="104"/>
                  </a:lnTo>
                  <a:lnTo>
                    <a:pt x="2918" y="101"/>
                  </a:lnTo>
                  <a:lnTo>
                    <a:pt x="2925" y="98"/>
                  </a:lnTo>
                  <a:lnTo>
                    <a:pt x="2932" y="96"/>
                  </a:lnTo>
                  <a:lnTo>
                    <a:pt x="2939" y="94"/>
                  </a:lnTo>
                  <a:lnTo>
                    <a:pt x="2955" y="92"/>
                  </a:lnTo>
                  <a:lnTo>
                    <a:pt x="2970" y="91"/>
                  </a:lnTo>
                  <a:lnTo>
                    <a:pt x="2978" y="92"/>
                  </a:lnTo>
                  <a:lnTo>
                    <a:pt x="2984" y="93"/>
                  </a:lnTo>
                  <a:lnTo>
                    <a:pt x="2993" y="95"/>
                  </a:lnTo>
                  <a:lnTo>
                    <a:pt x="3001" y="98"/>
                  </a:lnTo>
                  <a:lnTo>
                    <a:pt x="3008" y="101"/>
                  </a:lnTo>
                  <a:lnTo>
                    <a:pt x="3017" y="103"/>
                  </a:lnTo>
                  <a:lnTo>
                    <a:pt x="3026" y="104"/>
                  </a:lnTo>
                  <a:lnTo>
                    <a:pt x="3036" y="105"/>
                  </a:lnTo>
                  <a:lnTo>
                    <a:pt x="3036" y="110"/>
                  </a:lnTo>
                  <a:lnTo>
                    <a:pt x="3036" y="117"/>
                  </a:lnTo>
                  <a:lnTo>
                    <a:pt x="3036" y="126"/>
                  </a:lnTo>
                  <a:lnTo>
                    <a:pt x="3036" y="135"/>
                  </a:lnTo>
                  <a:lnTo>
                    <a:pt x="3036" y="139"/>
                  </a:lnTo>
                  <a:lnTo>
                    <a:pt x="3035" y="143"/>
                  </a:lnTo>
                  <a:lnTo>
                    <a:pt x="3033" y="147"/>
                  </a:lnTo>
                  <a:lnTo>
                    <a:pt x="3030" y="150"/>
                  </a:lnTo>
                  <a:lnTo>
                    <a:pt x="3025" y="157"/>
                  </a:lnTo>
                  <a:lnTo>
                    <a:pt x="3018" y="162"/>
                  </a:lnTo>
                  <a:lnTo>
                    <a:pt x="3003" y="170"/>
                  </a:lnTo>
                  <a:lnTo>
                    <a:pt x="2990" y="178"/>
                  </a:lnTo>
                  <a:lnTo>
                    <a:pt x="2982" y="196"/>
                  </a:lnTo>
                  <a:lnTo>
                    <a:pt x="2973" y="214"/>
                  </a:lnTo>
                  <a:lnTo>
                    <a:pt x="2968" y="222"/>
                  </a:lnTo>
                  <a:lnTo>
                    <a:pt x="2963" y="229"/>
                  </a:lnTo>
                  <a:lnTo>
                    <a:pt x="2958" y="236"/>
                  </a:lnTo>
                  <a:lnTo>
                    <a:pt x="2951" y="243"/>
                  </a:lnTo>
                  <a:lnTo>
                    <a:pt x="2945" y="249"/>
                  </a:lnTo>
                  <a:lnTo>
                    <a:pt x="2938" y="254"/>
                  </a:lnTo>
                  <a:lnTo>
                    <a:pt x="2931" y="259"/>
                  </a:lnTo>
                  <a:lnTo>
                    <a:pt x="2923" y="263"/>
                  </a:lnTo>
                  <a:lnTo>
                    <a:pt x="2914" y="267"/>
                  </a:lnTo>
                  <a:lnTo>
                    <a:pt x="2904" y="269"/>
                  </a:lnTo>
                  <a:lnTo>
                    <a:pt x="2894" y="271"/>
                  </a:lnTo>
                  <a:lnTo>
                    <a:pt x="2883" y="271"/>
                  </a:lnTo>
                  <a:lnTo>
                    <a:pt x="2878" y="271"/>
                  </a:lnTo>
                  <a:lnTo>
                    <a:pt x="2872" y="270"/>
                  </a:lnTo>
                  <a:lnTo>
                    <a:pt x="2867" y="268"/>
                  </a:lnTo>
                  <a:lnTo>
                    <a:pt x="2861" y="266"/>
                  </a:lnTo>
                  <a:lnTo>
                    <a:pt x="2856" y="263"/>
                  </a:lnTo>
                  <a:lnTo>
                    <a:pt x="2850" y="260"/>
                  </a:lnTo>
                  <a:lnTo>
                    <a:pt x="2847" y="256"/>
                  </a:lnTo>
                  <a:lnTo>
                    <a:pt x="2844" y="252"/>
                  </a:lnTo>
                  <a:lnTo>
                    <a:pt x="2838" y="257"/>
                  </a:lnTo>
                  <a:lnTo>
                    <a:pt x="2835" y="264"/>
                  </a:lnTo>
                  <a:lnTo>
                    <a:pt x="2834" y="268"/>
                  </a:lnTo>
                  <a:lnTo>
                    <a:pt x="2834" y="272"/>
                  </a:lnTo>
                  <a:lnTo>
                    <a:pt x="2835" y="275"/>
                  </a:lnTo>
                  <a:lnTo>
                    <a:pt x="2837" y="277"/>
                  </a:lnTo>
                  <a:lnTo>
                    <a:pt x="2829" y="278"/>
                  </a:lnTo>
                  <a:lnTo>
                    <a:pt x="2823" y="279"/>
                  </a:lnTo>
                  <a:lnTo>
                    <a:pt x="2817" y="281"/>
                  </a:lnTo>
                  <a:lnTo>
                    <a:pt x="2811" y="283"/>
                  </a:lnTo>
                  <a:lnTo>
                    <a:pt x="2805" y="285"/>
                  </a:lnTo>
                  <a:lnTo>
                    <a:pt x="2801" y="287"/>
                  </a:lnTo>
                  <a:lnTo>
                    <a:pt x="2795" y="289"/>
                  </a:lnTo>
                  <a:lnTo>
                    <a:pt x="2790" y="289"/>
                  </a:lnTo>
                  <a:lnTo>
                    <a:pt x="2783" y="288"/>
                  </a:lnTo>
                  <a:lnTo>
                    <a:pt x="2777" y="286"/>
                  </a:lnTo>
                  <a:lnTo>
                    <a:pt x="2770" y="283"/>
                  </a:lnTo>
                  <a:lnTo>
                    <a:pt x="2765" y="279"/>
                  </a:lnTo>
                  <a:lnTo>
                    <a:pt x="2754" y="271"/>
                  </a:lnTo>
                  <a:lnTo>
                    <a:pt x="2744" y="264"/>
                  </a:lnTo>
                  <a:lnTo>
                    <a:pt x="2730" y="272"/>
                  </a:lnTo>
                  <a:lnTo>
                    <a:pt x="2717" y="281"/>
                  </a:lnTo>
                  <a:lnTo>
                    <a:pt x="2707" y="290"/>
                  </a:lnTo>
                  <a:lnTo>
                    <a:pt x="2696" y="299"/>
                  </a:lnTo>
                  <a:lnTo>
                    <a:pt x="2685" y="307"/>
                  </a:lnTo>
                  <a:lnTo>
                    <a:pt x="2671" y="313"/>
                  </a:lnTo>
                  <a:lnTo>
                    <a:pt x="2664" y="316"/>
                  </a:lnTo>
                  <a:lnTo>
                    <a:pt x="2656" y="318"/>
                  </a:lnTo>
                  <a:lnTo>
                    <a:pt x="2647" y="319"/>
                  </a:lnTo>
                  <a:lnTo>
                    <a:pt x="2637" y="319"/>
                  </a:lnTo>
                  <a:lnTo>
                    <a:pt x="2626" y="319"/>
                  </a:lnTo>
                  <a:lnTo>
                    <a:pt x="2615" y="317"/>
                  </a:lnTo>
                  <a:lnTo>
                    <a:pt x="2602" y="315"/>
                  </a:lnTo>
                  <a:lnTo>
                    <a:pt x="2590" y="312"/>
                  </a:lnTo>
                  <a:lnTo>
                    <a:pt x="2579" y="308"/>
                  </a:lnTo>
                  <a:lnTo>
                    <a:pt x="2569" y="304"/>
                  </a:lnTo>
                  <a:lnTo>
                    <a:pt x="2562" y="300"/>
                  </a:lnTo>
                  <a:lnTo>
                    <a:pt x="2558" y="295"/>
                  </a:lnTo>
                  <a:lnTo>
                    <a:pt x="2518" y="295"/>
                  </a:lnTo>
                  <a:lnTo>
                    <a:pt x="2521" y="303"/>
                  </a:lnTo>
                  <a:lnTo>
                    <a:pt x="2525" y="309"/>
                  </a:lnTo>
                  <a:lnTo>
                    <a:pt x="2530" y="314"/>
                  </a:lnTo>
                  <a:lnTo>
                    <a:pt x="2536" y="318"/>
                  </a:lnTo>
                  <a:lnTo>
                    <a:pt x="2542" y="322"/>
                  </a:lnTo>
                  <a:lnTo>
                    <a:pt x="2550" y="324"/>
                  </a:lnTo>
                  <a:lnTo>
                    <a:pt x="2557" y="326"/>
                  </a:lnTo>
                  <a:lnTo>
                    <a:pt x="2565" y="327"/>
                  </a:lnTo>
                  <a:lnTo>
                    <a:pt x="2601" y="328"/>
                  </a:lnTo>
                  <a:lnTo>
                    <a:pt x="2637" y="326"/>
                  </a:lnTo>
                  <a:lnTo>
                    <a:pt x="2637" y="335"/>
                  </a:lnTo>
                  <a:lnTo>
                    <a:pt x="2638" y="342"/>
                  </a:lnTo>
                  <a:lnTo>
                    <a:pt x="2641" y="349"/>
                  </a:lnTo>
                  <a:lnTo>
                    <a:pt x="2644" y="357"/>
                  </a:lnTo>
                  <a:lnTo>
                    <a:pt x="2619" y="363"/>
                  </a:lnTo>
                  <a:lnTo>
                    <a:pt x="2590" y="371"/>
                  </a:lnTo>
                  <a:lnTo>
                    <a:pt x="2562" y="382"/>
                  </a:lnTo>
                  <a:lnTo>
                    <a:pt x="2531" y="392"/>
                  </a:lnTo>
                  <a:lnTo>
                    <a:pt x="2501" y="402"/>
                  </a:lnTo>
                  <a:lnTo>
                    <a:pt x="2473" y="410"/>
                  </a:lnTo>
                  <a:lnTo>
                    <a:pt x="2458" y="414"/>
                  </a:lnTo>
                  <a:lnTo>
                    <a:pt x="2444" y="416"/>
                  </a:lnTo>
                  <a:lnTo>
                    <a:pt x="2431" y="418"/>
                  </a:lnTo>
                  <a:lnTo>
                    <a:pt x="2419" y="418"/>
                  </a:lnTo>
                  <a:lnTo>
                    <a:pt x="2339" y="400"/>
                  </a:lnTo>
                  <a:lnTo>
                    <a:pt x="2319" y="400"/>
                  </a:lnTo>
                  <a:lnTo>
                    <a:pt x="2340" y="408"/>
                  </a:lnTo>
                  <a:lnTo>
                    <a:pt x="2361" y="416"/>
                  </a:lnTo>
                  <a:lnTo>
                    <a:pt x="2372" y="420"/>
                  </a:lnTo>
                  <a:lnTo>
                    <a:pt x="2382" y="425"/>
                  </a:lnTo>
                  <a:lnTo>
                    <a:pt x="2390" y="430"/>
                  </a:lnTo>
                  <a:lnTo>
                    <a:pt x="2398" y="437"/>
                  </a:lnTo>
                  <a:lnTo>
                    <a:pt x="2394" y="444"/>
                  </a:lnTo>
                  <a:lnTo>
                    <a:pt x="2388" y="449"/>
                  </a:lnTo>
                  <a:lnTo>
                    <a:pt x="2384" y="454"/>
                  </a:lnTo>
                  <a:lnTo>
                    <a:pt x="2378" y="457"/>
                  </a:lnTo>
                  <a:lnTo>
                    <a:pt x="2373" y="461"/>
                  </a:lnTo>
                  <a:lnTo>
                    <a:pt x="2368" y="463"/>
                  </a:lnTo>
                  <a:lnTo>
                    <a:pt x="2363" y="465"/>
                  </a:lnTo>
                  <a:lnTo>
                    <a:pt x="2357" y="467"/>
                  </a:lnTo>
                  <a:lnTo>
                    <a:pt x="2333" y="471"/>
                  </a:lnTo>
                  <a:lnTo>
                    <a:pt x="2306" y="474"/>
                  </a:lnTo>
                  <a:lnTo>
                    <a:pt x="2296" y="477"/>
                  </a:lnTo>
                  <a:lnTo>
                    <a:pt x="2286" y="481"/>
                  </a:lnTo>
                  <a:lnTo>
                    <a:pt x="2277" y="486"/>
                  </a:lnTo>
                  <a:lnTo>
                    <a:pt x="2268" y="492"/>
                  </a:lnTo>
                  <a:lnTo>
                    <a:pt x="2260" y="497"/>
                  </a:lnTo>
                  <a:lnTo>
                    <a:pt x="2251" y="501"/>
                  </a:lnTo>
                  <a:lnTo>
                    <a:pt x="2242" y="504"/>
                  </a:lnTo>
                  <a:lnTo>
                    <a:pt x="2232" y="505"/>
                  </a:lnTo>
                  <a:lnTo>
                    <a:pt x="2232" y="517"/>
                  </a:lnTo>
                  <a:lnTo>
                    <a:pt x="2232" y="529"/>
                  </a:lnTo>
                  <a:lnTo>
                    <a:pt x="2220" y="532"/>
                  </a:lnTo>
                  <a:lnTo>
                    <a:pt x="2208" y="537"/>
                  </a:lnTo>
                  <a:lnTo>
                    <a:pt x="2194" y="542"/>
                  </a:lnTo>
                  <a:lnTo>
                    <a:pt x="2181" y="550"/>
                  </a:lnTo>
                  <a:lnTo>
                    <a:pt x="2166" y="559"/>
                  </a:lnTo>
                  <a:lnTo>
                    <a:pt x="2151" y="568"/>
                  </a:lnTo>
                  <a:lnTo>
                    <a:pt x="2138" y="578"/>
                  </a:lnTo>
                  <a:lnTo>
                    <a:pt x="2123" y="588"/>
                  </a:lnTo>
                  <a:lnTo>
                    <a:pt x="2110" y="601"/>
                  </a:lnTo>
                  <a:lnTo>
                    <a:pt x="2098" y="613"/>
                  </a:lnTo>
                  <a:lnTo>
                    <a:pt x="2087" y="625"/>
                  </a:lnTo>
                  <a:lnTo>
                    <a:pt x="2078" y="637"/>
                  </a:lnTo>
                  <a:lnTo>
                    <a:pt x="2071" y="650"/>
                  </a:lnTo>
                  <a:lnTo>
                    <a:pt x="2064" y="664"/>
                  </a:lnTo>
                  <a:lnTo>
                    <a:pt x="2062" y="670"/>
                  </a:lnTo>
                  <a:lnTo>
                    <a:pt x="2061" y="677"/>
                  </a:lnTo>
                  <a:lnTo>
                    <a:pt x="2060" y="683"/>
                  </a:lnTo>
                  <a:lnTo>
                    <a:pt x="2060" y="689"/>
                  </a:lnTo>
                  <a:lnTo>
                    <a:pt x="2106" y="689"/>
                  </a:lnTo>
                  <a:lnTo>
                    <a:pt x="2104" y="714"/>
                  </a:lnTo>
                  <a:lnTo>
                    <a:pt x="2102" y="736"/>
                  </a:lnTo>
                  <a:lnTo>
                    <a:pt x="2100" y="745"/>
                  </a:lnTo>
                  <a:lnTo>
                    <a:pt x="2100" y="753"/>
                  </a:lnTo>
                  <a:lnTo>
                    <a:pt x="2102" y="757"/>
                  </a:lnTo>
                  <a:lnTo>
                    <a:pt x="2103" y="759"/>
                  </a:lnTo>
                  <a:lnTo>
                    <a:pt x="2104" y="762"/>
                  </a:lnTo>
                  <a:lnTo>
                    <a:pt x="2106" y="763"/>
                  </a:lnTo>
                  <a:lnTo>
                    <a:pt x="2086" y="776"/>
                  </a:lnTo>
                  <a:lnTo>
                    <a:pt x="2087" y="780"/>
                  </a:lnTo>
                  <a:lnTo>
                    <a:pt x="2089" y="784"/>
                  </a:lnTo>
                  <a:lnTo>
                    <a:pt x="2093" y="787"/>
                  </a:lnTo>
                  <a:lnTo>
                    <a:pt x="2097" y="790"/>
                  </a:lnTo>
                  <a:lnTo>
                    <a:pt x="2106" y="793"/>
                  </a:lnTo>
                  <a:lnTo>
                    <a:pt x="2112" y="794"/>
                  </a:lnTo>
                  <a:lnTo>
                    <a:pt x="2193" y="776"/>
                  </a:lnTo>
                  <a:lnTo>
                    <a:pt x="2204" y="782"/>
                  </a:lnTo>
                  <a:lnTo>
                    <a:pt x="2214" y="789"/>
                  </a:lnTo>
                  <a:lnTo>
                    <a:pt x="2223" y="796"/>
                  </a:lnTo>
                  <a:lnTo>
                    <a:pt x="2232" y="803"/>
                  </a:lnTo>
                  <a:lnTo>
                    <a:pt x="2250" y="819"/>
                  </a:lnTo>
                  <a:lnTo>
                    <a:pt x="2266" y="836"/>
                  </a:lnTo>
                  <a:lnTo>
                    <a:pt x="2284" y="852"/>
                  </a:lnTo>
                  <a:lnTo>
                    <a:pt x="2301" y="866"/>
                  </a:lnTo>
                  <a:lnTo>
                    <a:pt x="2311" y="872"/>
                  </a:lnTo>
                  <a:lnTo>
                    <a:pt x="2322" y="878"/>
                  </a:lnTo>
                  <a:lnTo>
                    <a:pt x="2333" y="883"/>
                  </a:lnTo>
                  <a:lnTo>
                    <a:pt x="2345" y="887"/>
                  </a:lnTo>
                  <a:lnTo>
                    <a:pt x="2345" y="891"/>
                  </a:lnTo>
                  <a:lnTo>
                    <a:pt x="2346" y="895"/>
                  </a:lnTo>
                  <a:lnTo>
                    <a:pt x="2347" y="898"/>
                  </a:lnTo>
                  <a:lnTo>
                    <a:pt x="2350" y="901"/>
                  </a:lnTo>
                  <a:lnTo>
                    <a:pt x="2352" y="903"/>
                  </a:lnTo>
                  <a:lnTo>
                    <a:pt x="2354" y="905"/>
                  </a:lnTo>
                  <a:lnTo>
                    <a:pt x="2356" y="906"/>
                  </a:lnTo>
                  <a:lnTo>
                    <a:pt x="2360" y="907"/>
                  </a:lnTo>
                  <a:lnTo>
                    <a:pt x="2367" y="909"/>
                  </a:lnTo>
                  <a:lnTo>
                    <a:pt x="2375" y="908"/>
                  </a:lnTo>
                  <a:lnTo>
                    <a:pt x="2383" y="907"/>
                  </a:lnTo>
                  <a:lnTo>
                    <a:pt x="2391" y="905"/>
                  </a:lnTo>
                  <a:lnTo>
                    <a:pt x="2409" y="900"/>
                  </a:lnTo>
                  <a:lnTo>
                    <a:pt x="2423" y="894"/>
                  </a:lnTo>
                  <a:lnTo>
                    <a:pt x="2434" y="889"/>
                  </a:lnTo>
                  <a:lnTo>
                    <a:pt x="2439" y="887"/>
                  </a:lnTo>
                  <a:lnTo>
                    <a:pt x="2485" y="905"/>
                  </a:lnTo>
                  <a:lnTo>
                    <a:pt x="2479" y="917"/>
                  </a:lnTo>
                  <a:lnTo>
                    <a:pt x="2474" y="925"/>
                  </a:lnTo>
                  <a:lnTo>
                    <a:pt x="2467" y="931"/>
                  </a:lnTo>
                  <a:lnTo>
                    <a:pt x="2458" y="936"/>
                  </a:lnTo>
                  <a:lnTo>
                    <a:pt x="2472" y="949"/>
                  </a:lnTo>
                  <a:lnTo>
                    <a:pt x="2461" y="971"/>
                  </a:lnTo>
                  <a:lnTo>
                    <a:pt x="2450" y="995"/>
                  </a:lnTo>
                  <a:lnTo>
                    <a:pt x="2445" y="1006"/>
                  </a:lnTo>
                  <a:lnTo>
                    <a:pt x="2442" y="1018"/>
                  </a:lnTo>
                  <a:lnTo>
                    <a:pt x="2440" y="1029"/>
                  </a:lnTo>
                  <a:lnTo>
                    <a:pt x="2439" y="1040"/>
                  </a:lnTo>
                  <a:lnTo>
                    <a:pt x="2440" y="1049"/>
                  </a:lnTo>
                  <a:lnTo>
                    <a:pt x="2443" y="1059"/>
                  </a:lnTo>
                  <a:lnTo>
                    <a:pt x="2447" y="1070"/>
                  </a:lnTo>
                  <a:lnTo>
                    <a:pt x="2454" y="1081"/>
                  </a:lnTo>
                  <a:lnTo>
                    <a:pt x="2462" y="1092"/>
                  </a:lnTo>
                  <a:lnTo>
                    <a:pt x="2469" y="1101"/>
                  </a:lnTo>
                  <a:lnTo>
                    <a:pt x="2473" y="1104"/>
                  </a:lnTo>
                  <a:lnTo>
                    <a:pt x="2477" y="1107"/>
                  </a:lnTo>
                  <a:lnTo>
                    <a:pt x="2481" y="1108"/>
                  </a:lnTo>
                  <a:lnTo>
                    <a:pt x="2485" y="1109"/>
                  </a:lnTo>
                  <a:lnTo>
                    <a:pt x="2487" y="1114"/>
                  </a:lnTo>
                  <a:lnTo>
                    <a:pt x="2492" y="1121"/>
                  </a:lnTo>
                  <a:lnTo>
                    <a:pt x="2499" y="1128"/>
                  </a:lnTo>
                  <a:lnTo>
                    <a:pt x="2504" y="1133"/>
                  </a:lnTo>
                  <a:lnTo>
                    <a:pt x="2528" y="1113"/>
                  </a:lnTo>
                  <a:lnTo>
                    <a:pt x="2548" y="1091"/>
                  </a:lnTo>
                  <a:lnTo>
                    <a:pt x="2559" y="1080"/>
                  </a:lnTo>
                  <a:lnTo>
                    <a:pt x="2569" y="1068"/>
                  </a:lnTo>
                  <a:lnTo>
                    <a:pt x="2578" y="1057"/>
                  </a:lnTo>
                  <a:lnTo>
                    <a:pt x="2587" y="1043"/>
                  </a:lnTo>
                  <a:lnTo>
                    <a:pt x="2595" y="1031"/>
                  </a:lnTo>
                  <a:lnTo>
                    <a:pt x="2602" y="1017"/>
                  </a:lnTo>
                  <a:lnTo>
                    <a:pt x="2609" y="1003"/>
                  </a:lnTo>
                  <a:lnTo>
                    <a:pt x="2614" y="987"/>
                  </a:lnTo>
                  <a:lnTo>
                    <a:pt x="2619" y="971"/>
                  </a:lnTo>
                  <a:lnTo>
                    <a:pt x="2622" y="955"/>
                  </a:lnTo>
                  <a:lnTo>
                    <a:pt x="2624" y="937"/>
                  </a:lnTo>
                  <a:lnTo>
                    <a:pt x="2624" y="917"/>
                  </a:lnTo>
                  <a:lnTo>
                    <a:pt x="2638" y="917"/>
                  </a:lnTo>
                  <a:lnTo>
                    <a:pt x="2655" y="914"/>
                  </a:lnTo>
                  <a:lnTo>
                    <a:pt x="2672" y="911"/>
                  </a:lnTo>
                  <a:lnTo>
                    <a:pt x="2690" y="906"/>
                  </a:lnTo>
                  <a:lnTo>
                    <a:pt x="2709" y="900"/>
                  </a:lnTo>
                  <a:lnTo>
                    <a:pt x="2727" y="892"/>
                  </a:lnTo>
                  <a:lnTo>
                    <a:pt x="2746" y="884"/>
                  </a:lnTo>
                  <a:lnTo>
                    <a:pt x="2765" y="873"/>
                  </a:lnTo>
                  <a:lnTo>
                    <a:pt x="2782" y="863"/>
                  </a:lnTo>
                  <a:lnTo>
                    <a:pt x="2798" y="852"/>
                  </a:lnTo>
                  <a:lnTo>
                    <a:pt x="2813" y="840"/>
                  </a:lnTo>
                  <a:lnTo>
                    <a:pt x="2825" y="827"/>
                  </a:lnTo>
                  <a:lnTo>
                    <a:pt x="2831" y="819"/>
                  </a:lnTo>
                  <a:lnTo>
                    <a:pt x="2836" y="813"/>
                  </a:lnTo>
                  <a:lnTo>
                    <a:pt x="2839" y="806"/>
                  </a:lnTo>
                  <a:lnTo>
                    <a:pt x="2844" y="799"/>
                  </a:lnTo>
                  <a:lnTo>
                    <a:pt x="2846" y="792"/>
                  </a:lnTo>
                  <a:lnTo>
                    <a:pt x="2848" y="785"/>
                  </a:lnTo>
                  <a:lnTo>
                    <a:pt x="2849" y="777"/>
                  </a:lnTo>
                  <a:lnTo>
                    <a:pt x="2850" y="770"/>
                  </a:lnTo>
                  <a:lnTo>
                    <a:pt x="2849" y="763"/>
                  </a:lnTo>
                  <a:lnTo>
                    <a:pt x="2848" y="757"/>
                  </a:lnTo>
                  <a:lnTo>
                    <a:pt x="2846" y="752"/>
                  </a:lnTo>
                  <a:lnTo>
                    <a:pt x="2843" y="747"/>
                  </a:lnTo>
                  <a:lnTo>
                    <a:pt x="2835" y="738"/>
                  </a:lnTo>
                  <a:lnTo>
                    <a:pt x="2827" y="731"/>
                  </a:lnTo>
                  <a:lnTo>
                    <a:pt x="2819" y="725"/>
                  </a:lnTo>
                  <a:lnTo>
                    <a:pt x="2811" y="718"/>
                  </a:lnTo>
                  <a:lnTo>
                    <a:pt x="2808" y="715"/>
                  </a:lnTo>
                  <a:lnTo>
                    <a:pt x="2805" y="711"/>
                  </a:lnTo>
                  <a:lnTo>
                    <a:pt x="2804" y="706"/>
                  </a:lnTo>
                  <a:lnTo>
                    <a:pt x="2804" y="702"/>
                  </a:lnTo>
                  <a:lnTo>
                    <a:pt x="2804" y="698"/>
                  </a:lnTo>
                  <a:lnTo>
                    <a:pt x="2808" y="694"/>
                  </a:lnTo>
                  <a:lnTo>
                    <a:pt x="2812" y="688"/>
                  </a:lnTo>
                  <a:lnTo>
                    <a:pt x="2819" y="680"/>
                  </a:lnTo>
                  <a:lnTo>
                    <a:pt x="2833" y="664"/>
                  </a:lnTo>
                  <a:lnTo>
                    <a:pt x="2850" y="645"/>
                  </a:lnTo>
                  <a:lnTo>
                    <a:pt x="2882" y="612"/>
                  </a:lnTo>
                  <a:lnTo>
                    <a:pt x="2896" y="597"/>
                  </a:lnTo>
                  <a:lnTo>
                    <a:pt x="2894" y="593"/>
                  </a:lnTo>
                  <a:lnTo>
                    <a:pt x="2892" y="589"/>
                  </a:lnTo>
                  <a:lnTo>
                    <a:pt x="2891" y="585"/>
                  </a:lnTo>
                  <a:lnTo>
                    <a:pt x="2890" y="581"/>
                  </a:lnTo>
                  <a:lnTo>
                    <a:pt x="2890" y="573"/>
                  </a:lnTo>
                  <a:lnTo>
                    <a:pt x="2892" y="566"/>
                  </a:lnTo>
                  <a:lnTo>
                    <a:pt x="2896" y="558"/>
                  </a:lnTo>
                  <a:lnTo>
                    <a:pt x="2902" y="551"/>
                  </a:lnTo>
                  <a:lnTo>
                    <a:pt x="2909" y="544"/>
                  </a:lnTo>
                  <a:lnTo>
                    <a:pt x="2916" y="535"/>
                  </a:lnTo>
                  <a:lnTo>
                    <a:pt x="2934" y="520"/>
                  </a:lnTo>
                  <a:lnTo>
                    <a:pt x="2951" y="505"/>
                  </a:lnTo>
                  <a:lnTo>
                    <a:pt x="2959" y="498"/>
                  </a:lnTo>
                  <a:lnTo>
                    <a:pt x="2966" y="490"/>
                  </a:lnTo>
                  <a:lnTo>
                    <a:pt x="2972" y="482"/>
                  </a:lnTo>
                  <a:lnTo>
                    <a:pt x="2977" y="474"/>
                  </a:lnTo>
                  <a:lnTo>
                    <a:pt x="3149" y="480"/>
                  </a:lnTo>
                  <a:lnTo>
                    <a:pt x="3149" y="485"/>
                  </a:lnTo>
                  <a:lnTo>
                    <a:pt x="3150" y="490"/>
                  </a:lnTo>
                  <a:lnTo>
                    <a:pt x="3151" y="494"/>
                  </a:lnTo>
                  <a:lnTo>
                    <a:pt x="3153" y="497"/>
                  </a:lnTo>
                  <a:lnTo>
                    <a:pt x="3156" y="500"/>
                  </a:lnTo>
                  <a:lnTo>
                    <a:pt x="3159" y="502"/>
                  </a:lnTo>
                  <a:lnTo>
                    <a:pt x="3161" y="503"/>
                  </a:lnTo>
                  <a:lnTo>
                    <a:pt x="3165" y="504"/>
                  </a:lnTo>
                  <a:lnTo>
                    <a:pt x="3180" y="505"/>
                  </a:lnTo>
                  <a:lnTo>
                    <a:pt x="3196" y="505"/>
                  </a:lnTo>
                  <a:lnTo>
                    <a:pt x="3201" y="509"/>
                  </a:lnTo>
                  <a:lnTo>
                    <a:pt x="3204" y="514"/>
                  </a:lnTo>
                  <a:lnTo>
                    <a:pt x="3208" y="521"/>
                  </a:lnTo>
                  <a:lnTo>
                    <a:pt x="3210" y="529"/>
                  </a:lnTo>
                  <a:lnTo>
                    <a:pt x="3215" y="545"/>
                  </a:lnTo>
                  <a:lnTo>
                    <a:pt x="3216" y="554"/>
                  </a:lnTo>
                  <a:lnTo>
                    <a:pt x="3221" y="556"/>
                  </a:lnTo>
                  <a:lnTo>
                    <a:pt x="3229" y="557"/>
                  </a:lnTo>
                  <a:lnTo>
                    <a:pt x="3238" y="557"/>
                  </a:lnTo>
                  <a:lnTo>
                    <a:pt x="3247" y="557"/>
                  </a:lnTo>
                  <a:lnTo>
                    <a:pt x="3268" y="555"/>
                  </a:lnTo>
                  <a:lnTo>
                    <a:pt x="3288" y="554"/>
                  </a:lnTo>
                  <a:lnTo>
                    <a:pt x="3292" y="566"/>
                  </a:lnTo>
                  <a:lnTo>
                    <a:pt x="3295" y="572"/>
                  </a:lnTo>
                  <a:lnTo>
                    <a:pt x="3288" y="579"/>
                  </a:lnTo>
                  <a:lnTo>
                    <a:pt x="3282" y="585"/>
                  </a:lnTo>
                  <a:lnTo>
                    <a:pt x="3276" y="592"/>
                  </a:lnTo>
                  <a:lnTo>
                    <a:pt x="3272" y="601"/>
                  </a:lnTo>
                  <a:lnTo>
                    <a:pt x="3264" y="616"/>
                  </a:lnTo>
                  <a:lnTo>
                    <a:pt x="3257" y="632"/>
                  </a:lnTo>
                  <a:lnTo>
                    <a:pt x="3251" y="646"/>
                  </a:lnTo>
                  <a:lnTo>
                    <a:pt x="3245" y="660"/>
                  </a:lnTo>
                  <a:lnTo>
                    <a:pt x="3241" y="666"/>
                  </a:lnTo>
                  <a:lnTo>
                    <a:pt x="3238" y="671"/>
                  </a:lnTo>
                  <a:lnTo>
                    <a:pt x="3234" y="675"/>
                  </a:lnTo>
                  <a:lnTo>
                    <a:pt x="3229" y="677"/>
                  </a:lnTo>
                  <a:lnTo>
                    <a:pt x="3238" y="677"/>
                  </a:lnTo>
                  <a:lnTo>
                    <a:pt x="3246" y="677"/>
                  </a:lnTo>
                  <a:lnTo>
                    <a:pt x="3253" y="677"/>
                  </a:lnTo>
                  <a:lnTo>
                    <a:pt x="3262" y="677"/>
                  </a:lnTo>
                  <a:lnTo>
                    <a:pt x="3262" y="683"/>
                  </a:lnTo>
                  <a:lnTo>
                    <a:pt x="3261" y="688"/>
                  </a:lnTo>
                  <a:lnTo>
                    <a:pt x="3259" y="693"/>
                  </a:lnTo>
                  <a:lnTo>
                    <a:pt x="3257" y="697"/>
                  </a:lnTo>
                  <a:lnTo>
                    <a:pt x="3251" y="705"/>
                  </a:lnTo>
                  <a:lnTo>
                    <a:pt x="3245" y="714"/>
                  </a:lnTo>
                  <a:lnTo>
                    <a:pt x="3238" y="721"/>
                  </a:lnTo>
                  <a:lnTo>
                    <a:pt x="3231" y="729"/>
                  </a:lnTo>
                  <a:lnTo>
                    <a:pt x="3226" y="736"/>
                  </a:lnTo>
                  <a:lnTo>
                    <a:pt x="3223" y="745"/>
                  </a:lnTo>
                  <a:lnTo>
                    <a:pt x="3229" y="742"/>
                  </a:lnTo>
                  <a:lnTo>
                    <a:pt x="3237" y="738"/>
                  </a:lnTo>
                  <a:lnTo>
                    <a:pt x="3245" y="734"/>
                  </a:lnTo>
                  <a:lnTo>
                    <a:pt x="3251" y="730"/>
                  </a:lnTo>
                  <a:lnTo>
                    <a:pt x="3264" y="721"/>
                  </a:lnTo>
                  <a:lnTo>
                    <a:pt x="3275" y="715"/>
                  </a:lnTo>
                  <a:lnTo>
                    <a:pt x="3280" y="717"/>
                  </a:lnTo>
                  <a:lnTo>
                    <a:pt x="3284" y="718"/>
                  </a:lnTo>
                  <a:lnTo>
                    <a:pt x="3290" y="718"/>
                  </a:lnTo>
                  <a:lnTo>
                    <a:pt x="3295" y="718"/>
                  </a:lnTo>
                  <a:lnTo>
                    <a:pt x="3307" y="715"/>
                  </a:lnTo>
                  <a:lnTo>
                    <a:pt x="3320" y="709"/>
                  </a:lnTo>
                  <a:lnTo>
                    <a:pt x="3336" y="703"/>
                  </a:lnTo>
                  <a:lnTo>
                    <a:pt x="3351" y="695"/>
                  </a:lnTo>
                  <a:lnTo>
                    <a:pt x="3368" y="685"/>
                  </a:lnTo>
                  <a:lnTo>
                    <a:pt x="3384" y="675"/>
                  </a:lnTo>
                  <a:lnTo>
                    <a:pt x="3417" y="653"/>
                  </a:lnTo>
                  <a:lnTo>
                    <a:pt x="3447" y="632"/>
                  </a:lnTo>
                  <a:lnTo>
                    <a:pt x="3471" y="615"/>
                  </a:lnTo>
                  <a:lnTo>
                    <a:pt x="3488" y="604"/>
                  </a:lnTo>
                  <a:lnTo>
                    <a:pt x="3492" y="613"/>
                  </a:lnTo>
                  <a:lnTo>
                    <a:pt x="3495" y="621"/>
                  </a:lnTo>
                  <a:lnTo>
                    <a:pt x="3496" y="629"/>
                  </a:lnTo>
                  <a:lnTo>
                    <a:pt x="3496" y="637"/>
                  </a:lnTo>
                  <a:lnTo>
                    <a:pt x="3496" y="653"/>
                  </a:lnTo>
                  <a:lnTo>
                    <a:pt x="3495" y="671"/>
                  </a:lnTo>
                  <a:lnTo>
                    <a:pt x="3521" y="671"/>
                  </a:lnTo>
                  <a:lnTo>
                    <a:pt x="3522" y="680"/>
                  </a:lnTo>
                  <a:lnTo>
                    <a:pt x="3523" y="687"/>
                  </a:lnTo>
                  <a:lnTo>
                    <a:pt x="3521" y="692"/>
                  </a:lnTo>
                  <a:lnTo>
                    <a:pt x="3519" y="698"/>
                  </a:lnTo>
                  <a:lnTo>
                    <a:pt x="3514" y="708"/>
                  </a:lnTo>
                  <a:lnTo>
                    <a:pt x="3508" y="721"/>
                  </a:lnTo>
                  <a:lnTo>
                    <a:pt x="3521" y="721"/>
                  </a:lnTo>
                  <a:lnTo>
                    <a:pt x="3534" y="721"/>
                  </a:lnTo>
                  <a:lnTo>
                    <a:pt x="3534" y="732"/>
                  </a:lnTo>
                  <a:lnTo>
                    <a:pt x="3534" y="741"/>
                  </a:lnTo>
                  <a:lnTo>
                    <a:pt x="3534" y="749"/>
                  </a:lnTo>
                  <a:lnTo>
                    <a:pt x="3534" y="757"/>
                  </a:lnTo>
                  <a:lnTo>
                    <a:pt x="3536" y="762"/>
                  </a:lnTo>
                  <a:lnTo>
                    <a:pt x="3540" y="769"/>
                  </a:lnTo>
                  <a:lnTo>
                    <a:pt x="3542" y="772"/>
                  </a:lnTo>
                  <a:lnTo>
                    <a:pt x="3545" y="774"/>
                  </a:lnTo>
                  <a:lnTo>
                    <a:pt x="3550" y="776"/>
                  </a:lnTo>
                  <a:lnTo>
                    <a:pt x="3554" y="776"/>
                  </a:lnTo>
                  <a:lnTo>
                    <a:pt x="3551" y="786"/>
                  </a:lnTo>
                  <a:lnTo>
                    <a:pt x="3548" y="794"/>
                  </a:lnTo>
                  <a:lnTo>
                    <a:pt x="3542" y="800"/>
                  </a:lnTo>
                  <a:lnTo>
                    <a:pt x="3537" y="804"/>
                  </a:lnTo>
                  <a:lnTo>
                    <a:pt x="3526" y="811"/>
                  </a:lnTo>
                  <a:lnTo>
                    <a:pt x="3515" y="818"/>
                  </a:lnTo>
                  <a:lnTo>
                    <a:pt x="3522" y="828"/>
                  </a:lnTo>
                  <a:lnTo>
                    <a:pt x="3530" y="836"/>
                  </a:lnTo>
                  <a:lnTo>
                    <a:pt x="3539" y="844"/>
                  </a:lnTo>
                  <a:lnTo>
                    <a:pt x="3546" y="851"/>
                  </a:lnTo>
                  <a:lnTo>
                    <a:pt x="3556" y="857"/>
                  </a:lnTo>
                  <a:lnTo>
                    <a:pt x="3565" y="863"/>
                  </a:lnTo>
                  <a:lnTo>
                    <a:pt x="3575" y="869"/>
                  </a:lnTo>
                  <a:lnTo>
                    <a:pt x="3584" y="874"/>
                  </a:lnTo>
                  <a:lnTo>
                    <a:pt x="3605" y="885"/>
                  </a:lnTo>
                  <a:lnTo>
                    <a:pt x="3627" y="894"/>
                  </a:lnTo>
                  <a:lnTo>
                    <a:pt x="3650" y="902"/>
                  </a:lnTo>
                  <a:lnTo>
                    <a:pt x="3674" y="911"/>
                  </a:lnTo>
                  <a:lnTo>
                    <a:pt x="3668" y="918"/>
                  </a:lnTo>
                  <a:lnTo>
                    <a:pt x="3662" y="924"/>
                  </a:lnTo>
                  <a:lnTo>
                    <a:pt x="3652" y="930"/>
                  </a:lnTo>
                  <a:lnTo>
                    <a:pt x="3640" y="936"/>
                  </a:lnTo>
                  <a:lnTo>
                    <a:pt x="3615" y="946"/>
                  </a:lnTo>
                  <a:lnTo>
                    <a:pt x="3588" y="954"/>
                  </a:lnTo>
                  <a:lnTo>
                    <a:pt x="3563" y="961"/>
                  </a:lnTo>
                  <a:lnTo>
                    <a:pt x="3545" y="966"/>
                  </a:lnTo>
                  <a:lnTo>
                    <a:pt x="3540" y="968"/>
                  </a:lnTo>
                  <a:lnTo>
                    <a:pt x="3537" y="970"/>
                  </a:lnTo>
                  <a:lnTo>
                    <a:pt x="3537" y="971"/>
                  </a:lnTo>
                  <a:lnTo>
                    <a:pt x="3537" y="972"/>
                  </a:lnTo>
                  <a:lnTo>
                    <a:pt x="3539" y="972"/>
                  </a:lnTo>
                  <a:lnTo>
                    <a:pt x="3541" y="973"/>
                  </a:lnTo>
                  <a:lnTo>
                    <a:pt x="3548" y="974"/>
                  </a:lnTo>
                  <a:lnTo>
                    <a:pt x="3554" y="974"/>
                  </a:lnTo>
                  <a:lnTo>
                    <a:pt x="3560" y="974"/>
                  </a:lnTo>
                  <a:lnTo>
                    <a:pt x="3564" y="972"/>
                  </a:lnTo>
                  <a:lnTo>
                    <a:pt x="3570" y="970"/>
                  </a:lnTo>
                  <a:lnTo>
                    <a:pt x="3575" y="969"/>
                  </a:lnTo>
                  <a:lnTo>
                    <a:pt x="3581" y="967"/>
                  </a:lnTo>
                  <a:lnTo>
                    <a:pt x="3588" y="967"/>
                  </a:lnTo>
                  <a:lnTo>
                    <a:pt x="3598" y="965"/>
                  </a:lnTo>
                  <a:lnTo>
                    <a:pt x="3616" y="961"/>
                  </a:lnTo>
                  <a:lnTo>
                    <a:pt x="3637" y="957"/>
                  </a:lnTo>
                  <a:lnTo>
                    <a:pt x="3654" y="955"/>
                  </a:lnTo>
                  <a:lnTo>
                    <a:pt x="3673" y="955"/>
                  </a:lnTo>
                  <a:lnTo>
                    <a:pt x="3686" y="956"/>
                  </a:lnTo>
                  <a:lnTo>
                    <a:pt x="3695" y="958"/>
                  </a:lnTo>
                  <a:lnTo>
                    <a:pt x="3701" y="959"/>
                  </a:lnTo>
                  <a:lnTo>
                    <a:pt x="3707" y="960"/>
                  </a:lnTo>
                  <a:lnTo>
                    <a:pt x="3713" y="960"/>
                  </a:lnTo>
                  <a:lnTo>
                    <a:pt x="3721" y="958"/>
                  </a:lnTo>
                  <a:lnTo>
                    <a:pt x="3734" y="955"/>
                  </a:lnTo>
                  <a:lnTo>
                    <a:pt x="3734" y="964"/>
                  </a:lnTo>
                  <a:lnTo>
                    <a:pt x="3734" y="972"/>
                  </a:lnTo>
                  <a:lnTo>
                    <a:pt x="3734" y="979"/>
                  </a:lnTo>
                  <a:lnTo>
                    <a:pt x="3734" y="985"/>
                  </a:lnTo>
                  <a:lnTo>
                    <a:pt x="3734" y="998"/>
                  </a:lnTo>
                  <a:lnTo>
                    <a:pt x="3733" y="1007"/>
                  </a:lnTo>
                  <a:lnTo>
                    <a:pt x="3732" y="1014"/>
                  </a:lnTo>
                  <a:lnTo>
                    <a:pt x="3729" y="1018"/>
                  </a:lnTo>
                  <a:lnTo>
                    <a:pt x="3724" y="1022"/>
                  </a:lnTo>
                  <a:lnTo>
                    <a:pt x="3717" y="1024"/>
                  </a:lnTo>
                  <a:lnTo>
                    <a:pt x="3707" y="1026"/>
                  </a:lnTo>
                  <a:lnTo>
                    <a:pt x="3694" y="1028"/>
                  </a:lnTo>
                  <a:lnTo>
                    <a:pt x="3699" y="1037"/>
                  </a:lnTo>
                  <a:lnTo>
                    <a:pt x="3704" y="1047"/>
                  </a:lnTo>
                  <a:lnTo>
                    <a:pt x="3709" y="1054"/>
                  </a:lnTo>
                  <a:lnTo>
                    <a:pt x="3713" y="1059"/>
                  </a:lnTo>
                  <a:lnTo>
                    <a:pt x="3706" y="1068"/>
                  </a:lnTo>
                  <a:lnTo>
                    <a:pt x="3697" y="1076"/>
                  </a:lnTo>
                  <a:lnTo>
                    <a:pt x="3687" y="1083"/>
                  </a:lnTo>
                  <a:lnTo>
                    <a:pt x="3676" y="1087"/>
                  </a:lnTo>
                  <a:lnTo>
                    <a:pt x="3672" y="1089"/>
                  </a:lnTo>
                  <a:lnTo>
                    <a:pt x="3666" y="1090"/>
                  </a:lnTo>
                  <a:lnTo>
                    <a:pt x="3661" y="1091"/>
                  </a:lnTo>
                  <a:lnTo>
                    <a:pt x="3655" y="1091"/>
                  </a:lnTo>
                  <a:lnTo>
                    <a:pt x="3650" y="1090"/>
                  </a:lnTo>
                  <a:lnTo>
                    <a:pt x="3644" y="1089"/>
                  </a:lnTo>
                  <a:lnTo>
                    <a:pt x="3639" y="1087"/>
                  </a:lnTo>
                  <a:lnTo>
                    <a:pt x="3634" y="1084"/>
                  </a:lnTo>
                  <a:lnTo>
                    <a:pt x="3627" y="1089"/>
                  </a:lnTo>
                  <a:lnTo>
                    <a:pt x="3617" y="1093"/>
                  </a:lnTo>
                  <a:lnTo>
                    <a:pt x="3608" y="1096"/>
                  </a:lnTo>
                  <a:lnTo>
                    <a:pt x="3598" y="1099"/>
                  </a:lnTo>
                  <a:lnTo>
                    <a:pt x="3577" y="1104"/>
                  </a:lnTo>
                  <a:lnTo>
                    <a:pt x="3556" y="1108"/>
                  </a:lnTo>
                  <a:lnTo>
                    <a:pt x="3546" y="1110"/>
                  </a:lnTo>
                  <a:lnTo>
                    <a:pt x="3538" y="1113"/>
                  </a:lnTo>
                  <a:lnTo>
                    <a:pt x="3529" y="1116"/>
                  </a:lnTo>
                  <a:lnTo>
                    <a:pt x="3522" y="1120"/>
                  </a:lnTo>
                  <a:lnTo>
                    <a:pt x="3516" y="1124"/>
                  </a:lnTo>
                  <a:lnTo>
                    <a:pt x="3511" y="1130"/>
                  </a:lnTo>
                  <a:lnTo>
                    <a:pt x="3509" y="1137"/>
                  </a:lnTo>
                  <a:lnTo>
                    <a:pt x="3508" y="1145"/>
                  </a:lnTo>
                  <a:lnTo>
                    <a:pt x="3501" y="1145"/>
                  </a:lnTo>
                  <a:lnTo>
                    <a:pt x="3489" y="1159"/>
                  </a:lnTo>
                  <a:lnTo>
                    <a:pt x="3480" y="1168"/>
                  </a:lnTo>
                  <a:lnTo>
                    <a:pt x="3474" y="1172"/>
                  </a:lnTo>
                  <a:lnTo>
                    <a:pt x="3467" y="1174"/>
                  </a:lnTo>
                  <a:lnTo>
                    <a:pt x="3459" y="1176"/>
                  </a:lnTo>
                  <a:lnTo>
                    <a:pt x="3448" y="1176"/>
                  </a:lnTo>
                  <a:lnTo>
                    <a:pt x="3336" y="1164"/>
                  </a:lnTo>
                  <a:lnTo>
                    <a:pt x="3301" y="1164"/>
                  </a:lnTo>
                  <a:lnTo>
                    <a:pt x="3264" y="1164"/>
                  </a:lnTo>
                  <a:lnTo>
                    <a:pt x="3228" y="1164"/>
                  </a:lnTo>
                  <a:lnTo>
                    <a:pt x="3189" y="1164"/>
                  </a:lnTo>
                  <a:lnTo>
                    <a:pt x="3169" y="1165"/>
                  </a:lnTo>
                  <a:lnTo>
                    <a:pt x="3151" y="1168"/>
                  </a:lnTo>
                  <a:lnTo>
                    <a:pt x="3135" y="1172"/>
                  </a:lnTo>
                  <a:lnTo>
                    <a:pt x="3119" y="1177"/>
                  </a:lnTo>
                  <a:lnTo>
                    <a:pt x="3105" y="1183"/>
                  </a:lnTo>
                  <a:lnTo>
                    <a:pt x="3093" y="1191"/>
                  </a:lnTo>
                  <a:lnTo>
                    <a:pt x="3081" y="1198"/>
                  </a:lnTo>
                  <a:lnTo>
                    <a:pt x="3070" y="1207"/>
                  </a:lnTo>
                  <a:lnTo>
                    <a:pt x="3047" y="1225"/>
                  </a:lnTo>
                  <a:lnTo>
                    <a:pt x="3025" y="1242"/>
                  </a:lnTo>
                  <a:lnTo>
                    <a:pt x="3013" y="1250"/>
                  </a:lnTo>
                  <a:lnTo>
                    <a:pt x="3000" y="1257"/>
                  </a:lnTo>
                  <a:lnTo>
                    <a:pt x="2985" y="1263"/>
                  </a:lnTo>
                  <a:lnTo>
                    <a:pt x="2970" y="1269"/>
                  </a:lnTo>
                  <a:lnTo>
                    <a:pt x="2959" y="1272"/>
                  </a:lnTo>
                  <a:lnTo>
                    <a:pt x="2948" y="1276"/>
                  </a:lnTo>
                  <a:lnTo>
                    <a:pt x="2936" y="1281"/>
                  </a:lnTo>
                  <a:lnTo>
                    <a:pt x="2924" y="1286"/>
                  </a:lnTo>
                  <a:lnTo>
                    <a:pt x="2912" y="1293"/>
                  </a:lnTo>
                  <a:lnTo>
                    <a:pt x="2900" y="1300"/>
                  </a:lnTo>
                  <a:lnTo>
                    <a:pt x="2887" y="1308"/>
                  </a:lnTo>
                  <a:lnTo>
                    <a:pt x="2876" y="1316"/>
                  </a:lnTo>
                  <a:lnTo>
                    <a:pt x="2864" y="1326"/>
                  </a:lnTo>
                  <a:lnTo>
                    <a:pt x="2853" y="1335"/>
                  </a:lnTo>
                  <a:lnTo>
                    <a:pt x="2843" y="1344"/>
                  </a:lnTo>
                  <a:lnTo>
                    <a:pt x="2834" y="1354"/>
                  </a:lnTo>
                  <a:lnTo>
                    <a:pt x="2825" y="1363"/>
                  </a:lnTo>
                  <a:lnTo>
                    <a:pt x="2819" y="1373"/>
                  </a:lnTo>
                  <a:lnTo>
                    <a:pt x="2814" y="1383"/>
                  </a:lnTo>
                  <a:lnTo>
                    <a:pt x="2811" y="1392"/>
                  </a:lnTo>
                  <a:lnTo>
                    <a:pt x="2819" y="1392"/>
                  </a:lnTo>
                  <a:lnTo>
                    <a:pt x="2825" y="1391"/>
                  </a:lnTo>
                  <a:lnTo>
                    <a:pt x="2832" y="1389"/>
                  </a:lnTo>
                  <a:lnTo>
                    <a:pt x="2836" y="1387"/>
                  </a:lnTo>
                  <a:lnTo>
                    <a:pt x="2840" y="1385"/>
                  </a:lnTo>
                  <a:lnTo>
                    <a:pt x="2845" y="1382"/>
                  </a:lnTo>
                  <a:lnTo>
                    <a:pt x="2847" y="1379"/>
                  </a:lnTo>
                  <a:lnTo>
                    <a:pt x="2850" y="1375"/>
                  </a:lnTo>
                  <a:lnTo>
                    <a:pt x="2855" y="1369"/>
                  </a:lnTo>
                  <a:lnTo>
                    <a:pt x="2859" y="1363"/>
                  </a:lnTo>
                  <a:lnTo>
                    <a:pt x="2861" y="1361"/>
                  </a:lnTo>
                  <a:lnTo>
                    <a:pt x="2864" y="1358"/>
                  </a:lnTo>
                  <a:lnTo>
                    <a:pt x="2867" y="1356"/>
                  </a:lnTo>
                  <a:lnTo>
                    <a:pt x="2870" y="1355"/>
                  </a:lnTo>
                  <a:lnTo>
                    <a:pt x="2888" y="1346"/>
                  </a:lnTo>
                  <a:lnTo>
                    <a:pt x="2905" y="1337"/>
                  </a:lnTo>
                  <a:lnTo>
                    <a:pt x="2923" y="1327"/>
                  </a:lnTo>
                  <a:lnTo>
                    <a:pt x="2940" y="1315"/>
                  </a:lnTo>
                  <a:lnTo>
                    <a:pt x="2976" y="1293"/>
                  </a:lnTo>
                  <a:lnTo>
                    <a:pt x="3012" y="1271"/>
                  </a:lnTo>
                  <a:lnTo>
                    <a:pt x="3029" y="1260"/>
                  </a:lnTo>
                  <a:lnTo>
                    <a:pt x="3048" y="1251"/>
                  </a:lnTo>
                  <a:lnTo>
                    <a:pt x="3067" y="1242"/>
                  </a:lnTo>
                  <a:lnTo>
                    <a:pt x="3085" y="1235"/>
                  </a:lnTo>
                  <a:lnTo>
                    <a:pt x="3104" y="1228"/>
                  </a:lnTo>
                  <a:lnTo>
                    <a:pt x="3123" y="1224"/>
                  </a:lnTo>
                  <a:lnTo>
                    <a:pt x="3142" y="1221"/>
                  </a:lnTo>
                  <a:lnTo>
                    <a:pt x="3162" y="1220"/>
                  </a:lnTo>
                  <a:lnTo>
                    <a:pt x="3171" y="1220"/>
                  </a:lnTo>
                  <a:lnTo>
                    <a:pt x="3179" y="1222"/>
                  </a:lnTo>
                  <a:lnTo>
                    <a:pt x="3189" y="1225"/>
                  </a:lnTo>
                  <a:lnTo>
                    <a:pt x="3196" y="1229"/>
                  </a:lnTo>
                  <a:lnTo>
                    <a:pt x="3204" y="1234"/>
                  </a:lnTo>
                  <a:lnTo>
                    <a:pt x="3210" y="1240"/>
                  </a:lnTo>
                  <a:lnTo>
                    <a:pt x="3213" y="1244"/>
                  </a:lnTo>
                  <a:lnTo>
                    <a:pt x="3214" y="1248"/>
                  </a:lnTo>
                  <a:lnTo>
                    <a:pt x="3215" y="1252"/>
                  </a:lnTo>
                  <a:lnTo>
                    <a:pt x="3216" y="1256"/>
                  </a:lnTo>
                  <a:lnTo>
                    <a:pt x="3215" y="1265"/>
                  </a:lnTo>
                  <a:lnTo>
                    <a:pt x="3213" y="1274"/>
                  </a:lnTo>
                  <a:lnTo>
                    <a:pt x="3208" y="1281"/>
                  </a:lnTo>
                  <a:lnTo>
                    <a:pt x="3203" y="1287"/>
                  </a:lnTo>
                  <a:lnTo>
                    <a:pt x="3197" y="1293"/>
                  </a:lnTo>
                  <a:lnTo>
                    <a:pt x="3191" y="1296"/>
                  </a:lnTo>
                  <a:lnTo>
                    <a:pt x="3183" y="1299"/>
                  </a:lnTo>
                  <a:lnTo>
                    <a:pt x="3175" y="1299"/>
                  </a:lnTo>
                  <a:lnTo>
                    <a:pt x="3165" y="1299"/>
                  </a:lnTo>
                  <a:lnTo>
                    <a:pt x="3156" y="1298"/>
                  </a:lnTo>
                  <a:lnTo>
                    <a:pt x="3146" y="1296"/>
                  </a:lnTo>
                  <a:lnTo>
                    <a:pt x="3136" y="1293"/>
                  </a:lnTo>
                  <a:lnTo>
                    <a:pt x="3126" y="1291"/>
                  </a:lnTo>
                  <a:lnTo>
                    <a:pt x="3116" y="1289"/>
                  </a:lnTo>
                  <a:lnTo>
                    <a:pt x="3106" y="1288"/>
                  </a:lnTo>
                  <a:lnTo>
                    <a:pt x="3096" y="1287"/>
                  </a:lnTo>
                  <a:lnTo>
                    <a:pt x="3089" y="1288"/>
                  </a:lnTo>
                  <a:lnTo>
                    <a:pt x="3082" y="1289"/>
                  </a:lnTo>
                  <a:lnTo>
                    <a:pt x="3077" y="1290"/>
                  </a:lnTo>
                  <a:lnTo>
                    <a:pt x="3072" y="1292"/>
                  </a:lnTo>
                  <a:lnTo>
                    <a:pt x="3068" y="1294"/>
                  </a:lnTo>
                  <a:lnTo>
                    <a:pt x="3066" y="1298"/>
                  </a:lnTo>
                  <a:lnTo>
                    <a:pt x="3063" y="1301"/>
                  </a:lnTo>
                  <a:lnTo>
                    <a:pt x="3063" y="1306"/>
                  </a:lnTo>
                  <a:lnTo>
                    <a:pt x="3129" y="1331"/>
                  </a:lnTo>
                  <a:lnTo>
                    <a:pt x="3140" y="1329"/>
                  </a:lnTo>
                  <a:lnTo>
                    <a:pt x="3152" y="1325"/>
                  </a:lnTo>
                  <a:lnTo>
                    <a:pt x="3159" y="1324"/>
                  </a:lnTo>
                  <a:lnTo>
                    <a:pt x="3164" y="1323"/>
                  </a:lnTo>
                  <a:lnTo>
                    <a:pt x="3171" y="1323"/>
                  </a:lnTo>
                  <a:lnTo>
                    <a:pt x="3175" y="1325"/>
                  </a:lnTo>
                  <a:lnTo>
                    <a:pt x="3170" y="1333"/>
                  </a:lnTo>
                  <a:lnTo>
                    <a:pt x="3164" y="1340"/>
                  </a:lnTo>
                  <a:lnTo>
                    <a:pt x="3158" y="1346"/>
                  </a:lnTo>
                  <a:lnTo>
                    <a:pt x="3151" y="1351"/>
                  </a:lnTo>
                  <a:lnTo>
                    <a:pt x="3145" y="1356"/>
                  </a:lnTo>
                  <a:lnTo>
                    <a:pt x="3140" y="1361"/>
                  </a:lnTo>
                  <a:lnTo>
                    <a:pt x="3138" y="1364"/>
                  </a:lnTo>
                  <a:lnTo>
                    <a:pt x="3137" y="1367"/>
                  </a:lnTo>
                  <a:lnTo>
                    <a:pt x="3136" y="1370"/>
                  </a:lnTo>
                  <a:lnTo>
                    <a:pt x="3136" y="1373"/>
                  </a:lnTo>
                  <a:lnTo>
                    <a:pt x="3136" y="1380"/>
                  </a:lnTo>
                  <a:lnTo>
                    <a:pt x="3137" y="1386"/>
                  </a:lnTo>
                  <a:lnTo>
                    <a:pt x="3138" y="1391"/>
                  </a:lnTo>
                  <a:lnTo>
                    <a:pt x="3140" y="1396"/>
                  </a:lnTo>
                  <a:lnTo>
                    <a:pt x="3144" y="1401"/>
                  </a:lnTo>
                  <a:lnTo>
                    <a:pt x="3146" y="1405"/>
                  </a:lnTo>
                  <a:lnTo>
                    <a:pt x="3149" y="1410"/>
                  </a:lnTo>
                  <a:lnTo>
                    <a:pt x="3153" y="1413"/>
                  </a:lnTo>
                  <a:lnTo>
                    <a:pt x="3162" y="1420"/>
                  </a:lnTo>
                  <a:lnTo>
                    <a:pt x="3173" y="1426"/>
                  </a:lnTo>
                  <a:lnTo>
                    <a:pt x="3184" y="1431"/>
                  </a:lnTo>
                  <a:lnTo>
                    <a:pt x="3196" y="1436"/>
                  </a:lnTo>
                  <a:lnTo>
                    <a:pt x="3209" y="1439"/>
                  </a:lnTo>
                  <a:lnTo>
                    <a:pt x="3224" y="1441"/>
                  </a:lnTo>
                  <a:lnTo>
                    <a:pt x="3237" y="1442"/>
                  </a:lnTo>
                  <a:lnTo>
                    <a:pt x="3251" y="1443"/>
                  </a:lnTo>
                  <a:lnTo>
                    <a:pt x="3277" y="1443"/>
                  </a:lnTo>
                  <a:lnTo>
                    <a:pt x="3302" y="1442"/>
                  </a:lnTo>
                  <a:lnTo>
                    <a:pt x="3302" y="1466"/>
                  </a:lnTo>
                  <a:lnTo>
                    <a:pt x="3292" y="1469"/>
                  </a:lnTo>
                  <a:lnTo>
                    <a:pt x="3283" y="1471"/>
                  </a:lnTo>
                  <a:lnTo>
                    <a:pt x="3274" y="1472"/>
                  </a:lnTo>
                  <a:lnTo>
                    <a:pt x="3265" y="1472"/>
                  </a:lnTo>
                  <a:lnTo>
                    <a:pt x="3257" y="1472"/>
                  </a:lnTo>
                  <a:lnTo>
                    <a:pt x="3248" y="1473"/>
                  </a:lnTo>
                  <a:lnTo>
                    <a:pt x="3239" y="1474"/>
                  </a:lnTo>
                  <a:lnTo>
                    <a:pt x="3229" y="1478"/>
                  </a:lnTo>
                  <a:lnTo>
                    <a:pt x="3213" y="1485"/>
                  </a:lnTo>
                  <a:lnTo>
                    <a:pt x="3198" y="1494"/>
                  </a:lnTo>
                  <a:lnTo>
                    <a:pt x="3184" y="1502"/>
                  </a:lnTo>
                  <a:lnTo>
                    <a:pt x="3172" y="1510"/>
                  </a:lnTo>
                  <a:lnTo>
                    <a:pt x="3158" y="1519"/>
                  </a:lnTo>
                  <a:lnTo>
                    <a:pt x="3144" y="1527"/>
                  </a:lnTo>
                  <a:lnTo>
                    <a:pt x="3128" y="1536"/>
                  </a:lnTo>
                  <a:lnTo>
                    <a:pt x="3109" y="1546"/>
                  </a:lnTo>
                  <a:lnTo>
                    <a:pt x="3099" y="1550"/>
                  </a:lnTo>
                  <a:lnTo>
                    <a:pt x="3088" y="1553"/>
                  </a:lnTo>
                  <a:lnTo>
                    <a:pt x="3077" y="1555"/>
                  </a:lnTo>
                  <a:lnTo>
                    <a:pt x="3066" y="1556"/>
                  </a:lnTo>
                  <a:lnTo>
                    <a:pt x="3056" y="1558"/>
                  </a:lnTo>
                  <a:lnTo>
                    <a:pt x="3047" y="1561"/>
                  </a:lnTo>
                  <a:lnTo>
                    <a:pt x="3044" y="1563"/>
                  </a:lnTo>
                  <a:lnTo>
                    <a:pt x="3040" y="1565"/>
                  </a:lnTo>
                  <a:lnTo>
                    <a:pt x="3038" y="1568"/>
                  </a:lnTo>
                  <a:lnTo>
                    <a:pt x="3036" y="1571"/>
                  </a:lnTo>
                  <a:lnTo>
                    <a:pt x="3026" y="1567"/>
                  </a:lnTo>
                  <a:lnTo>
                    <a:pt x="3018" y="1564"/>
                  </a:lnTo>
                  <a:lnTo>
                    <a:pt x="3015" y="1562"/>
                  </a:lnTo>
                  <a:lnTo>
                    <a:pt x="3012" y="1560"/>
                  </a:lnTo>
                  <a:lnTo>
                    <a:pt x="3011" y="1557"/>
                  </a:lnTo>
                  <a:lnTo>
                    <a:pt x="3010" y="1553"/>
                  </a:lnTo>
                  <a:lnTo>
                    <a:pt x="3010" y="1546"/>
                  </a:lnTo>
                  <a:lnTo>
                    <a:pt x="3012" y="1539"/>
                  </a:lnTo>
                  <a:lnTo>
                    <a:pt x="3013" y="1533"/>
                  </a:lnTo>
                  <a:lnTo>
                    <a:pt x="3016" y="1528"/>
                  </a:lnTo>
                  <a:lnTo>
                    <a:pt x="3019" y="1524"/>
                  </a:lnTo>
                  <a:lnTo>
                    <a:pt x="3024" y="1519"/>
                  </a:lnTo>
                  <a:lnTo>
                    <a:pt x="3028" y="1516"/>
                  </a:lnTo>
                  <a:lnTo>
                    <a:pt x="3033" y="1512"/>
                  </a:lnTo>
                  <a:lnTo>
                    <a:pt x="3045" y="1506"/>
                  </a:lnTo>
                  <a:lnTo>
                    <a:pt x="3058" y="1501"/>
                  </a:lnTo>
                  <a:lnTo>
                    <a:pt x="3072" y="1497"/>
                  </a:lnTo>
                  <a:lnTo>
                    <a:pt x="3086" y="1493"/>
                  </a:lnTo>
                  <a:lnTo>
                    <a:pt x="3117" y="1487"/>
                  </a:lnTo>
                  <a:lnTo>
                    <a:pt x="3147" y="1482"/>
                  </a:lnTo>
                  <a:lnTo>
                    <a:pt x="3160" y="1479"/>
                  </a:lnTo>
                  <a:lnTo>
                    <a:pt x="3172" y="1475"/>
                  </a:lnTo>
                  <a:lnTo>
                    <a:pt x="3182" y="1471"/>
                  </a:lnTo>
                  <a:lnTo>
                    <a:pt x="3189" y="1466"/>
                  </a:lnTo>
                  <a:lnTo>
                    <a:pt x="3178" y="1463"/>
                  </a:lnTo>
                  <a:lnTo>
                    <a:pt x="3169" y="1460"/>
                  </a:lnTo>
                  <a:lnTo>
                    <a:pt x="3160" y="1456"/>
                  </a:lnTo>
                  <a:lnTo>
                    <a:pt x="3153" y="1451"/>
                  </a:lnTo>
                  <a:lnTo>
                    <a:pt x="3147" y="1448"/>
                  </a:lnTo>
                  <a:lnTo>
                    <a:pt x="3139" y="1445"/>
                  </a:lnTo>
                  <a:lnTo>
                    <a:pt x="3131" y="1442"/>
                  </a:lnTo>
                  <a:lnTo>
                    <a:pt x="3123" y="1442"/>
                  </a:lnTo>
                  <a:lnTo>
                    <a:pt x="3117" y="1442"/>
                  </a:lnTo>
                  <a:lnTo>
                    <a:pt x="3113" y="1443"/>
                  </a:lnTo>
                  <a:lnTo>
                    <a:pt x="3107" y="1445"/>
                  </a:lnTo>
                  <a:lnTo>
                    <a:pt x="3103" y="1446"/>
                  </a:lnTo>
                  <a:lnTo>
                    <a:pt x="3093" y="1452"/>
                  </a:lnTo>
                  <a:lnTo>
                    <a:pt x="3083" y="1458"/>
                  </a:lnTo>
                  <a:lnTo>
                    <a:pt x="3074" y="1464"/>
                  </a:lnTo>
                  <a:lnTo>
                    <a:pt x="3066" y="1470"/>
                  </a:lnTo>
                  <a:lnTo>
                    <a:pt x="3057" y="1475"/>
                  </a:lnTo>
                  <a:lnTo>
                    <a:pt x="3049" y="1478"/>
                  </a:lnTo>
                  <a:lnTo>
                    <a:pt x="3044" y="1479"/>
                  </a:lnTo>
                  <a:lnTo>
                    <a:pt x="3036" y="1481"/>
                  </a:lnTo>
                  <a:lnTo>
                    <a:pt x="3026" y="1483"/>
                  </a:lnTo>
                  <a:lnTo>
                    <a:pt x="3016" y="1484"/>
                  </a:lnTo>
                  <a:lnTo>
                    <a:pt x="3010" y="147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2482" name="Freeform 434"/>
          <p:cNvSpPr>
            <a:spLocks/>
          </p:cNvSpPr>
          <p:nvPr>
            <p:custDataLst>
              <p:tags r:id="rId275"/>
            </p:custDataLst>
          </p:nvPr>
        </p:nvSpPr>
        <p:spPr bwMode="auto">
          <a:xfrm>
            <a:off x="4757738" y="2656290"/>
            <a:ext cx="127000" cy="119063"/>
          </a:xfrm>
          <a:custGeom>
            <a:avLst/>
            <a:gdLst/>
            <a:ahLst/>
            <a:cxnLst>
              <a:cxn ang="0">
                <a:pos x="265" y="10"/>
              </a:cxn>
              <a:cxn ang="0">
                <a:pos x="276" y="37"/>
              </a:cxn>
              <a:cxn ang="0">
                <a:pos x="286" y="91"/>
              </a:cxn>
              <a:cxn ang="0">
                <a:pos x="292" y="144"/>
              </a:cxn>
              <a:cxn ang="0">
                <a:pos x="291" y="161"/>
              </a:cxn>
              <a:cxn ang="0">
                <a:pos x="286" y="179"/>
              </a:cxn>
              <a:cxn ang="0">
                <a:pos x="269" y="206"/>
              </a:cxn>
              <a:cxn ang="0">
                <a:pos x="231" y="185"/>
              </a:cxn>
              <a:cxn ang="0">
                <a:pos x="165" y="258"/>
              </a:cxn>
              <a:cxn ang="0">
                <a:pos x="132" y="278"/>
              </a:cxn>
              <a:cxn ang="0">
                <a:pos x="59" y="296"/>
              </a:cxn>
              <a:cxn ang="0">
                <a:pos x="32" y="308"/>
              </a:cxn>
              <a:cxn ang="0">
                <a:pos x="6" y="308"/>
              </a:cxn>
              <a:cxn ang="0">
                <a:pos x="9" y="297"/>
              </a:cxn>
              <a:cxn ang="0">
                <a:pos x="11" y="286"/>
              </a:cxn>
              <a:cxn ang="0">
                <a:pos x="7" y="265"/>
              </a:cxn>
              <a:cxn ang="0">
                <a:pos x="2" y="246"/>
              </a:cxn>
              <a:cxn ang="0">
                <a:pos x="0" y="228"/>
              </a:cxn>
              <a:cxn ang="0">
                <a:pos x="3" y="205"/>
              </a:cxn>
              <a:cxn ang="0">
                <a:pos x="12" y="188"/>
              </a:cxn>
              <a:cxn ang="0">
                <a:pos x="26" y="174"/>
              </a:cxn>
              <a:cxn ang="0">
                <a:pos x="42" y="161"/>
              </a:cxn>
              <a:cxn ang="0">
                <a:pos x="77" y="135"/>
              </a:cxn>
              <a:cxn ang="0">
                <a:pos x="93" y="119"/>
              </a:cxn>
              <a:cxn ang="0">
                <a:pos x="105" y="98"/>
              </a:cxn>
              <a:cxn ang="0">
                <a:pos x="98" y="96"/>
              </a:cxn>
              <a:cxn ang="0">
                <a:pos x="92" y="91"/>
              </a:cxn>
              <a:cxn ang="0">
                <a:pos x="82" y="73"/>
              </a:cxn>
              <a:cxn ang="0">
                <a:pos x="74" y="50"/>
              </a:cxn>
              <a:cxn ang="0">
                <a:pos x="72" y="24"/>
              </a:cxn>
              <a:cxn ang="0">
                <a:pos x="90" y="19"/>
              </a:cxn>
              <a:cxn ang="0">
                <a:pos x="105" y="20"/>
              </a:cxn>
              <a:cxn ang="0">
                <a:pos x="132" y="24"/>
              </a:cxn>
              <a:cxn ang="0">
                <a:pos x="169" y="21"/>
              </a:cxn>
              <a:cxn ang="0">
                <a:pos x="210" y="12"/>
              </a:cxn>
              <a:cxn ang="0">
                <a:pos x="259" y="0"/>
              </a:cxn>
            </a:cxnLst>
            <a:rect l="0" t="0" r="r" b="b"/>
            <a:pathLst>
              <a:path w="292" h="308">
                <a:moveTo>
                  <a:pt x="259" y="0"/>
                </a:moveTo>
                <a:lnTo>
                  <a:pt x="265" y="10"/>
                </a:lnTo>
                <a:lnTo>
                  <a:pt x="271" y="23"/>
                </a:lnTo>
                <a:lnTo>
                  <a:pt x="276" y="37"/>
                </a:lnTo>
                <a:lnTo>
                  <a:pt x="280" y="54"/>
                </a:lnTo>
                <a:lnTo>
                  <a:pt x="286" y="91"/>
                </a:lnTo>
                <a:lnTo>
                  <a:pt x="292" y="135"/>
                </a:lnTo>
                <a:lnTo>
                  <a:pt x="292" y="144"/>
                </a:lnTo>
                <a:lnTo>
                  <a:pt x="292" y="153"/>
                </a:lnTo>
                <a:lnTo>
                  <a:pt x="291" y="161"/>
                </a:lnTo>
                <a:lnTo>
                  <a:pt x="289" y="168"/>
                </a:lnTo>
                <a:lnTo>
                  <a:pt x="286" y="179"/>
                </a:lnTo>
                <a:lnTo>
                  <a:pt x="281" y="189"/>
                </a:lnTo>
                <a:lnTo>
                  <a:pt x="269" y="206"/>
                </a:lnTo>
                <a:lnTo>
                  <a:pt x="258" y="225"/>
                </a:lnTo>
                <a:lnTo>
                  <a:pt x="231" y="185"/>
                </a:lnTo>
                <a:lnTo>
                  <a:pt x="192" y="222"/>
                </a:lnTo>
                <a:lnTo>
                  <a:pt x="165" y="258"/>
                </a:lnTo>
                <a:lnTo>
                  <a:pt x="152" y="246"/>
                </a:lnTo>
                <a:lnTo>
                  <a:pt x="132" y="278"/>
                </a:lnTo>
                <a:lnTo>
                  <a:pt x="132" y="296"/>
                </a:lnTo>
                <a:lnTo>
                  <a:pt x="59" y="296"/>
                </a:lnTo>
                <a:lnTo>
                  <a:pt x="46" y="302"/>
                </a:lnTo>
                <a:lnTo>
                  <a:pt x="32" y="308"/>
                </a:lnTo>
                <a:lnTo>
                  <a:pt x="19" y="308"/>
                </a:lnTo>
                <a:lnTo>
                  <a:pt x="6" y="308"/>
                </a:lnTo>
                <a:lnTo>
                  <a:pt x="8" y="302"/>
                </a:lnTo>
                <a:lnTo>
                  <a:pt x="9" y="297"/>
                </a:lnTo>
                <a:lnTo>
                  <a:pt x="11" y="291"/>
                </a:lnTo>
                <a:lnTo>
                  <a:pt x="11" y="286"/>
                </a:lnTo>
                <a:lnTo>
                  <a:pt x="9" y="276"/>
                </a:lnTo>
                <a:lnTo>
                  <a:pt x="7" y="265"/>
                </a:lnTo>
                <a:lnTo>
                  <a:pt x="5" y="256"/>
                </a:lnTo>
                <a:lnTo>
                  <a:pt x="2" y="246"/>
                </a:lnTo>
                <a:lnTo>
                  <a:pt x="0" y="237"/>
                </a:lnTo>
                <a:lnTo>
                  <a:pt x="0" y="228"/>
                </a:lnTo>
                <a:lnTo>
                  <a:pt x="0" y="216"/>
                </a:lnTo>
                <a:lnTo>
                  <a:pt x="3" y="205"/>
                </a:lnTo>
                <a:lnTo>
                  <a:pt x="6" y="196"/>
                </a:lnTo>
                <a:lnTo>
                  <a:pt x="12" y="188"/>
                </a:lnTo>
                <a:lnTo>
                  <a:pt x="18" y="180"/>
                </a:lnTo>
                <a:lnTo>
                  <a:pt x="26" y="174"/>
                </a:lnTo>
                <a:lnTo>
                  <a:pt x="34" y="167"/>
                </a:lnTo>
                <a:lnTo>
                  <a:pt x="42" y="161"/>
                </a:lnTo>
                <a:lnTo>
                  <a:pt x="60" y="148"/>
                </a:lnTo>
                <a:lnTo>
                  <a:pt x="77" y="135"/>
                </a:lnTo>
                <a:lnTo>
                  <a:pt x="85" y="128"/>
                </a:lnTo>
                <a:lnTo>
                  <a:pt x="93" y="119"/>
                </a:lnTo>
                <a:lnTo>
                  <a:pt x="99" y="110"/>
                </a:lnTo>
                <a:lnTo>
                  <a:pt x="105" y="98"/>
                </a:lnTo>
                <a:lnTo>
                  <a:pt x="102" y="98"/>
                </a:lnTo>
                <a:lnTo>
                  <a:pt x="98" y="96"/>
                </a:lnTo>
                <a:lnTo>
                  <a:pt x="95" y="94"/>
                </a:lnTo>
                <a:lnTo>
                  <a:pt x="92" y="91"/>
                </a:lnTo>
                <a:lnTo>
                  <a:pt x="86" y="83"/>
                </a:lnTo>
                <a:lnTo>
                  <a:pt x="82" y="73"/>
                </a:lnTo>
                <a:lnTo>
                  <a:pt x="77" y="62"/>
                </a:lnTo>
                <a:lnTo>
                  <a:pt x="74" y="50"/>
                </a:lnTo>
                <a:lnTo>
                  <a:pt x="73" y="36"/>
                </a:lnTo>
                <a:lnTo>
                  <a:pt x="72" y="24"/>
                </a:lnTo>
                <a:lnTo>
                  <a:pt x="82" y="21"/>
                </a:lnTo>
                <a:lnTo>
                  <a:pt x="90" y="19"/>
                </a:lnTo>
                <a:lnTo>
                  <a:pt x="97" y="19"/>
                </a:lnTo>
                <a:lnTo>
                  <a:pt x="105" y="20"/>
                </a:lnTo>
                <a:lnTo>
                  <a:pt x="118" y="23"/>
                </a:lnTo>
                <a:lnTo>
                  <a:pt x="132" y="24"/>
                </a:lnTo>
                <a:lnTo>
                  <a:pt x="149" y="23"/>
                </a:lnTo>
                <a:lnTo>
                  <a:pt x="169" y="21"/>
                </a:lnTo>
                <a:lnTo>
                  <a:pt x="189" y="17"/>
                </a:lnTo>
                <a:lnTo>
                  <a:pt x="210" y="12"/>
                </a:lnTo>
                <a:lnTo>
                  <a:pt x="244" y="4"/>
                </a:lnTo>
                <a:lnTo>
                  <a:pt x="259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483" name="Freeform 435"/>
          <p:cNvSpPr>
            <a:spLocks/>
          </p:cNvSpPr>
          <p:nvPr>
            <p:custDataLst>
              <p:tags r:id="rId276"/>
            </p:custDataLst>
          </p:nvPr>
        </p:nvSpPr>
        <p:spPr bwMode="auto">
          <a:xfrm>
            <a:off x="4864103" y="2769398"/>
            <a:ext cx="6350" cy="42863"/>
          </a:xfrm>
          <a:custGeom>
            <a:avLst/>
            <a:gdLst/>
            <a:ahLst/>
            <a:cxnLst>
              <a:cxn ang="0">
                <a:pos x="11" y="0"/>
              </a:cxn>
              <a:cxn ang="0">
                <a:pos x="13" y="3"/>
              </a:cxn>
              <a:cxn ang="0">
                <a:pos x="14" y="7"/>
              </a:cxn>
              <a:cxn ang="0">
                <a:pos x="0" y="7"/>
              </a:cxn>
              <a:cxn ang="0">
                <a:pos x="11" y="0"/>
              </a:cxn>
            </a:cxnLst>
            <a:rect l="0" t="0" r="r" b="b"/>
            <a:pathLst>
              <a:path w="14" h="7">
                <a:moveTo>
                  <a:pt x="11" y="0"/>
                </a:moveTo>
                <a:lnTo>
                  <a:pt x="13" y="3"/>
                </a:lnTo>
                <a:lnTo>
                  <a:pt x="14" y="7"/>
                </a:lnTo>
                <a:lnTo>
                  <a:pt x="0" y="7"/>
                </a:lnTo>
                <a:lnTo>
                  <a:pt x="11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484" name="Freeform 436"/>
          <p:cNvSpPr>
            <a:spLocks/>
          </p:cNvSpPr>
          <p:nvPr>
            <p:custDataLst>
              <p:tags r:id="rId277"/>
            </p:custDataLst>
          </p:nvPr>
        </p:nvSpPr>
        <p:spPr bwMode="auto">
          <a:xfrm>
            <a:off x="4354520" y="2196708"/>
            <a:ext cx="249237" cy="375047"/>
          </a:xfrm>
          <a:custGeom>
            <a:avLst/>
            <a:gdLst/>
            <a:ahLst/>
            <a:cxnLst>
              <a:cxn ang="0">
                <a:pos x="81" y="115"/>
              </a:cxn>
              <a:cxn ang="0">
                <a:pos x="104" y="152"/>
              </a:cxn>
              <a:cxn ang="0">
                <a:pos x="111" y="180"/>
              </a:cxn>
              <a:cxn ang="0">
                <a:pos x="95" y="234"/>
              </a:cxn>
              <a:cxn ang="0">
                <a:pos x="96" y="325"/>
              </a:cxn>
              <a:cxn ang="0">
                <a:pos x="93" y="363"/>
              </a:cxn>
              <a:cxn ang="0">
                <a:pos x="82" y="396"/>
              </a:cxn>
              <a:cxn ang="0">
                <a:pos x="59" y="429"/>
              </a:cxn>
              <a:cxn ang="0">
                <a:pos x="31" y="461"/>
              </a:cxn>
              <a:cxn ang="0">
                <a:pos x="17" y="481"/>
              </a:cxn>
              <a:cxn ang="0">
                <a:pos x="2" y="542"/>
              </a:cxn>
              <a:cxn ang="0">
                <a:pos x="69" y="616"/>
              </a:cxn>
              <a:cxn ang="0">
                <a:pos x="69" y="634"/>
              </a:cxn>
              <a:cxn ang="0">
                <a:pos x="74" y="665"/>
              </a:cxn>
              <a:cxn ang="0">
                <a:pos x="74" y="696"/>
              </a:cxn>
              <a:cxn ang="0">
                <a:pos x="78" y="733"/>
              </a:cxn>
              <a:cxn ang="0">
                <a:pos x="94" y="778"/>
              </a:cxn>
              <a:cxn ang="0">
                <a:pos x="105" y="792"/>
              </a:cxn>
              <a:cxn ang="0">
                <a:pos x="68" y="794"/>
              </a:cxn>
              <a:cxn ang="0">
                <a:pos x="42" y="802"/>
              </a:cxn>
              <a:cxn ang="0">
                <a:pos x="36" y="812"/>
              </a:cxn>
              <a:cxn ang="0">
                <a:pos x="42" y="842"/>
              </a:cxn>
              <a:cxn ang="0">
                <a:pos x="69" y="876"/>
              </a:cxn>
              <a:cxn ang="0">
                <a:pos x="87" y="899"/>
              </a:cxn>
              <a:cxn ang="0">
                <a:pos x="100" y="927"/>
              </a:cxn>
              <a:cxn ang="0">
                <a:pos x="156" y="955"/>
              </a:cxn>
              <a:cxn ang="0">
                <a:pos x="189" y="942"/>
              </a:cxn>
              <a:cxn ang="0">
                <a:pos x="248" y="929"/>
              </a:cxn>
              <a:cxn ang="0">
                <a:pos x="279" y="921"/>
              </a:cxn>
              <a:cxn ang="0">
                <a:pos x="297" y="904"/>
              </a:cxn>
              <a:cxn ang="0">
                <a:pos x="302" y="892"/>
              </a:cxn>
              <a:cxn ang="0">
                <a:pos x="302" y="868"/>
              </a:cxn>
              <a:cxn ang="0">
                <a:pos x="338" y="871"/>
              </a:cxn>
              <a:cxn ang="0">
                <a:pos x="367" y="866"/>
              </a:cxn>
              <a:cxn ang="0">
                <a:pos x="389" y="856"/>
              </a:cxn>
              <a:cxn ang="0">
                <a:pos x="405" y="842"/>
              </a:cxn>
              <a:cxn ang="0">
                <a:pos x="432" y="807"/>
              </a:cxn>
              <a:cxn ang="0">
                <a:pos x="460" y="773"/>
              </a:cxn>
              <a:cxn ang="0">
                <a:pos x="477" y="760"/>
              </a:cxn>
              <a:cxn ang="0">
                <a:pos x="502" y="752"/>
              </a:cxn>
              <a:cxn ang="0">
                <a:pos x="521" y="745"/>
              </a:cxn>
              <a:cxn ang="0">
                <a:pos x="499" y="697"/>
              </a:cxn>
              <a:cxn ang="0">
                <a:pos x="484" y="653"/>
              </a:cxn>
              <a:cxn ang="0">
                <a:pos x="472" y="623"/>
              </a:cxn>
              <a:cxn ang="0">
                <a:pos x="481" y="610"/>
              </a:cxn>
              <a:cxn ang="0">
                <a:pos x="487" y="579"/>
              </a:cxn>
              <a:cxn ang="0">
                <a:pos x="494" y="541"/>
              </a:cxn>
              <a:cxn ang="0">
                <a:pos x="505" y="519"/>
              </a:cxn>
              <a:cxn ang="0">
                <a:pos x="532" y="486"/>
              </a:cxn>
              <a:cxn ang="0">
                <a:pos x="570" y="461"/>
              </a:cxn>
              <a:cxn ang="0">
                <a:pos x="129" y="0"/>
              </a:cxn>
              <a:cxn ang="0">
                <a:pos x="98" y="5"/>
              </a:cxn>
              <a:cxn ang="0">
                <a:pos x="69" y="24"/>
              </a:cxn>
            </a:cxnLst>
            <a:rect l="0" t="0" r="r" b="b"/>
            <a:pathLst>
              <a:path w="581" h="955">
                <a:moveTo>
                  <a:pt x="69" y="24"/>
                </a:moveTo>
                <a:lnTo>
                  <a:pt x="69" y="97"/>
                </a:lnTo>
                <a:lnTo>
                  <a:pt x="81" y="115"/>
                </a:lnTo>
                <a:lnTo>
                  <a:pt x="91" y="129"/>
                </a:lnTo>
                <a:lnTo>
                  <a:pt x="99" y="141"/>
                </a:lnTo>
                <a:lnTo>
                  <a:pt x="104" y="152"/>
                </a:lnTo>
                <a:lnTo>
                  <a:pt x="107" y="163"/>
                </a:lnTo>
                <a:lnTo>
                  <a:pt x="110" y="172"/>
                </a:lnTo>
                <a:lnTo>
                  <a:pt x="111" y="180"/>
                </a:lnTo>
                <a:lnTo>
                  <a:pt x="110" y="186"/>
                </a:lnTo>
                <a:lnTo>
                  <a:pt x="102" y="209"/>
                </a:lnTo>
                <a:lnTo>
                  <a:pt x="95" y="234"/>
                </a:lnTo>
                <a:lnTo>
                  <a:pt x="96" y="276"/>
                </a:lnTo>
                <a:lnTo>
                  <a:pt x="96" y="309"/>
                </a:lnTo>
                <a:lnTo>
                  <a:pt x="96" y="325"/>
                </a:lnTo>
                <a:lnTo>
                  <a:pt x="96" y="339"/>
                </a:lnTo>
                <a:lnTo>
                  <a:pt x="95" y="351"/>
                </a:lnTo>
                <a:lnTo>
                  <a:pt x="93" y="363"/>
                </a:lnTo>
                <a:lnTo>
                  <a:pt x="91" y="374"/>
                </a:lnTo>
                <a:lnTo>
                  <a:pt x="87" y="386"/>
                </a:lnTo>
                <a:lnTo>
                  <a:pt x="82" y="396"/>
                </a:lnTo>
                <a:lnTo>
                  <a:pt x="76" y="407"/>
                </a:lnTo>
                <a:lnTo>
                  <a:pt x="69" y="418"/>
                </a:lnTo>
                <a:lnTo>
                  <a:pt x="59" y="429"/>
                </a:lnTo>
                <a:lnTo>
                  <a:pt x="48" y="442"/>
                </a:lnTo>
                <a:lnTo>
                  <a:pt x="36" y="455"/>
                </a:lnTo>
                <a:lnTo>
                  <a:pt x="31" y="461"/>
                </a:lnTo>
                <a:lnTo>
                  <a:pt x="26" y="467"/>
                </a:lnTo>
                <a:lnTo>
                  <a:pt x="22" y="474"/>
                </a:lnTo>
                <a:lnTo>
                  <a:pt x="17" y="481"/>
                </a:lnTo>
                <a:lnTo>
                  <a:pt x="12" y="496"/>
                </a:lnTo>
                <a:lnTo>
                  <a:pt x="8" y="512"/>
                </a:lnTo>
                <a:lnTo>
                  <a:pt x="2" y="542"/>
                </a:lnTo>
                <a:lnTo>
                  <a:pt x="0" y="568"/>
                </a:lnTo>
                <a:lnTo>
                  <a:pt x="29" y="578"/>
                </a:lnTo>
                <a:lnTo>
                  <a:pt x="69" y="616"/>
                </a:lnTo>
                <a:lnTo>
                  <a:pt x="51" y="632"/>
                </a:lnTo>
                <a:lnTo>
                  <a:pt x="60" y="633"/>
                </a:lnTo>
                <a:lnTo>
                  <a:pt x="69" y="634"/>
                </a:lnTo>
                <a:lnTo>
                  <a:pt x="70" y="643"/>
                </a:lnTo>
                <a:lnTo>
                  <a:pt x="72" y="653"/>
                </a:lnTo>
                <a:lnTo>
                  <a:pt x="74" y="665"/>
                </a:lnTo>
                <a:lnTo>
                  <a:pt x="76" y="677"/>
                </a:lnTo>
                <a:lnTo>
                  <a:pt x="74" y="686"/>
                </a:lnTo>
                <a:lnTo>
                  <a:pt x="74" y="696"/>
                </a:lnTo>
                <a:lnTo>
                  <a:pt x="74" y="705"/>
                </a:lnTo>
                <a:lnTo>
                  <a:pt x="76" y="715"/>
                </a:lnTo>
                <a:lnTo>
                  <a:pt x="78" y="733"/>
                </a:lnTo>
                <a:lnTo>
                  <a:pt x="82" y="749"/>
                </a:lnTo>
                <a:lnTo>
                  <a:pt x="88" y="764"/>
                </a:lnTo>
                <a:lnTo>
                  <a:pt x="94" y="778"/>
                </a:lnTo>
                <a:lnTo>
                  <a:pt x="98" y="783"/>
                </a:lnTo>
                <a:lnTo>
                  <a:pt x="102" y="788"/>
                </a:lnTo>
                <a:lnTo>
                  <a:pt x="105" y="792"/>
                </a:lnTo>
                <a:lnTo>
                  <a:pt x="109" y="794"/>
                </a:lnTo>
                <a:lnTo>
                  <a:pt x="92" y="794"/>
                </a:lnTo>
                <a:lnTo>
                  <a:pt x="68" y="794"/>
                </a:lnTo>
                <a:lnTo>
                  <a:pt x="56" y="796"/>
                </a:lnTo>
                <a:lnTo>
                  <a:pt x="46" y="799"/>
                </a:lnTo>
                <a:lnTo>
                  <a:pt x="42" y="802"/>
                </a:lnTo>
                <a:lnTo>
                  <a:pt x="38" y="805"/>
                </a:lnTo>
                <a:lnTo>
                  <a:pt x="36" y="808"/>
                </a:lnTo>
                <a:lnTo>
                  <a:pt x="36" y="812"/>
                </a:lnTo>
                <a:lnTo>
                  <a:pt x="36" y="824"/>
                </a:lnTo>
                <a:lnTo>
                  <a:pt x="38" y="834"/>
                </a:lnTo>
                <a:lnTo>
                  <a:pt x="42" y="842"/>
                </a:lnTo>
                <a:lnTo>
                  <a:pt x="46" y="850"/>
                </a:lnTo>
                <a:lnTo>
                  <a:pt x="57" y="863"/>
                </a:lnTo>
                <a:lnTo>
                  <a:pt x="69" y="876"/>
                </a:lnTo>
                <a:lnTo>
                  <a:pt x="76" y="884"/>
                </a:lnTo>
                <a:lnTo>
                  <a:pt x="81" y="891"/>
                </a:lnTo>
                <a:lnTo>
                  <a:pt x="87" y="899"/>
                </a:lnTo>
                <a:lnTo>
                  <a:pt x="92" y="907"/>
                </a:lnTo>
                <a:lnTo>
                  <a:pt x="96" y="917"/>
                </a:lnTo>
                <a:lnTo>
                  <a:pt x="100" y="927"/>
                </a:lnTo>
                <a:lnTo>
                  <a:pt x="102" y="941"/>
                </a:lnTo>
                <a:lnTo>
                  <a:pt x="102" y="955"/>
                </a:lnTo>
                <a:lnTo>
                  <a:pt x="156" y="955"/>
                </a:lnTo>
                <a:lnTo>
                  <a:pt x="166" y="949"/>
                </a:lnTo>
                <a:lnTo>
                  <a:pt x="177" y="945"/>
                </a:lnTo>
                <a:lnTo>
                  <a:pt x="189" y="942"/>
                </a:lnTo>
                <a:lnTo>
                  <a:pt x="201" y="939"/>
                </a:lnTo>
                <a:lnTo>
                  <a:pt x="225" y="935"/>
                </a:lnTo>
                <a:lnTo>
                  <a:pt x="248" y="929"/>
                </a:lnTo>
                <a:lnTo>
                  <a:pt x="259" y="927"/>
                </a:lnTo>
                <a:lnTo>
                  <a:pt x="270" y="924"/>
                </a:lnTo>
                <a:lnTo>
                  <a:pt x="279" y="921"/>
                </a:lnTo>
                <a:lnTo>
                  <a:pt x="286" y="916"/>
                </a:lnTo>
                <a:lnTo>
                  <a:pt x="293" y="911"/>
                </a:lnTo>
                <a:lnTo>
                  <a:pt x="297" y="904"/>
                </a:lnTo>
                <a:lnTo>
                  <a:pt x="300" y="901"/>
                </a:lnTo>
                <a:lnTo>
                  <a:pt x="301" y="896"/>
                </a:lnTo>
                <a:lnTo>
                  <a:pt x="302" y="892"/>
                </a:lnTo>
                <a:lnTo>
                  <a:pt x="302" y="887"/>
                </a:lnTo>
                <a:lnTo>
                  <a:pt x="302" y="877"/>
                </a:lnTo>
                <a:lnTo>
                  <a:pt x="302" y="868"/>
                </a:lnTo>
                <a:lnTo>
                  <a:pt x="315" y="870"/>
                </a:lnTo>
                <a:lnTo>
                  <a:pt x="327" y="871"/>
                </a:lnTo>
                <a:lnTo>
                  <a:pt x="338" y="871"/>
                </a:lnTo>
                <a:lnTo>
                  <a:pt x="348" y="870"/>
                </a:lnTo>
                <a:lnTo>
                  <a:pt x="358" y="868"/>
                </a:lnTo>
                <a:lnTo>
                  <a:pt x="367" y="866"/>
                </a:lnTo>
                <a:lnTo>
                  <a:pt x="374" y="863"/>
                </a:lnTo>
                <a:lnTo>
                  <a:pt x="382" y="860"/>
                </a:lnTo>
                <a:lnTo>
                  <a:pt x="389" y="856"/>
                </a:lnTo>
                <a:lnTo>
                  <a:pt x="394" y="852"/>
                </a:lnTo>
                <a:lnTo>
                  <a:pt x="401" y="847"/>
                </a:lnTo>
                <a:lnTo>
                  <a:pt x="405" y="842"/>
                </a:lnTo>
                <a:lnTo>
                  <a:pt x="415" y="831"/>
                </a:lnTo>
                <a:lnTo>
                  <a:pt x="424" y="818"/>
                </a:lnTo>
                <a:lnTo>
                  <a:pt x="432" y="807"/>
                </a:lnTo>
                <a:lnTo>
                  <a:pt x="440" y="795"/>
                </a:lnTo>
                <a:lnTo>
                  <a:pt x="449" y="783"/>
                </a:lnTo>
                <a:lnTo>
                  <a:pt x="460" y="773"/>
                </a:lnTo>
                <a:lnTo>
                  <a:pt x="465" y="769"/>
                </a:lnTo>
                <a:lnTo>
                  <a:pt x="471" y="764"/>
                </a:lnTo>
                <a:lnTo>
                  <a:pt x="477" y="760"/>
                </a:lnTo>
                <a:lnTo>
                  <a:pt x="485" y="757"/>
                </a:lnTo>
                <a:lnTo>
                  <a:pt x="493" y="754"/>
                </a:lnTo>
                <a:lnTo>
                  <a:pt x="502" y="752"/>
                </a:lnTo>
                <a:lnTo>
                  <a:pt x="510" y="751"/>
                </a:lnTo>
                <a:lnTo>
                  <a:pt x="521" y="751"/>
                </a:lnTo>
                <a:lnTo>
                  <a:pt x="521" y="745"/>
                </a:lnTo>
                <a:lnTo>
                  <a:pt x="511" y="729"/>
                </a:lnTo>
                <a:lnTo>
                  <a:pt x="505" y="713"/>
                </a:lnTo>
                <a:lnTo>
                  <a:pt x="499" y="697"/>
                </a:lnTo>
                <a:lnTo>
                  <a:pt x="494" y="682"/>
                </a:lnTo>
                <a:lnTo>
                  <a:pt x="490" y="667"/>
                </a:lnTo>
                <a:lnTo>
                  <a:pt x="484" y="653"/>
                </a:lnTo>
                <a:lnTo>
                  <a:pt x="476" y="640"/>
                </a:lnTo>
                <a:lnTo>
                  <a:pt x="468" y="628"/>
                </a:lnTo>
                <a:lnTo>
                  <a:pt x="472" y="623"/>
                </a:lnTo>
                <a:lnTo>
                  <a:pt x="476" y="619"/>
                </a:lnTo>
                <a:lnTo>
                  <a:pt x="479" y="614"/>
                </a:lnTo>
                <a:lnTo>
                  <a:pt x="481" y="610"/>
                </a:lnTo>
                <a:lnTo>
                  <a:pt x="484" y="599"/>
                </a:lnTo>
                <a:lnTo>
                  <a:pt x="486" y="589"/>
                </a:lnTo>
                <a:lnTo>
                  <a:pt x="487" y="579"/>
                </a:lnTo>
                <a:lnTo>
                  <a:pt x="488" y="567"/>
                </a:lnTo>
                <a:lnTo>
                  <a:pt x="491" y="555"/>
                </a:lnTo>
                <a:lnTo>
                  <a:pt x="494" y="541"/>
                </a:lnTo>
                <a:lnTo>
                  <a:pt x="497" y="533"/>
                </a:lnTo>
                <a:lnTo>
                  <a:pt x="501" y="526"/>
                </a:lnTo>
                <a:lnTo>
                  <a:pt x="505" y="519"/>
                </a:lnTo>
                <a:lnTo>
                  <a:pt x="509" y="512"/>
                </a:lnTo>
                <a:lnTo>
                  <a:pt x="520" y="499"/>
                </a:lnTo>
                <a:lnTo>
                  <a:pt x="532" y="486"/>
                </a:lnTo>
                <a:lnTo>
                  <a:pt x="546" y="476"/>
                </a:lnTo>
                <a:lnTo>
                  <a:pt x="558" y="468"/>
                </a:lnTo>
                <a:lnTo>
                  <a:pt x="570" y="461"/>
                </a:lnTo>
                <a:lnTo>
                  <a:pt x="581" y="455"/>
                </a:lnTo>
                <a:lnTo>
                  <a:pt x="581" y="234"/>
                </a:lnTo>
                <a:lnTo>
                  <a:pt x="129" y="0"/>
                </a:lnTo>
                <a:lnTo>
                  <a:pt x="116" y="1"/>
                </a:lnTo>
                <a:lnTo>
                  <a:pt x="106" y="3"/>
                </a:lnTo>
                <a:lnTo>
                  <a:pt x="98" y="5"/>
                </a:lnTo>
                <a:lnTo>
                  <a:pt x="89" y="6"/>
                </a:lnTo>
                <a:lnTo>
                  <a:pt x="79" y="15"/>
                </a:lnTo>
                <a:lnTo>
                  <a:pt x="69" y="2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485" name="Freeform 437"/>
          <p:cNvSpPr>
            <a:spLocks/>
          </p:cNvSpPr>
          <p:nvPr>
            <p:custDataLst>
              <p:tags r:id="rId278"/>
            </p:custDataLst>
          </p:nvPr>
        </p:nvSpPr>
        <p:spPr bwMode="auto">
          <a:xfrm>
            <a:off x="4030663" y="1733554"/>
            <a:ext cx="15875" cy="42863"/>
          </a:xfrm>
          <a:custGeom>
            <a:avLst/>
            <a:gdLst/>
            <a:ahLst/>
            <a:cxnLst>
              <a:cxn ang="0">
                <a:pos x="26" y="0"/>
              </a:cxn>
              <a:cxn ang="0">
                <a:pos x="0" y="18"/>
              </a:cxn>
              <a:cxn ang="0">
                <a:pos x="23" y="36"/>
              </a:cxn>
              <a:cxn ang="0">
                <a:pos x="45" y="15"/>
              </a:cxn>
              <a:cxn ang="0">
                <a:pos x="26" y="0"/>
              </a:cxn>
            </a:cxnLst>
            <a:rect l="0" t="0" r="r" b="b"/>
            <a:pathLst>
              <a:path w="45" h="36">
                <a:moveTo>
                  <a:pt x="26" y="0"/>
                </a:moveTo>
                <a:lnTo>
                  <a:pt x="0" y="18"/>
                </a:lnTo>
                <a:lnTo>
                  <a:pt x="23" y="36"/>
                </a:lnTo>
                <a:lnTo>
                  <a:pt x="45" y="15"/>
                </a:lnTo>
                <a:lnTo>
                  <a:pt x="26" y="0"/>
                </a:lnTo>
                <a:close/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grpSp>
        <p:nvGrpSpPr>
          <p:cNvPr id="15" name="Group 438"/>
          <p:cNvGrpSpPr>
            <a:grpSpLocks/>
          </p:cNvGrpSpPr>
          <p:nvPr>
            <p:custDataLst>
              <p:tags r:id="rId279"/>
            </p:custDataLst>
          </p:nvPr>
        </p:nvGrpSpPr>
        <p:grpSpPr bwMode="auto">
          <a:xfrm>
            <a:off x="2330457" y="3278988"/>
            <a:ext cx="384175" cy="773906"/>
            <a:chOff x="1589" y="3126"/>
            <a:chExt cx="290" cy="657"/>
          </a:xfrm>
        </p:grpSpPr>
        <p:sp>
          <p:nvSpPr>
            <p:cNvPr id="2487" name="Freeform 439"/>
            <p:cNvSpPr>
              <a:spLocks/>
            </p:cNvSpPr>
            <p:nvPr/>
          </p:nvSpPr>
          <p:spPr bwMode="auto">
            <a:xfrm>
              <a:off x="1748" y="3531"/>
              <a:ext cx="15" cy="17"/>
            </a:xfrm>
            <a:custGeom>
              <a:avLst/>
              <a:gdLst/>
              <a:ahLst/>
              <a:cxnLst>
                <a:cxn ang="0">
                  <a:pos x="46" y="12"/>
                </a:cxn>
                <a:cxn ang="0">
                  <a:pos x="19" y="0"/>
                </a:cxn>
                <a:cxn ang="0">
                  <a:pos x="13" y="5"/>
                </a:cxn>
                <a:cxn ang="0">
                  <a:pos x="7" y="9"/>
                </a:cxn>
                <a:cxn ang="0">
                  <a:pos x="4" y="12"/>
                </a:cxn>
                <a:cxn ang="0">
                  <a:pos x="2" y="14"/>
                </a:cxn>
                <a:cxn ang="0">
                  <a:pos x="0" y="16"/>
                </a:cxn>
                <a:cxn ang="0">
                  <a:pos x="0" y="19"/>
                </a:cxn>
                <a:cxn ang="0">
                  <a:pos x="0" y="24"/>
                </a:cxn>
                <a:cxn ang="0">
                  <a:pos x="2" y="29"/>
                </a:cxn>
                <a:cxn ang="0">
                  <a:pos x="4" y="36"/>
                </a:cxn>
                <a:cxn ang="0">
                  <a:pos x="7" y="41"/>
                </a:cxn>
                <a:cxn ang="0">
                  <a:pos x="10" y="46"/>
                </a:cxn>
                <a:cxn ang="0">
                  <a:pos x="13" y="49"/>
                </a:cxn>
                <a:cxn ang="0">
                  <a:pos x="15" y="50"/>
                </a:cxn>
                <a:cxn ang="0">
                  <a:pos x="16" y="51"/>
                </a:cxn>
                <a:cxn ang="0">
                  <a:pos x="18" y="51"/>
                </a:cxn>
                <a:cxn ang="0">
                  <a:pos x="19" y="50"/>
                </a:cxn>
                <a:cxn ang="0">
                  <a:pos x="35" y="50"/>
                </a:cxn>
                <a:cxn ang="0">
                  <a:pos x="46" y="50"/>
                </a:cxn>
                <a:cxn ang="0">
                  <a:pos x="46" y="37"/>
                </a:cxn>
                <a:cxn ang="0">
                  <a:pos x="46" y="26"/>
                </a:cxn>
                <a:cxn ang="0">
                  <a:pos x="46" y="18"/>
                </a:cxn>
                <a:cxn ang="0">
                  <a:pos x="46" y="12"/>
                </a:cxn>
              </a:cxnLst>
              <a:rect l="0" t="0" r="r" b="b"/>
              <a:pathLst>
                <a:path w="46" h="51">
                  <a:moveTo>
                    <a:pt x="46" y="12"/>
                  </a:moveTo>
                  <a:lnTo>
                    <a:pt x="19" y="0"/>
                  </a:lnTo>
                  <a:lnTo>
                    <a:pt x="13" y="5"/>
                  </a:lnTo>
                  <a:lnTo>
                    <a:pt x="7" y="9"/>
                  </a:lnTo>
                  <a:lnTo>
                    <a:pt x="4" y="12"/>
                  </a:lnTo>
                  <a:lnTo>
                    <a:pt x="2" y="14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0" y="24"/>
                  </a:lnTo>
                  <a:lnTo>
                    <a:pt x="2" y="29"/>
                  </a:lnTo>
                  <a:lnTo>
                    <a:pt x="4" y="36"/>
                  </a:lnTo>
                  <a:lnTo>
                    <a:pt x="7" y="41"/>
                  </a:lnTo>
                  <a:lnTo>
                    <a:pt x="10" y="46"/>
                  </a:lnTo>
                  <a:lnTo>
                    <a:pt x="13" y="49"/>
                  </a:lnTo>
                  <a:lnTo>
                    <a:pt x="15" y="50"/>
                  </a:lnTo>
                  <a:lnTo>
                    <a:pt x="16" y="51"/>
                  </a:lnTo>
                  <a:lnTo>
                    <a:pt x="18" y="51"/>
                  </a:lnTo>
                  <a:lnTo>
                    <a:pt x="19" y="50"/>
                  </a:lnTo>
                  <a:lnTo>
                    <a:pt x="35" y="50"/>
                  </a:lnTo>
                  <a:lnTo>
                    <a:pt x="46" y="50"/>
                  </a:lnTo>
                  <a:lnTo>
                    <a:pt x="46" y="37"/>
                  </a:lnTo>
                  <a:lnTo>
                    <a:pt x="46" y="26"/>
                  </a:lnTo>
                  <a:lnTo>
                    <a:pt x="46" y="18"/>
                  </a:lnTo>
                  <a:lnTo>
                    <a:pt x="46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488" name="Freeform 440"/>
            <p:cNvSpPr>
              <a:spLocks/>
            </p:cNvSpPr>
            <p:nvPr/>
          </p:nvSpPr>
          <p:spPr bwMode="auto">
            <a:xfrm>
              <a:off x="1759" y="3730"/>
              <a:ext cx="63" cy="5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4"/>
                </a:cxn>
                <a:cxn ang="0">
                  <a:pos x="2" y="26"/>
                </a:cxn>
                <a:cxn ang="0">
                  <a:pos x="4" y="38"/>
                </a:cxn>
                <a:cxn ang="0">
                  <a:pos x="7" y="50"/>
                </a:cxn>
                <a:cxn ang="0">
                  <a:pos x="11" y="61"/>
                </a:cxn>
                <a:cxn ang="0">
                  <a:pos x="15" y="71"/>
                </a:cxn>
                <a:cxn ang="0">
                  <a:pos x="21" y="81"/>
                </a:cxn>
                <a:cxn ang="0">
                  <a:pos x="25" y="90"/>
                </a:cxn>
                <a:cxn ang="0">
                  <a:pos x="47" y="122"/>
                </a:cxn>
                <a:cxn ang="0">
                  <a:pos x="66" y="148"/>
                </a:cxn>
                <a:cxn ang="0">
                  <a:pos x="72" y="151"/>
                </a:cxn>
                <a:cxn ang="0">
                  <a:pos x="79" y="153"/>
                </a:cxn>
                <a:cxn ang="0">
                  <a:pos x="85" y="155"/>
                </a:cxn>
                <a:cxn ang="0">
                  <a:pos x="92" y="156"/>
                </a:cxn>
                <a:cxn ang="0">
                  <a:pos x="105" y="158"/>
                </a:cxn>
                <a:cxn ang="0">
                  <a:pos x="119" y="158"/>
                </a:cxn>
                <a:cxn ang="0">
                  <a:pos x="152" y="155"/>
                </a:cxn>
                <a:cxn ang="0">
                  <a:pos x="192" y="154"/>
                </a:cxn>
                <a:cxn ang="0">
                  <a:pos x="184" y="153"/>
                </a:cxn>
                <a:cxn ang="0">
                  <a:pos x="176" y="152"/>
                </a:cxn>
                <a:cxn ang="0">
                  <a:pos x="168" y="151"/>
                </a:cxn>
                <a:cxn ang="0">
                  <a:pos x="160" y="149"/>
                </a:cxn>
                <a:cxn ang="0">
                  <a:pos x="145" y="144"/>
                </a:cxn>
                <a:cxn ang="0">
                  <a:pos x="129" y="138"/>
                </a:cxn>
                <a:cxn ang="0">
                  <a:pos x="115" y="130"/>
                </a:cxn>
                <a:cxn ang="0">
                  <a:pos x="101" y="120"/>
                </a:cxn>
                <a:cxn ang="0">
                  <a:pos x="87" y="110"/>
                </a:cxn>
                <a:cxn ang="0">
                  <a:pos x="75" y="98"/>
                </a:cxn>
                <a:cxn ang="0">
                  <a:pos x="63" y="87"/>
                </a:cxn>
                <a:cxn ang="0">
                  <a:pos x="52" y="75"/>
                </a:cxn>
                <a:cxn ang="0">
                  <a:pos x="42" y="63"/>
                </a:cxn>
                <a:cxn ang="0">
                  <a:pos x="35" y="50"/>
                </a:cxn>
                <a:cxn ang="0">
                  <a:pos x="27" y="38"/>
                </a:cxn>
                <a:cxn ang="0">
                  <a:pos x="21" y="26"/>
                </a:cxn>
                <a:cxn ang="0">
                  <a:pos x="16" y="16"/>
                </a:cxn>
                <a:cxn ang="0">
                  <a:pos x="13" y="6"/>
                </a:cxn>
                <a:cxn ang="0">
                  <a:pos x="0" y="0"/>
                </a:cxn>
              </a:cxnLst>
              <a:rect l="0" t="0" r="r" b="b"/>
              <a:pathLst>
                <a:path w="192" h="158">
                  <a:moveTo>
                    <a:pt x="0" y="0"/>
                  </a:moveTo>
                  <a:lnTo>
                    <a:pt x="0" y="14"/>
                  </a:lnTo>
                  <a:lnTo>
                    <a:pt x="2" y="26"/>
                  </a:lnTo>
                  <a:lnTo>
                    <a:pt x="4" y="38"/>
                  </a:lnTo>
                  <a:lnTo>
                    <a:pt x="7" y="50"/>
                  </a:lnTo>
                  <a:lnTo>
                    <a:pt x="11" y="61"/>
                  </a:lnTo>
                  <a:lnTo>
                    <a:pt x="15" y="71"/>
                  </a:lnTo>
                  <a:lnTo>
                    <a:pt x="21" y="81"/>
                  </a:lnTo>
                  <a:lnTo>
                    <a:pt x="25" y="90"/>
                  </a:lnTo>
                  <a:lnTo>
                    <a:pt x="47" y="122"/>
                  </a:lnTo>
                  <a:lnTo>
                    <a:pt x="66" y="148"/>
                  </a:lnTo>
                  <a:lnTo>
                    <a:pt x="72" y="151"/>
                  </a:lnTo>
                  <a:lnTo>
                    <a:pt x="79" y="153"/>
                  </a:lnTo>
                  <a:lnTo>
                    <a:pt x="85" y="155"/>
                  </a:lnTo>
                  <a:lnTo>
                    <a:pt x="92" y="156"/>
                  </a:lnTo>
                  <a:lnTo>
                    <a:pt x="105" y="158"/>
                  </a:lnTo>
                  <a:lnTo>
                    <a:pt x="119" y="158"/>
                  </a:lnTo>
                  <a:lnTo>
                    <a:pt x="152" y="155"/>
                  </a:lnTo>
                  <a:lnTo>
                    <a:pt x="192" y="154"/>
                  </a:lnTo>
                  <a:lnTo>
                    <a:pt x="184" y="153"/>
                  </a:lnTo>
                  <a:lnTo>
                    <a:pt x="176" y="152"/>
                  </a:lnTo>
                  <a:lnTo>
                    <a:pt x="168" y="151"/>
                  </a:lnTo>
                  <a:lnTo>
                    <a:pt x="160" y="149"/>
                  </a:lnTo>
                  <a:lnTo>
                    <a:pt x="145" y="144"/>
                  </a:lnTo>
                  <a:lnTo>
                    <a:pt x="129" y="138"/>
                  </a:lnTo>
                  <a:lnTo>
                    <a:pt x="115" y="130"/>
                  </a:lnTo>
                  <a:lnTo>
                    <a:pt x="101" y="120"/>
                  </a:lnTo>
                  <a:lnTo>
                    <a:pt x="87" y="110"/>
                  </a:lnTo>
                  <a:lnTo>
                    <a:pt x="75" y="98"/>
                  </a:lnTo>
                  <a:lnTo>
                    <a:pt x="63" y="87"/>
                  </a:lnTo>
                  <a:lnTo>
                    <a:pt x="52" y="75"/>
                  </a:lnTo>
                  <a:lnTo>
                    <a:pt x="42" y="63"/>
                  </a:lnTo>
                  <a:lnTo>
                    <a:pt x="35" y="50"/>
                  </a:lnTo>
                  <a:lnTo>
                    <a:pt x="27" y="38"/>
                  </a:lnTo>
                  <a:lnTo>
                    <a:pt x="21" y="26"/>
                  </a:lnTo>
                  <a:lnTo>
                    <a:pt x="16" y="16"/>
                  </a:lnTo>
                  <a:lnTo>
                    <a:pt x="13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489" name="Freeform 441"/>
            <p:cNvSpPr>
              <a:spLocks/>
            </p:cNvSpPr>
            <p:nvPr/>
          </p:nvSpPr>
          <p:spPr bwMode="auto">
            <a:xfrm>
              <a:off x="1589" y="3126"/>
              <a:ext cx="290" cy="606"/>
            </a:xfrm>
            <a:custGeom>
              <a:avLst/>
              <a:gdLst/>
              <a:ahLst/>
              <a:cxnLst>
                <a:cxn ang="0">
                  <a:pos x="772" y="415"/>
                </a:cxn>
                <a:cxn ang="0">
                  <a:pos x="873" y="342"/>
                </a:cxn>
                <a:cxn ang="0">
                  <a:pos x="884" y="232"/>
                </a:cxn>
                <a:cxn ang="0">
                  <a:pos x="840" y="192"/>
                </a:cxn>
                <a:cxn ang="0">
                  <a:pos x="841" y="262"/>
                </a:cxn>
                <a:cxn ang="0">
                  <a:pos x="774" y="328"/>
                </a:cxn>
                <a:cxn ang="0">
                  <a:pos x="667" y="331"/>
                </a:cxn>
                <a:cxn ang="0">
                  <a:pos x="625" y="290"/>
                </a:cxn>
                <a:cxn ang="0">
                  <a:pos x="658" y="215"/>
                </a:cxn>
                <a:cxn ang="0">
                  <a:pos x="544" y="148"/>
                </a:cxn>
                <a:cxn ang="0">
                  <a:pos x="425" y="87"/>
                </a:cxn>
                <a:cxn ang="0">
                  <a:pos x="373" y="10"/>
                </a:cxn>
                <a:cxn ang="0">
                  <a:pos x="286" y="22"/>
                </a:cxn>
                <a:cxn ang="0">
                  <a:pos x="234" y="24"/>
                </a:cxn>
                <a:cxn ang="0">
                  <a:pos x="171" y="8"/>
                </a:cxn>
                <a:cxn ang="0">
                  <a:pos x="98" y="54"/>
                </a:cxn>
                <a:cxn ang="0">
                  <a:pos x="67" y="116"/>
                </a:cxn>
                <a:cxn ang="0">
                  <a:pos x="27" y="179"/>
                </a:cxn>
                <a:cxn ang="0">
                  <a:pos x="55" y="251"/>
                </a:cxn>
                <a:cxn ang="0">
                  <a:pos x="51" y="319"/>
                </a:cxn>
                <a:cxn ang="0">
                  <a:pos x="0" y="432"/>
                </a:cxn>
                <a:cxn ang="0">
                  <a:pos x="12" y="609"/>
                </a:cxn>
                <a:cxn ang="0">
                  <a:pos x="76" y="696"/>
                </a:cxn>
                <a:cxn ang="0">
                  <a:pos x="60" y="753"/>
                </a:cxn>
                <a:cxn ang="0">
                  <a:pos x="60" y="808"/>
                </a:cxn>
                <a:cxn ang="0">
                  <a:pos x="81" y="850"/>
                </a:cxn>
                <a:cxn ang="0">
                  <a:pos x="53" y="900"/>
                </a:cxn>
                <a:cxn ang="0">
                  <a:pos x="82" y="983"/>
                </a:cxn>
                <a:cxn ang="0">
                  <a:pos x="81" y="1055"/>
                </a:cxn>
                <a:cxn ang="0">
                  <a:pos x="78" y="1152"/>
                </a:cxn>
                <a:cxn ang="0">
                  <a:pos x="137" y="1265"/>
                </a:cxn>
                <a:cxn ang="0">
                  <a:pos x="198" y="1394"/>
                </a:cxn>
                <a:cxn ang="0">
                  <a:pos x="217" y="1463"/>
                </a:cxn>
                <a:cxn ang="0">
                  <a:pos x="230" y="1526"/>
                </a:cxn>
                <a:cxn ang="0">
                  <a:pos x="213" y="1590"/>
                </a:cxn>
                <a:cxn ang="0">
                  <a:pos x="201" y="1644"/>
                </a:cxn>
                <a:cxn ang="0">
                  <a:pos x="228" y="1718"/>
                </a:cxn>
                <a:cxn ang="0">
                  <a:pos x="311" y="1772"/>
                </a:cxn>
                <a:cxn ang="0">
                  <a:pos x="392" y="1798"/>
                </a:cxn>
                <a:cxn ang="0">
                  <a:pos x="451" y="1786"/>
                </a:cxn>
                <a:cxn ang="0">
                  <a:pos x="454" y="1703"/>
                </a:cxn>
                <a:cxn ang="0">
                  <a:pos x="470" y="1612"/>
                </a:cxn>
                <a:cxn ang="0">
                  <a:pos x="495" y="1509"/>
                </a:cxn>
                <a:cxn ang="0">
                  <a:pos x="420" y="1486"/>
                </a:cxn>
                <a:cxn ang="0">
                  <a:pos x="401" y="1430"/>
                </a:cxn>
                <a:cxn ang="0">
                  <a:pos x="453" y="1395"/>
                </a:cxn>
                <a:cxn ang="0">
                  <a:pos x="484" y="1332"/>
                </a:cxn>
                <a:cxn ang="0">
                  <a:pos x="455" y="1224"/>
                </a:cxn>
                <a:cxn ang="0">
                  <a:pos x="425" y="1141"/>
                </a:cxn>
                <a:cxn ang="0">
                  <a:pos x="518" y="1166"/>
                </a:cxn>
                <a:cxn ang="0">
                  <a:pos x="568" y="1151"/>
                </a:cxn>
                <a:cxn ang="0">
                  <a:pos x="558" y="1078"/>
                </a:cxn>
                <a:cxn ang="0">
                  <a:pos x="565" y="1030"/>
                </a:cxn>
                <a:cxn ang="0">
                  <a:pos x="676" y="1023"/>
                </a:cxn>
                <a:cxn ang="0">
                  <a:pos x="795" y="973"/>
                </a:cxn>
                <a:cxn ang="0">
                  <a:pos x="816" y="882"/>
                </a:cxn>
                <a:cxn ang="0">
                  <a:pos x="781" y="852"/>
                </a:cxn>
                <a:cxn ang="0">
                  <a:pos x="758" y="810"/>
                </a:cxn>
                <a:cxn ang="0">
                  <a:pos x="692" y="752"/>
                </a:cxn>
                <a:cxn ang="0">
                  <a:pos x="701" y="532"/>
                </a:cxn>
              </a:cxnLst>
              <a:rect l="0" t="0" r="r" b="b"/>
              <a:pathLst>
                <a:path w="884" h="1818">
                  <a:moveTo>
                    <a:pt x="725" y="493"/>
                  </a:moveTo>
                  <a:lnTo>
                    <a:pt x="726" y="484"/>
                  </a:lnTo>
                  <a:lnTo>
                    <a:pt x="729" y="474"/>
                  </a:lnTo>
                  <a:lnTo>
                    <a:pt x="735" y="462"/>
                  </a:lnTo>
                  <a:lnTo>
                    <a:pt x="742" y="450"/>
                  </a:lnTo>
                  <a:lnTo>
                    <a:pt x="750" y="438"/>
                  </a:lnTo>
                  <a:lnTo>
                    <a:pt x="761" y="427"/>
                  </a:lnTo>
                  <a:lnTo>
                    <a:pt x="772" y="415"/>
                  </a:lnTo>
                  <a:lnTo>
                    <a:pt x="784" y="402"/>
                  </a:lnTo>
                  <a:lnTo>
                    <a:pt x="798" y="391"/>
                  </a:lnTo>
                  <a:lnTo>
                    <a:pt x="811" y="381"/>
                  </a:lnTo>
                  <a:lnTo>
                    <a:pt x="824" y="371"/>
                  </a:lnTo>
                  <a:lnTo>
                    <a:pt x="837" y="362"/>
                  </a:lnTo>
                  <a:lnTo>
                    <a:pt x="849" y="353"/>
                  </a:lnTo>
                  <a:lnTo>
                    <a:pt x="862" y="347"/>
                  </a:lnTo>
                  <a:lnTo>
                    <a:pt x="873" y="342"/>
                  </a:lnTo>
                  <a:lnTo>
                    <a:pt x="884" y="339"/>
                  </a:lnTo>
                  <a:lnTo>
                    <a:pt x="884" y="329"/>
                  </a:lnTo>
                  <a:lnTo>
                    <a:pt x="884" y="310"/>
                  </a:lnTo>
                  <a:lnTo>
                    <a:pt x="884" y="289"/>
                  </a:lnTo>
                  <a:lnTo>
                    <a:pt x="884" y="272"/>
                  </a:lnTo>
                  <a:lnTo>
                    <a:pt x="884" y="259"/>
                  </a:lnTo>
                  <a:lnTo>
                    <a:pt x="884" y="247"/>
                  </a:lnTo>
                  <a:lnTo>
                    <a:pt x="884" y="232"/>
                  </a:lnTo>
                  <a:lnTo>
                    <a:pt x="884" y="216"/>
                  </a:lnTo>
                  <a:lnTo>
                    <a:pt x="874" y="216"/>
                  </a:lnTo>
                  <a:lnTo>
                    <a:pt x="867" y="214"/>
                  </a:lnTo>
                  <a:lnTo>
                    <a:pt x="859" y="211"/>
                  </a:lnTo>
                  <a:lnTo>
                    <a:pt x="854" y="208"/>
                  </a:lnTo>
                  <a:lnTo>
                    <a:pt x="848" y="203"/>
                  </a:lnTo>
                  <a:lnTo>
                    <a:pt x="844" y="198"/>
                  </a:lnTo>
                  <a:lnTo>
                    <a:pt x="840" y="192"/>
                  </a:lnTo>
                  <a:lnTo>
                    <a:pt x="837" y="185"/>
                  </a:lnTo>
                  <a:lnTo>
                    <a:pt x="837" y="222"/>
                  </a:lnTo>
                  <a:lnTo>
                    <a:pt x="840" y="227"/>
                  </a:lnTo>
                  <a:lnTo>
                    <a:pt x="843" y="231"/>
                  </a:lnTo>
                  <a:lnTo>
                    <a:pt x="844" y="236"/>
                  </a:lnTo>
                  <a:lnTo>
                    <a:pt x="845" y="241"/>
                  </a:lnTo>
                  <a:lnTo>
                    <a:pt x="844" y="252"/>
                  </a:lnTo>
                  <a:lnTo>
                    <a:pt x="841" y="262"/>
                  </a:lnTo>
                  <a:lnTo>
                    <a:pt x="837" y="271"/>
                  </a:lnTo>
                  <a:lnTo>
                    <a:pt x="832" y="281"/>
                  </a:lnTo>
                  <a:lnTo>
                    <a:pt x="824" y="290"/>
                  </a:lnTo>
                  <a:lnTo>
                    <a:pt x="815" y="299"/>
                  </a:lnTo>
                  <a:lnTo>
                    <a:pt x="805" y="308"/>
                  </a:lnTo>
                  <a:lnTo>
                    <a:pt x="795" y="316"/>
                  </a:lnTo>
                  <a:lnTo>
                    <a:pt x="785" y="322"/>
                  </a:lnTo>
                  <a:lnTo>
                    <a:pt x="774" y="328"/>
                  </a:lnTo>
                  <a:lnTo>
                    <a:pt x="765" y="333"/>
                  </a:lnTo>
                  <a:lnTo>
                    <a:pt x="755" y="336"/>
                  </a:lnTo>
                  <a:lnTo>
                    <a:pt x="746" y="338"/>
                  </a:lnTo>
                  <a:lnTo>
                    <a:pt x="738" y="339"/>
                  </a:lnTo>
                  <a:lnTo>
                    <a:pt x="722" y="339"/>
                  </a:lnTo>
                  <a:lnTo>
                    <a:pt x="703" y="338"/>
                  </a:lnTo>
                  <a:lnTo>
                    <a:pt x="684" y="335"/>
                  </a:lnTo>
                  <a:lnTo>
                    <a:pt x="667" y="331"/>
                  </a:lnTo>
                  <a:lnTo>
                    <a:pt x="658" y="328"/>
                  </a:lnTo>
                  <a:lnTo>
                    <a:pt x="650" y="325"/>
                  </a:lnTo>
                  <a:lnTo>
                    <a:pt x="643" y="321"/>
                  </a:lnTo>
                  <a:lnTo>
                    <a:pt x="637" y="316"/>
                  </a:lnTo>
                  <a:lnTo>
                    <a:pt x="632" y="311"/>
                  </a:lnTo>
                  <a:lnTo>
                    <a:pt x="628" y="305"/>
                  </a:lnTo>
                  <a:lnTo>
                    <a:pt x="625" y="297"/>
                  </a:lnTo>
                  <a:lnTo>
                    <a:pt x="625" y="290"/>
                  </a:lnTo>
                  <a:lnTo>
                    <a:pt x="625" y="283"/>
                  </a:lnTo>
                  <a:lnTo>
                    <a:pt x="626" y="277"/>
                  </a:lnTo>
                  <a:lnTo>
                    <a:pt x="628" y="270"/>
                  </a:lnTo>
                  <a:lnTo>
                    <a:pt x="631" y="264"/>
                  </a:lnTo>
                  <a:lnTo>
                    <a:pt x="636" y="252"/>
                  </a:lnTo>
                  <a:lnTo>
                    <a:pt x="643" y="240"/>
                  </a:lnTo>
                  <a:lnTo>
                    <a:pt x="650" y="228"/>
                  </a:lnTo>
                  <a:lnTo>
                    <a:pt x="658" y="215"/>
                  </a:lnTo>
                  <a:lnTo>
                    <a:pt x="666" y="201"/>
                  </a:lnTo>
                  <a:lnTo>
                    <a:pt x="671" y="185"/>
                  </a:lnTo>
                  <a:lnTo>
                    <a:pt x="654" y="178"/>
                  </a:lnTo>
                  <a:lnTo>
                    <a:pt x="637" y="172"/>
                  </a:lnTo>
                  <a:lnTo>
                    <a:pt x="621" y="166"/>
                  </a:lnTo>
                  <a:lnTo>
                    <a:pt x="605" y="162"/>
                  </a:lnTo>
                  <a:lnTo>
                    <a:pt x="574" y="155"/>
                  </a:lnTo>
                  <a:lnTo>
                    <a:pt x="544" y="148"/>
                  </a:lnTo>
                  <a:lnTo>
                    <a:pt x="529" y="144"/>
                  </a:lnTo>
                  <a:lnTo>
                    <a:pt x="514" y="139"/>
                  </a:lnTo>
                  <a:lnTo>
                    <a:pt x="499" y="133"/>
                  </a:lnTo>
                  <a:lnTo>
                    <a:pt x="485" y="127"/>
                  </a:lnTo>
                  <a:lnTo>
                    <a:pt x="470" y="119"/>
                  </a:lnTo>
                  <a:lnTo>
                    <a:pt x="455" y="110"/>
                  </a:lnTo>
                  <a:lnTo>
                    <a:pt x="441" y="100"/>
                  </a:lnTo>
                  <a:lnTo>
                    <a:pt x="425" y="87"/>
                  </a:lnTo>
                  <a:lnTo>
                    <a:pt x="417" y="76"/>
                  </a:lnTo>
                  <a:lnTo>
                    <a:pt x="410" y="66"/>
                  </a:lnTo>
                  <a:lnTo>
                    <a:pt x="403" y="55"/>
                  </a:lnTo>
                  <a:lnTo>
                    <a:pt x="398" y="44"/>
                  </a:lnTo>
                  <a:lnTo>
                    <a:pt x="390" y="32"/>
                  </a:lnTo>
                  <a:lnTo>
                    <a:pt x="383" y="20"/>
                  </a:lnTo>
                  <a:lnTo>
                    <a:pt x="378" y="15"/>
                  </a:lnTo>
                  <a:lnTo>
                    <a:pt x="373" y="10"/>
                  </a:lnTo>
                  <a:lnTo>
                    <a:pt x="366" y="5"/>
                  </a:lnTo>
                  <a:lnTo>
                    <a:pt x="359" y="0"/>
                  </a:lnTo>
                  <a:lnTo>
                    <a:pt x="332" y="6"/>
                  </a:lnTo>
                  <a:lnTo>
                    <a:pt x="308" y="11"/>
                  </a:lnTo>
                  <a:lnTo>
                    <a:pt x="302" y="13"/>
                  </a:lnTo>
                  <a:lnTo>
                    <a:pt x="297" y="15"/>
                  </a:lnTo>
                  <a:lnTo>
                    <a:pt x="291" y="19"/>
                  </a:lnTo>
                  <a:lnTo>
                    <a:pt x="286" y="22"/>
                  </a:lnTo>
                  <a:lnTo>
                    <a:pt x="281" y="28"/>
                  </a:lnTo>
                  <a:lnTo>
                    <a:pt x="276" y="34"/>
                  </a:lnTo>
                  <a:lnTo>
                    <a:pt x="272" y="41"/>
                  </a:lnTo>
                  <a:lnTo>
                    <a:pt x="266" y="50"/>
                  </a:lnTo>
                  <a:lnTo>
                    <a:pt x="257" y="44"/>
                  </a:lnTo>
                  <a:lnTo>
                    <a:pt x="249" y="38"/>
                  </a:lnTo>
                  <a:lnTo>
                    <a:pt x="242" y="31"/>
                  </a:lnTo>
                  <a:lnTo>
                    <a:pt x="234" y="24"/>
                  </a:lnTo>
                  <a:lnTo>
                    <a:pt x="225" y="17"/>
                  </a:lnTo>
                  <a:lnTo>
                    <a:pt x="215" y="11"/>
                  </a:lnTo>
                  <a:lnTo>
                    <a:pt x="209" y="9"/>
                  </a:lnTo>
                  <a:lnTo>
                    <a:pt x="202" y="8"/>
                  </a:lnTo>
                  <a:lnTo>
                    <a:pt x="195" y="7"/>
                  </a:lnTo>
                  <a:lnTo>
                    <a:pt x="186" y="6"/>
                  </a:lnTo>
                  <a:lnTo>
                    <a:pt x="178" y="7"/>
                  </a:lnTo>
                  <a:lnTo>
                    <a:pt x="171" y="8"/>
                  </a:lnTo>
                  <a:lnTo>
                    <a:pt x="163" y="11"/>
                  </a:lnTo>
                  <a:lnTo>
                    <a:pt x="156" y="14"/>
                  </a:lnTo>
                  <a:lnTo>
                    <a:pt x="143" y="22"/>
                  </a:lnTo>
                  <a:lnTo>
                    <a:pt x="132" y="32"/>
                  </a:lnTo>
                  <a:lnTo>
                    <a:pt x="120" y="41"/>
                  </a:lnTo>
                  <a:lnTo>
                    <a:pt x="110" y="48"/>
                  </a:lnTo>
                  <a:lnTo>
                    <a:pt x="105" y="51"/>
                  </a:lnTo>
                  <a:lnTo>
                    <a:pt x="98" y="54"/>
                  </a:lnTo>
                  <a:lnTo>
                    <a:pt x="93" y="55"/>
                  </a:lnTo>
                  <a:lnTo>
                    <a:pt x="87" y="56"/>
                  </a:lnTo>
                  <a:lnTo>
                    <a:pt x="86" y="69"/>
                  </a:lnTo>
                  <a:lnTo>
                    <a:pt x="84" y="81"/>
                  </a:lnTo>
                  <a:lnTo>
                    <a:pt x="82" y="91"/>
                  </a:lnTo>
                  <a:lnTo>
                    <a:pt x="77" y="100"/>
                  </a:lnTo>
                  <a:lnTo>
                    <a:pt x="73" y="109"/>
                  </a:lnTo>
                  <a:lnTo>
                    <a:pt x="67" y="116"/>
                  </a:lnTo>
                  <a:lnTo>
                    <a:pt x="62" y="123"/>
                  </a:lnTo>
                  <a:lnTo>
                    <a:pt x="56" y="129"/>
                  </a:lnTo>
                  <a:lnTo>
                    <a:pt x="45" y="141"/>
                  </a:lnTo>
                  <a:lnTo>
                    <a:pt x="37" y="152"/>
                  </a:lnTo>
                  <a:lnTo>
                    <a:pt x="32" y="158"/>
                  </a:lnTo>
                  <a:lnTo>
                    <a:pt x="30" y="164"/>
                  </a:lnTo>
                  <a:lnTo>
                    <a:pt x="28" y="171"/>
                  </a:lnTo>
                  <a:lnTo>
                    <a:pt x="27" y="179"/>
                  </a:lnTo>
                  <a:lnTo>
                    <a:pt x="28" y="186"/>
                  </a:lnTo>
                  <a:lnTo>
                    <a:pt x="28" y="194"/>
                  </a:lnTo>
                  <a:lnTo>
                    <a:pt x="30" y="201"/>
                  </a:lnTo>
                  <a:lnTo>
                    <a:pt x="32" y="207"/>
                  </a:lnTo>
                  <a:lnTo>
                    <a:pt x="38" y="218"/>
                  </a:lnTo>
                  <a:lnTo>
                    <a:pt x="43" y="228"/>
                  </a:lnTo>
                  <a:lnTo>
                    <a:pt x="50" y="239"/>
                  </a:lnTo>
                  <a:lnTo>
                    <a:pt x="55" y="251"/>
                  </a:lnTo>
                  <a:lnTo>
                    <a:pt x="57" y="257"/>
                  </a:lnTo>
                  <a:lnTo>
                    <a:pt x="59" y="263"/>
                  </a:lnTo>
                  <a:lnTo>
                    <a:pt x="60" y="270"/>
                  </a:lnTo>
                  <a:lnTo>
                    <a:pt x="60" y="278"/>
                  </a:lnTo>
                  <a:lnTo>
                    <a:pt x="60" y="289"/>
                  </a:lnTo>
                  <a:lnTo>
                    <a:pt x="57" y="299"/>
                  </a:lnTo>
                  <a:lnTo>
                    <a:pt x="54" y="310"/>
                  </a:lnTo>
                  <a:lnTo>
                    <a:pt x="51" y="319"/>
                  </a:lnTo>
                  <a:lnTo>
                    <a:pt x="41" y="337"/>
                  </a:lnTo>
                  <a:lnTo>
                    <a:pt x="30" y="354"/>
                  </a:lnTo>
                  <a:lnTo>
                    <a:pt x="19" y="372"/>
                  </a:lnTo>
                  <a:lnTo>
                    <a:pt x="9" y="390"/>
                  </a:lnTo>
                  <a:lnTo>
                    <a:pt x="6" y="400"/>
                  </a:lnTo>
                  <a:lnTo>
                    <a:pt x="3" y="410"/>
                  </a:lnTo>
                  <a:lnTo>
                    <a:pt x="2" y="421"/>
                  </a:lnTo>
                  <a:lnTo>
                    <a:pt x="0" y="432"/>
                  </a:lnTo>
                  <a:lnTo>
                    <a:pt x="0" y="471"/>
                  </a:lnTo>
                  <a:lnTo>
                    <a:pt x="0" y="501"/>
                  </a:lnTo>
                  <a:lnTo>
                    <a:pt x="0" y="529"/>
                  </a:lnTo>
                  <a:lnTo>
                    <a:pt x="0" y="561"/>
                  </a:lnTo>
                  <a:lnTo>
                    <a:pt x="2" y="574"/>
                  </a:lnTo>
                  <a:lnTo>
                    <a:pt x="4" y="587"/>
                  </a:lnTo>
                  <a:lnTo>
                    <a:pt x="8" y="598"/>
                  </a:lnTo>
                  <a:lnTo>
                    <a:pt x="12" y="609"/>
                  </a:lnTo>
                  <a:lnTo>
                    <a:pt x="19" y="618"/>
                  </a:lnTo>
                  <a:lnTo>
                    <a:pt x="26" y="627"/>
                  </a:lnTo>
                  <a:lnTo>
                    <a:pt x="33" y="637"/>
                  </a:lnTo>
                  <a:lnTo>
                    <a:pt x="40" y="645"/>
                  </a:lnTo>
                  <a:lnTo>
                    <a:pt x="55" y="662"/>
                  </a:lnTo>
                  <a:lnTo>
                    <a:pt x="67" y="678"/>
                  </a:lnTo>
                  <a:lnTo>
                    <a:pt x="73" y="686"/>
                  </a:lnTo>
                  <a:lnTo>
                    <a:pt x="76" y="696"/>
                  </a:lnTo>
                  <a:lnTo>
                    <a:pt x="79" y="705"/>
                  </a:lnTo>
                  <a:lnTo>
                    <a:pt x="81" y="715"/>
                  </a:lnTo>
                  <a:lnTo>
                    <a:pt x="79" y="722"/>
                  </a:lnTo>
                  <a:lnTo>
                    <a:pt x="78" y="728"/>
                  </a:lnTo>
                  <a:lnTo>
                    <a:pt x="75" y="733"/>
                  </a:lnTo>
                  <a:lnTo>
                    <a:pt x="73" y="738"/>
                  </a:lnTo>
                  <a:lnTo>
                    <a:pt x="66" y="747"/>
                  </a:lnTo>
                  <a:lnTo>
                    <a:pt x="60" y="753"/>
                  </a:lnTo>
                  <a:lnTo>
                    <a:pt x="71" y="753"/>
                  </a:lnTo>
                  <a:lnTo>
                    <a:pt x="81" y="753"/>
                  </a:lnTo>
                  <a:lnTo>
                    <a:pt x="79" y="760"/>
                  </a:lnTo>
                  <a:lnTo>
                    <a:pt x="77" y="768"/>
                  </a:lnTo>
                  <a:lnTo>
                    <a:pt x="74" y="776"/>
                  </a:lnTo>
                  <a:lnTo>
                    <a:pt x="71" y="784"/>
                  </a:lnTo>
                  <a:lnTo>
                    <a:pt x="63" y="799"/>
                  </a:lnTo>
                  <a:lnTo>
                    <a:pt x="60" y="808"/>
                  </a:lnTo>
                  <a:lnTo>
                    <a:pt x="61" y="813"/>
                  </a:lnTo>
                  <a:lnTo>
                    <a:pt x="63" y="817"/>
                  </a:lnTo>
                  <a:lnTo>
                    <a:pt x="66" y="822"/>
                  </a:lnTo>
                  <a:lnTo>
                    <a:pt x="71" y="827"/>
                  </a:lnTo>
                  <a:lnTo>
                    <a:pt x="74" y="832"/>
                  </a:lnTo>
                  <a:lnTo>
                    <a:pt x="77" y="838"/>
                  </a:lnTo>
                  <a:lnTo>
                    <a:pt x="79" y="844"/>
                  </a:lnTo>
                  <a:lnTo>
                    <a:pt x="81" y="850"/>
                  </a:lnTo>
                  <a:lnTo>
                    <a:pt x="79" y="858"/>
                  </a:lnTo>
                  <a:lnTo>
                    <a:pt x="76" y="864"/>
                  </a:lnTo>
                  <a:lnTo>
                    <a:pt x="72" y="870"/>
                  </a:lnTo>
                  <a:lnTo>
                    <a:pt x="67" y="876"/>
                  </a:lnTo>
                  <a:lnTo>
                    <a:pt x="62" y="881"/>
                  </a:lnTo>
                  <a:lnTo>
                    <a:pt x="57" y="887"/>
                  </a:lnTo>
                  <a:lnTo>
                    <a:pt x="54" y="893"/>
                  </a:lnTo>
                  <a:lnTo>
                    <a:pt x="53" y="900"/>
                  </a:lnTo>
                  <a:lnTo>
                    <a:pt x="54" y="909"/>
                  </a:lnTo>
                  <a:lnTo>
                    <a:pt x="55" y="918"/>
                  </a:lnTo>
                  <a:lnTo>
                    <a:pt x="56" y="925"/>
                  </a:lnTo>
                  <a:lnTo>
                    <a:pt x="59" y="932"/>
                  </a:lnTo>
                  <a:lnTo>
                    <a:pt x="64" y="945"/>
                  </a:lnTo>
                  <a:lnTo>
                    <a:pt x="71" y="958"/>
                  </a:lnTo>
                  <a:lnTo>
                    <a:pt x="76" y="970"/>
                  </a:lnTo>
                  <a:lnTo>
                    <a:pt x="82" y="983"/>
                  </a:lnTo>
                  <a:lnTo>
                    <a:pt x="84" y="989"/>
                  </a:lnTo>
                  <a:lnTo>
                    <a:pt x="85" y="996"/>
                  </a:lnTo>
                  <a:lnTo>
                    <a:pt x="86" y="1003"/>
                  </a:lnTo>
                  <a:lnTo>
                    <a:pt x="87" y="1011"/>
                  </a:lnTo>
                  <a:lnTo>
                    <a:pt x="86" y="1022"/>
                  </a:lnTo>
                  <a:lnTo>
                    <a:pt x="85" y="1034"/>
                  </a:lnTo>
                  <a:lnTo>
                    <a:pt x="83" y="1044"/>
                  </a:lnTo>
                  <a:lnTo>
                    <a:pt x="81" y="1055"/>
                  </a:lnTo>
                  <a:lnTo>
                    <a:pt x="77" y="1066"/>
                  </a:lnTo>
                  <a:lnTo>
                    <a:pt x="75" y="1077"/>
                  </a:lnTo>
                  <a:lnTo>
                    <a:pt x="74" y="1090"/>
                  </a:lnTo>
                  <a:lnTo>
                    <a:pt x="74" y="1103"/>
                  </a:lnTo>
                  <a:lnTo>
                    <a:pt x="74" y="1116"/>
                  </a:lnTo>
                  <a:lnTo>
                    <a:pt x="75" y="1128"/>
                  </a:lnTo>
                  <a:lnTo>
                    <a:pt x="76" y="1141"/>
                  </a:lnTo>
                  <a:lnTo>
                    <a:pt x="78" y="1152"/>
                  </a:lnTo>
                  <a:lnTo>
                    <a:pt x="82" y="1163"/>
                  </a:lnTo>
                  <a:lnTo>
                    <a:pt x="85" y="1174"/>
                  </a:lnTo>
                  <a:lnTo>
                    <a:pt x="89" y="1184"/>
                  </a:lnTo>
                  <a:lnTo>
                    <a:pt x="94" y="1195"/>
                  </a:lnTo>
                  <a:lnTo>
                    <a:pt x="103" y="1213"/>
                  </a:lnTo>
                  <a:lnTo>
                    <a:pt x="113" y="1231"/>
                  </a:lnTo>
                  <a:lnTo>
                    <a:pt x="124" y="1249"/>
                  </a:lnTo>
                  <a:lnTo>
                    <a:pt x="137" y="1265"/>
                  </a:lnTo>
                  <a:lnTo>
                    <a:pt x="149" y="1282"/>
                  </a:lnTo>
                  <a:lnTo>
                    <a:pt x="160" y="1298"/>
                  </a:lnTo>
                  <a:lnTo>
                    <a:pt x="171" y="1316"/>
                  </a:lnTo>
                  <a:lnTo>
                    <a:pt x="180" y="1334"/>
                  </a:lnTo>
                  <a:lnTo>
                    <a:pt x="188" y="1352"/>
                  </a:lnTo>
                  <a:lnTo>
                    <a:pt x="195" y="1373"/>
                  </a:lnTo>
                  <a:lnTo>
                    <a:pt x="197" y="1383"/>
                  </a:lnTo>
                  <a:lnTo>
                    <a:pt x="198" y="1394"/>
                  </a:lnTo>
                  <a:lnTo>
                    <a:pt x="199" y="1405"/>
                  </a:lnTo>
                  <a:lnTo>
                    <a:pt x="200" y="1418"/>
                  </a:lnTo>
                  <a:lnTo>
                    <a:pt x="200" y="1425"/>
                  </a:lnTo>
                  <a:lnTo>
                    <a:pt x="201" y="1431"/>
                  </a:lnTo>
                  <a:lnTo>
                    <a:pt x="202" y="1437"/>
                  </a:lnTo>
                  <a:lnTo>
                    <a:pt x="205" y="1442"/>
                  </a:lnTo>
                  <a:lnTo>
                    <a:pt x="210" y="1453"/>
                  </a:lnTo>
                  <a:lnTo>
                    <a:pt x="217" y="1463"/>
                  </a:lnTo>
                  <a:lnTo>
                    <a:pt x="222" y="1475"/>
                  </a:lnTo>
                  <a:lnTo>
                    <a:pt x="228" y="1485"/>
                  </a:lnTo>
                  <a:lnTo>
                    <a:pt x="230" y="1491"/>
                  </a:lnTo>
                  <a:lnTo>
                    <a:pt x="231" y="1497"/>
                  </a:lnTo>
                  <a:lnTo>
                    <a:pt x="232" y="1503"/>
                  </a:lnTo>
                  <a:lnTo>
                    <a:pt x="233" y="1510"/>
                  </a:lnTo>
                  <a:lnTo>
                    <a:pt x="232" y="1518"/>
                  </a:lnTo>
                  <a:lnTo>
                    <a:pt x="230" y="1526"/>
                  </a:lnTo>
                  <a:lnTo>
                    <a:pt x="227" y="1532"/>
                  </a:lnTo>
                  <a:lnTo>
                    <a:pt x="223" y="1537"/>
                  </a:lnTo>
                  <a:lnTo>
                    <a:pt x="219" y="1542"/>
                  </a:lnTo>
                  <a:lnTo>
                    <a:pt x="216" y="1547"/>
                  </a:lnTo>
                  <a:lnTo>
                    <a:pt x="213" y="1553"/>
                  </a:lnTo>
                  <a:lnTo>
                    <a:pt x="213" y="1559"/>
                  </a:lnTo>
                  <a:lnTo>
                    <a:pt x="213" y="1578"/>
                  </a:lnTo>
                  <a:lnTo>
                    <a:pt x="213" y="1590"/>
                  </a:lnTo>
                  <a:lnTo>
                    <a:pt x="213" y="1598"/>
                  </a:lnTo>
                  <a:lnTo>
                    <a:pt x="213" y="1603"/>
                  </a:lnTo>
                  <a:lnTo>
                    <a:pt x="212" y="1609"/>
                  </a:lnTo>
                  <a:lnTo>
                    <a:pt x="211" y="1615"/>
                  </a:lnTo>
                  <a:lnTo>
                    <a:pt x="209" y="1622"/>
                  </a:lnTo>
                  <a:lnTo>
                    <a:pt x="207" y="1628"/>
                  </a:lnTo>
                  <a:lnTo>
                    <a:pt x="204" y="1635"/>
                  </a:lnTo>
                  <a:lnTo>
                    <a:pt x="201" y="1644"/>
                  </a:lnTo>
                  <a:lnTo>
                    <a:pt x="200" y="1654"/>
                  </a:lnTo>
                  <a:lnTo>
                    <a:pt x="200" y="1664"/>
                  </a:lnTo>
                  <a:lnTo>
                    <a:pt x="200" y="1672"/>
                  </a:lnTo>
                  <a:lnTo>
                    <a:pt x="204" y="1681"/>
                  </a:lnTo>
                  <a:lnTo>
                    <a:pt x="207" y="1690"/>
                  </a:lnTo>
                  <a:lnTo>
                    <a:pt x="213" y="1700"/>
                  </a:lnTo>
                  <a:lnTo>
                    <a:pt x="220" y="1709"/>
                  </a:lnTo>
                  <a:lnTo>
                    <a:pt x="228" y="1718"/>
                  </a:lnTo>
                  <a:lnTo>
                    <a:pt x="236" y="1727"/>
                  </a:lnTo>
                  <a:lnTo>
                    <a:pt x="246" y="1735"/>
                  </a:lnTo>
                  <a:lnTo>
                    <a:pt x="256" y="1743"/>
                  </a:lnTo>
                  <a:lnTo>
                    <a:pt x="267" y="1752"/>
                  </a:lnTo>
                  <a:lnTo>
                    <a:pt x="278" y="1758"/>
                  </a:lnTo>
                  <a:lnTo>
                    <a:pt x="289" y="1764"/>
                  </a:lnTo>
                  <a:lnTo>
                    <a:pt x="300" y="1769"/>
                  </a:lnTo>
                  <a:lnTo>
                    <a:pt x="311" y="1772"/>
                  </a:lnTo>
                  <a:lnTo>
                    <a:pt x="322" y="1774"/>
                  </a:lnTo>
                  <a:lnTo>
                    <a:pt x="333" y="1775"/>
                  </a:lnTo>
                  <a:lnTo>
                    <a:pt x="342" y="1776"/>
                  </a:lnTo>
                  <a:lnTo>
                    <a:pt x="351" y="1779"/>
                  </a:lnTo>
                  <a:lnTo>
                    <a:pt x="358" y="1781"/>
                  </a:lnTo>
                  <a:lnTo>
                    <a:pt x="366" y="1784"/>
                  </a:lnTo>
                  <a:lnTo>
                    <a:pt x="380" y="1791"/>
                  </a:lnTo>
                  <a:lnTo>
                    <a:pt x="392" y="1798"/>
                  </a:lnTo>
                  <a:lnTo>
                    <a:pt x="404" y="1807"/>
                  </a:lnTo>
                  <a:lnTo>
                    <a:pt x="419" y="1813"/>
                  </a:lnTo>
                  <a:lnTo>
                    <a:pt x="426" y="1815"/>
                  </a:lnTo>
                  <a:lnTo>
                    <a:pt x="434" y="1817"/>
                  </a:lnTo>
                  <a:lnTo>
                    <a:pt x="443" y="1818"/>
                  </a:lnTo>
                  <a:lnTo>
                    <a:pt x="452" y="1818"/>
                  </a:lnTo>
                  <a:lnTo>
                    <a:pt x="452" y="1803"/>
                  </a:lnTo>
                  <a:lnTo>
                    <a:pt x="451" y="1786"/>
                  </a:lnTo>
                  <a:lnTo>
                    <a:pt x="448" y="1772"/>
                  </a:lnTo>
                  <a:lnTo>
                    <a:pt x="445" y="1758"/>
                  </a:lnTo>
                  <a:lnTo>
                    <a:pt x="441" y="1736"/>
                  </a:lnTo>
                  <a:lnTo>
                    <a:pt x="439" y="1726"/>
                  </a:lnTo>
                  <a:lnTo>
                    <a:pt x="440" y="1721"/>
                  </a:lnTo>
                  <a:lnTo>
                    <a:pt x="443" y="1715"/>
                  </a:lnTo>
                  <a:lnTo>
                    <a:pt x="448" y="1709"/>
                  </a:lnTo>
                  <a:lnTo>
                    <a:pt x="454" y="1703"/>
                  </a:lnTo>
                  <a:lnTo>
                    <a:pt x="460" y="1698"/>
                  </a:lnTo>
                  <a:lnTo>
                    <a:pt x="467" y="1693"/>
                  </a:lnTo>
                  <a:lnTo>
                    <a:pt x="474" y="1689"/>
                  </a:lnTo>
                  <a:lnTo>
                    <a:pt x="479" y="1688"/>
                  </a:lnTo>
                  <a:lnTo>
                    <a:pt x="466" y="1633"/>
                  </a:lnTo>
                  <a:lnTo>
                    <a:pt x="459" y="1633"/>
                  </a:lnTo>
                  <a:lnTo>
                    <a:pt x="459" y="1615"/>
                  </a:lnTo>
                  <a:lnTo>
                    <a:pt x="470" y="1612"/>
                  </a:lnTo>
                  <a:lnTo>
                    <a:pt x="479" y="1610"/>
                  </a:lnTo>
                  <a:lnTo>
                    <a:pt x="487" y="1608"/>
                  </a:lnTo>
                  <a:lnTo>
                    <a:pt x="493" y="1605"/>
                  </a:lnTo>
                  <a:lnTo>
                    <a:pt x="505" y="1599"/>
                  </a:lnTo>
                  <a:lnTo>
                    <a:pt x="519" y="1590"/>
                  </a:lnTo>
                  <a:lnTo>
                    <a:pt x="519" y="1510"/>
                  </a:lnTo>
                  <a:lnTo>
                    <a:pt x="507" y="1510"/>
                  </a:lnTo>
                  <a:lnTo>
                    <a:pt x="495" y="1509"/>
                  </a:lnTo>
                  <a:lnTo>
                    <a:pt x="482" y="1508"/>
                  </a:lnTo>
                  <a:lnTo>
                    <a:pt x="471" y="1506"/>
                  </a:lnTo>
                  <a:lnTo>
                    <a:pt x="462" y="1504"/>
                  </a:lnTo>
                  <a:lnTo>
                    <a:pt x="452" y="1502"/>
                  </a:lnTo>
                  <a:lnTo>
                    <a:pt x="443" y="1498"/>
                  </a:lnTo>
                  <a:lnTo>
                    <a:pt x="434" y="1495"/>
                  </a:lnTo>
                  <a:lnTo>
                    <a:pt x="426" y="1490"/>
                  </a:lnTo>
                  <a:lnTo>
                    <a:pt x="420" y="1486"/>
                  </a:lnTo>
                  <a:lnTo>
                    <a:pt x="413" y="1480"/>
                  </a:lnTo>
                  <a:lnTo>
                    <a:pt x="409" y="1474"/>
                  </a:lnTo>
                  <a:lnTo>
                    <a:pt x="404" y="1466"/>
                  </a:lnTo>
                  <a:lnTo>
                    <a:pt x="401" y="1459"/>
                  </a:lnTo>
                  <a:lnTo>
                    <a:pt x="400" y="1451"/>
                  </a:lnTo>
                  <a:lnTo>
                    <a:pt x="399" y="1442"/>
                  </a:lnTo>
                  <a:lnTo>
                    <a:pt x="400" y="1436"/>
                  </a:lnTo>
                  <a:lnTo>
                    <a:pt x="401" y="1430"/>
                  </a:lnTo>
                  <a:lnTo>
                    <a:pt x="404" y="1424"/>
                  </a:lnTo>
                  <a:lnTo>
                    <a:pt x="408" y="1419"/>
                  </a:lnTo>
                  <a:lnTo>
                    <a:pt x="412" y="1415"/>
                  </a:lnTo>
                  <a:lnTo>
                    <a:pt x="417" y="1410"/>
                  </a:lnTo>
                  <a:lnTo>
                    <a:pt x="422" y="1407"/>
                  </a:lnTo>
                  <a:lnTo>
                    <a:pt x="429" y="1403"/>
                  </a:lnTo>
                  <a:lnTo>
                    <a:pt x="441" y="1399"/>
                  </a:lnTo>
                  <a:lnTo>
                    <a:pt x="453" y="1395"/>
                  </a:lnTo>
                  <a:lnTo>
                    <a:pt x="464" y="1393"/>
                  </a:lnTo>
                  <a:lnTo>
                    <a:pt x="473" y="1393"/>
                  </a:lnTo>
                  <a:lnTo>
                    <a:pt x="473" y="1384"/>
                  </a:lnTo>
                  <a:lnTo>
                    <a:pt x="474" y="1374"/>
                  </a:lnTo>
                  <a:lnTo>
                    <a:pt x="476" y="1364"/>
                  </a:lnTo>
                  <a:lnTo>
                    <a:pt x="479" y="1353"/>
                  </a:lnTo>
                  <a:lnTo>
                    <a:pt x="481" y="1342"/>
                  </a:lnTo>
                  <a:lnTo>
                    <a:pt x="484" y="1332"/>
                  </a:lnTo>
                  <a:lnTo>
                    <a:pt x="485" y="1323"/>
                  </a:lnTo>
                  <a:lnTo>
                    <a:pt x="486" y="1313"/>
                  </a:lnTo>
                  <a:lnTo>
                    <a:pt x="485" y="1301"/>
                  </a:lnTo>
                  <a:lnTo>
                    <a:pt x="482" y="1290"/>
                  </a:lnTo>
                  <a:lnTo>
                    <a:pt x="480" y="1278"/>
                  </a:lnTo>
                  <a:lnTo>
                    <a:pt x="476" y="1267"/>
                  </a:lnTo>
                  <a:lnTo>
                    <a:pt x="466" y="1245"/>
                  </a:lnTo>
                  <a:lnTo>
                    <a:pt x="455" y="1224"/>
                  </a:lnTo>
                  <a:lnTo>
                    <a:pt x="444" y="1205"/>
                  </a:lnTo>
                  <a:lnTo>
                    <a:pt x="435" y="1187"/>
                  </a:lnTo>
                  <a:lnTo>
                    <a:pt x="431" y="1179"/>
                  </a:lnTo>
                  <a:lnTo>
                    <a:pt x="429" y="1172"/>
                  </a:lnTo>
                  <a:lnTo>
                    <a:pt x="426" y="1165"/>
                  </a:lnTo>
                  <a:lnTo>
                    <a:pt x="425" y="1159"/>
                  </a:lnTo>
                  <a:lnTo>
                    <a:pt x="425" y="1148"/>
                  </a:lnTo>
                  <a:lnTo>
                    <a:pt x="425" y="1141"/>
                  </a:lnTo>
                  <a:lnTo>
                    <a:pt x="433" y="1141"/>
                  </a:lnTo>
                  <a:lnTo>
                    <a:pt x="441" y="1142"/>
                  </a:lnTo>
                  <a:lnTo>
                    <a:pt x="448" y="1144"/>
                  </a:lnTo>
                  <a:lnTo>
                    <a:pt x="456" y="1145"/>
                  </a:lnTo>
                  <a:lnTo>
                    <a:pt x="473" y="1150"/>
                  </a:lnTo>
                  <a:lnTo>
                    <a:pt x="488" y="1156"/>
                  </a:lnTo>
                  <a:lnTo>
                    <a:pt x="503" y="1161"/>
                  </a:lnTo>
                  <a:lnTo>
                    <a:pt x="518" y="1166"/>
                  </a:lnTo>
                  <a:lnTo>
                    <a:pt x="532" y="1170"/>
                  </a:lnTo>
                  <a:lnTo>
                    <a:pt x="545" y="1171"/>
                  </a:lnTo>
                  <a:lnTo>
                    <a:pt x="549" y="1171"/>
                  </a:lnTo>
                  <a:lnTo>
                    <a:pt x="554" y="1169"/>
                  </a:lnTo>
                  <a:lnTo>
                    <a:pt x="557" y="1168"/>
                  </a:lnTo>
                  <a:lnTo>
                    <a:pt x="560" y="1165"/>
                  </a:lnTo>
                  <a:lnTo>
                    <a:pt x="565" y="1159"/>
                  </a:lnTo>
                  <a:lnTo>
                    <a:pt x="568" y="1151"/>
                  </a:lnTo>
                  <a:lnTo>
                    <a:pt x="570" y="1142"/>
                  </a:lnTo>
                  <a:lnTo>
                    <a:pt x="571" y="1132"/>
                  </a:lnTo>
                  <a:lnTo>
                    <a:pt x="571" y="1123"/>
                  </a:lnTo>
                  <a:lnTo>
                    <a:pt x="571" y="1116"/>
                  </a:lnTo>
                  <a:lnTo>
                    <a:pt x="569" y="1112"/>
                  </a:lnTo>
                  <a:lnTo>
                    <a:pt x="565" y="1102"/>
                  </a:lnTo>
                  <a:lnTo>
                    <a:pt x="560" y="1090"/>
                  </a:lnTo>
                  <a:lnTo>
                    <a:pt x="558" y="1078"/>
                  </a:lnTo>
                  <a:lnTo>
                    <a:pt x="552" y="1066"/>
                  </a:lnTo>
                  <a:lnTo>
                    <a:pt x="545" y="1054"/>
                  </a:lnTo>
                  <a:lnTo>
                    <a:pt x="546" y="1049"/>
                  </a:lnTo>
                  <a:lnTo>
                    <a:pt x="548" y="1044"/>
                  </a:lnTo>
                  <a:lnTo>
                    <a:pt x="551" y="1040"/>
                  </a:lnTo>
                  <a:lnTo>
                    <a:pt x="555" y="1036"/>
                  </a:lnTo>
                  <a:lnTo>
                    <a:pt x="559" y="1032"/>
                  </a:lnTo>
                  <a:lnTo>
                    <a:pt x="565" y="1030"/>
                  </a:lnTo>
                  <a:lnTo>
                    <a:pt x="571" y="1027"/>
                  </a:lnTo>
                  <a:lnTo>
                    <a:pt x="578" y="1025"/>
                  </a:lnTo>
                  <a:lnTo>
                    <a:pt x="591" y="1022"/>
                  </a:lnTo>
                  <a:lnTo>
                    <a:pt x="604" y="1021"/>
                  </a:lnTo>
                  <a:lnTo>
                    <a:pt x="615" y="1021"/>
                  </a:lnTo>
                  <a:lnTo>
                    <a:pt x="625" y="1023"/>
                  </a:lnTo>
                  <a:lnTo>
                    <a:pt x="652" y="1023"/>
                  </a:lnTo>
                  <a:lnTo>
                    <a:pt x="676" y="1023"/>
                  </a:lnTo>
                  <a:lnTo>
                    <a:pt x="697" y="1021"/>
                  </a:lnTo>
                  <a:lnTo>
                    <a:pt x="716" y="1017"/>
                  </a:lnTo>
                  <a:lnTo>
                    <a:pt x="734" y="1013"/>
                  </a:lnTo>
                  <a:lnTo>
                    <a:pt x="750" y="1007"/>
                  </a:lnTo>
                  <a:lnTo>
                    <a:pt x="764" y="1001"/>
                  </a:lnTo>
                  <a:lnTo>
                    <a:pt x="776" y="993"/>
                  </a:lnTo>
                  <a:lnTo>
                    <a:pt x="787" y="984"/>
                  </a:lnTo>
                  <a:lnTo>
                    <a:pt x="795" y="973"/>
                  </a:lnTo>
                  <a:lnTo>
                    <a:pt x="802" y="961"/>
                  </a:lnTo>
                  <a:lnTo>
                    <a:pt x="809" y="949"/>
                  </a:lnTo>
                  <a:lnTo>
                    <a:pt x="812" y="935"/>
                  </a:lnTo>
                  <a:lnTo>
                    <a:pt x="815" y="921"/>
                  </a:lnTo>
                  <a:lnTo>
                    <a:pt x="817" y="904"/>
                  </a:lnTo>
                  <a:lnTo>
                    <a:pt x="817" y="888"/>
                  </a:lnTo>
                  <a:lnTo>
                    <a:pt x="817" y="884"/>
                  </a:lnTo>
                  <a:lnTo>
                    <a:pt x="816" y="882"/>
                  </a:lnTo>
                  <a:lnTo>
                    <a:pt x="815" y="879"/>
                  </a:lnTo>
                  <a:lnTo>
                    <a:pt x="813" y="877"/>
                  </a:lnTo>
                  <a:lnTo>
                    <a:pt x="809" y="874"/>
                  </a:lnTo>
                  <a:lnTo>
                    <a:pt x="803" y="871"/>
                  </a:lnTo>
                  <a:lnTo>
                    <a:pt x="792" y="867"/>
                  </a:lnTo>
                  <a:lnTo>
                    <a:pt x="784" y="863"/>
                  </a:lnTo>
                  <a:lnTo>
                    <a:pt x="782" y="859"/>
                  </a:lnTo>
                  <a:lnTo>
                    <a:pt x="781" y="852"/>
                  </a:lnTo>
                  <a:lnTo>
                    <a:pt x="780" y="847"/>
                  </a:lnTo>
                  <a:lnTo>
                    <a:pt x="779" y="841"/>
                  </a:lnTo>
                  <a:lnTo>
                    <a:pt x="780" y="836"/>
                  </a:lnTo>
                  <a:lnTo>
                    <a:pt x="781" y="830"/>
                  </a:lnTo>
                  <a:lnTo>
                    <a:pt x="782" y="825"/>
                  </a:lnTo>
                  <a:lnTo>
                    <a:pt x="784" y="820"/>
                  </a:lnTo>
                  <a:lnTo>
                    <a:pt x="772" y="816"/>
                  </a:lnTo>
                  <a:lnTo>
                    <a:pt x="758" y="810"/>
                  </a:lnTo>
                  <a:lnTo>
                    <a:pt x="742" y="800"/>
                  </a:lnTo>
                  <a:lnTo>
                    <a:pt x="725" y="789"/>
                  </a:lnTo>
                  <a:lnTo>
                    <a:pt x="717" y="783"/>
                  </a:lnTo>
                  <a:lnTo>
                    <a:pt x="711" y="777"/>
                  </a:lnTo>
                  <a:lnTo>
                    <a:pt x="704" y="771"/>
                  </a:lnTo>
                  <a:lnTo>
                    <a:pt x="700" y="765"/>
                  </a:lnTo>
                  <a:lnTo>
                    <a:pt x="695" y="758"/>
                  </a:lnTo>
                  <a:lnTo>
                    <a:pt x="692" y="752"/>
                  </a:lnTo>
                  <a:lnTo>
                    <a:pt x="691" y="745"/>
                  </a:lnTo>
                  <a:lnTo>
                    <a:pt x="691" y="739"/>
                  </a:lnTo>
                  <a:lnTo>
                    <a:pt x="698" y="616"/>
                  </a:lnTo>
                  <a:lnTo>
                    <a:pt x="697" y="585"/>
                  </a:lnTo>
                  <a:lnTo>
                    <a:pt x="697" y="553"/>
                  </a:lnTo>
                  <a:lnTo>
                    <a:pt x="698" y="546"/>
                  </a:lnTo>
                  <a:lnTo>
                    <a:pt x="699" y="539"/>
                  </a:lnTo>
                  <a:lnTo>
                    <a:pt x="701" y="532"/>
                  </a:lnTo>
                  <a:lnTo>
                    <a:pt x="703" y="525"/>
                  </a:lnTo>
                  <a:lnTo>
                    <a:pt x="708" y="518"/>
                  </a:lnTo>
                  <a:lnTo>
                    <a:pt x="712" y="511"/>
                  </a:lnTo>
                  <a:lnTo>
                    <a:pt x="717" y="505"/>
                  </a:lnTo>
                  <a:lnTo>
                    <a:pt x="725" y="499"/>
                  </a:lnTo>
                  <a:lnTo>
                    <a:pt x="725" y="49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2490" name="Freeform 442"/>
          <p:cNvSpPr>
            <a:spLocks/>
          </p:cNvSpPr>
          <p:nvPr>
            <p:custDataLst>
              <p:tags r:id="rId280"/>
            </p:custDataLst>
          </p:nvPr>
        </p:nvSpPr>
        <p:spPr bwMode="auto">
          <a:xfrm>
            <a:off x="5040320" y="1743077"/>
            <a:ext cx="123825" cy="82154"/>
          </a:xfrm>
          <a:custGeom>
            <a:avLst/>
            <a:gdLst/>
            <a:ahLst/>
            <a:cxnLst>
              <a:cxn ang="0">
                <a:pos x="33" y="87"/>
              </a:cxn>
              <a:cxn ang="0">
                <a:pos x="59" y="142"/>
              </a:cxn>
              <a:cxn ang="0">
                <a:pos x="59" y="179"/>
              </a:cxn>
              <a:cxn ang="0">
                <a:pos x="102" y="196"/>
              </a:cxn>
              <a:cxn ang="0">
                <a:pos x="122" y="202"/>
              </a:cxn>
              <a:cxn ang="0">
                <a:pos x="139" y="204"/>
              </a:cxn>
              <a:cxn ang="0">
                <a:pos x="146" y="201"/>
              </a:cxn>
              <a:cxn ang="0">
                <a:pos x="151" y="194"/>
              </a:cxn>
              <a:cxn ang="0">
                <a:pos x="160" y="172"/>
              </a:cxn>
              <a:cxn ang="0">
                <a:pos x="172" y="149"/>
              </a:cxn>
              <a:cxn ang="0">
                <a:pos x="181" y="141"/>
              </a:cxn>
              <a:cxn ang="0">
                <a:pos x="192" y="136"/>
              </a:cxn>
              <a:cxn ang="0">
                <a:pos x="209" y="138"/>
              </a:cxn>
              <a:cxn ang="0">
                <a:pos x="220" y="142"/>
              </a:cxn>
              <a:cxn ang="0">
                <a:pos x="228" y="148"/>
              </a:cxn>
              <a:cxn ang="0">
                <a:pos x="231" y="154"/>
              </a:cxn>
              <a:cxn ang="0">
                <a:pos x="234" y="164"/>
              </a:cxn>
              <a:cxn ang="0">
                <a:pos x="231" y="167"/>
              </a:cxn>
              <a:cxn ang="0">
                <a:pos x="234" y="153"/>
              </a:cxn>
              <a:cxn ang="0">
                <a:pos x="238" y="140"/>
              </a:cxn>
              <a:cxn ang="0">
                <a:pos x="245" y="117"/>
              </a:cxn>
              <a:cxn ang="0">
                <a:pos x="254" y="115"/>
              </a:cxn>
              <a:cxn ang="0">
                <a:pos x="264" y="110"/>
              </a:cxn>
              <a:cxn ang="0">
                <a:pos x="279" y="99"/>
              </a:cxn>
              <a:cxn ang="0">
                <a:pos x="252" y="75"/>
              </a:cxn>
              <a:cxn ang="0">
                <a:pos x="227" y="58"/>
              </a:cxn>
              <a:cxn ang="0">
                <a:pos x="204" y="44"/>
              </a:cxn>
              <a:cxn ang="0">
                <a:pos x="185" y="31"/>
              </a:cxn>
              <a:cxn ang="0">
                <a:pos x="146" y="68"/>
              </a:cxn>
              <a:cxn ang="0">
                <a:pos x="79" y="25"/>
              </a:cxn>
              <a:cxn ang="0">
                <a:pos x="52" y="12"/>
              </a:cxn>
              <a:cxn ang="0">
                <a:pos x="46" y="62"/>
              </a:cxn>
              <a:cxn ang="0">
                <a:pos x="0" y="56"/>
              </a:cxn>
            </a:cxnLst>
            <a:rect l="0" t="0" r="r" b="b"/>
            <a:pathLst>
              <a:path w="279" h="204">
                <a:moveTo>
                  <a:pt x="0" y="56"/>
                </a:moveTo>
                <a:lnTo>
                  <a:pt x="33" y="87"/>
                </a:lnTo>
                <a:lnTo>
                  <a:pt x="46" y="123"/>
                </a:lnTo>
                <a:lnTo>
                  <a:pt x="59" y="142"/>
                </a:lnTo>
                <a:lnTo>
                  <a:pt x="59" y="173"/>
                </a:lnTo>
                <a:lnTo>
                  <a:pt x="59" y="179"/>
                </a:lnTo>
                <a:lnTo>
                  <a:pt x="80" y="188"/>
                </a:lnTo>
                <a:lnTo>
                  <a:pt x="102" y="196"/>
                </a:lnTo>
                <a:lnTo>
                  <a:pt x="112" y="199"/>
                </a:lnTo>
                <a:lnTo>
                  <a:pt x="122" y="202"/>
                </a:lnTo>
                <a:lnTo>
                  <a:pt x="130" y="203"/>
                </a:lnTo>
                <a:lnTo>
                  <a:pt x="139" y="204"/>
                </a:lnTo>
                <a:lnTo>
                  <a:pt x="142" y="203"/>
                </a:lnTo>
                <a:lnTo>
                  <a:pt x="146" y="201"/>
                </a:lnTo>
                <a:lnTo>
                  <a:pt x="148" y="198"/>
                </a:lnTo>
                <a:lnTo>
                  <a:pt x="151" y="194"/>
                </a:lnTo>
                <a:lnTo>
                  <a:pt x="156" y="183"/>
                </a:lnTo>
                <a:lnTo>
                  <a:pt x="160" y="172"/>
                </a:lnTo>
                <a:lnTo>
                  <a:pt x="165" y="160"/>
                </a:lnTo>
                <a:lnTo>
                  <a:pt x="172" y="149"/>
                </a:lnTo>
                <a:lnTo>
                  <a:pt x="176" y="145"/>
                </a:lnTo>
                <a:lnTo>
                  <a:pt x="181" y="141"/>
                </a:lnTo>
                <a:lnTo>
                  <a:pt x="186" y="138"/>
                </a:lnTo>
                <a:lnTo>
                  <a:pt x="192" y="136"/>
                </a:lnTo>
                <a:lnTo>
                  <a:pt x="201" y="137"/>
                </a:lnTo>
                <a:lnTo>
                  <a:pt x="209" y="138"/>
                </a:lnTo>
                <a:lnTo>
                  <a:pt x="215" y="140"/>
                </a:lnTo>
                <a:lnTo>
                  <a:pt x="220" y="142"/>
                </a:lnTo>
                <a:lnTo>
                  <a:pt x="225" y="145"/>
                </a:lnTo>
                <a:lnTo>
                  <a:pt x="228" y="148"/>
                </a:lnTo>
                <a:lnTo>
                  <a:pt x="230" y="151"/>
                </a:lnTo>
                <a:lnTo>
                  <a:pt x="231" y="154"/>
                </a:lnTo>
                <a:lnTo>
                  <a:pt x="234" y="160"/>
                </a:lnTo>
                <a:lnTo>
                  <a:pt x="234" y="164"/>
                </a:lnTo>
                <a:lnTo>
                  <a:pt x="232" y="167"/>
                </a:lnTo>
                <a:lnTo>
                  <a:pt x="231" y="167"/>
                </a:lnTo>
                <a:lnTo>
                  <a:pt x="232" y="160"/>
                </a:lnTo>
                <a:lnTo>
                  <a:pt x="234" y="153"/>
                </a:lnTo>
                <a:lnTo>
                  <a:pt x="236" y="147"/>
                </a:lnTo>
                <a:lnTo>
                  <a:pt x="238" y="140"/>
                </a:lnTo>
                <a:lnTo>
                  <a:pt x="243" y="127"/>
                </a:lnTo>
                <a:lnTo>
                  <a:pt x="245" y="117"/>
                </a:lnTo>
                <a:lnTo>
                  <a:pt x="250" y="117"/>
                </a:lnTo>
                <a:lnTo>
                  <a:pt x="254" y="115"/>
                </a:lnTo>
                <a:lnTo>
                  <a:pt x="260" y="113"/>
                </a:lnTo>
                <a:lnTo>
                  <a:pt x="264" y="110"/>
                </a:lnTo>
                <a:lnTo>
                  <a:pt x="272" y="104"/>
                </a:lnTo>
                <a:lnTo>
                  <a:pt x="279" y="99"/>
                </a:lnTo>
                <a:lnTo>
                  <a:pt x="265" y="87"/>
                </a:lnTo>
                <a:lnTo>
                  <a:pt x="252" y="75"/>
                </a:lnTo>
                <a:lnTo>
                  <a:pt x="239" y="66"/>
                </a:lnTo>
                <a:lnTo>
                  <a:pt x="227" y="58"/>
                </a:lnTo>
                <a:lnTo>
                  <a:pt x="215" y="51"/>
                </a:lnTo>
                <a:lnTo>
                  <a:pt x="204" y="44"/>
                </a:lnTo>
                <a:lnTo>
                  <a:pt x="194" y="38"/>
                </a:lnTo>
                <a:lnTo>
                  <a:pt x="185" y="31"/>
                </a:lnTo>
                <a:lnTo>
                  <a:pt x="172" y="31"/>
                </a:lnTo>
                <a:lnTo>
                  <a:pt x="146" y="68"/>
                </a:lnTo>
                <a:lnTo>
                  <a:pt x="112" y="50"/>
                </a:lnTo>
                <a:lnTo>
                  <a:pt x="79" y="25"/>
                </a:lnTo>
                <a:lnTo>
                  <a:pt x="33" y="0"/>
                </a:lnTo>
                <a:lnTo>
                  <a:pt x="52" y="12"/>
                </a:lnTo>
                <a:lnTo>
                  <a:pt x="72" y="74"/>
                </a:lnTo>
                <a:lnTo>
                  <a:pt x="46" y="62"/>
                </a:lnTo>
                <a:lnTo>
                  <a:pt x="19" y="50"/>
                </a:lnTo>
                <a:lnTo>
                  <a:pt x="0" y="5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491" name="Freeform 443"/>
          <p:cNvSpPr>
            <a:spLocks/>
          </p:cNvSpPr>
          <p:nvPr>
            <p:custDataLst>
              <p:tags r:id="rId281"/>
            </p:custDataLst>
          </p:nvPr>
        </p:nvSpPr>
        <p:spPr bwMode="auto">
          <a:xfrm>
            <a:off x="4506915" y="1422797"/>
            <a:ext cx="209550" cy="113109"/>
          </a:xfrm>
          <a:custGeom>
            <a:avLst/>
            <a:gdLst/>
            <a:ahLst/>
            <a:cxnLst>
              <a:cxn ang="0">
                <a:pos x="252" y="20"/>
              </a:cxn>
              <a:cxn ang="0">
                <a:pos x="300" y="44"/>
              </a:cxn>
              <a:cxn ang="0">
                <a:pos x="372" y="44"/>
              </a:cxn>
              <a:cxn ang="0">
                <a:pos x="425" y="131"/>
              </a:cxn>
              <a:cxn ang="0">
                <a:pos x="485" y="167"/>
              </a:cxn>
              <a:cxn ang="0">
                <a:pos x="412" y="173"/>
              </a:cxn>
              <a:cxn ang="0">
                <a:pos x="433" y="210"/>
              </a:cxn>
              <a:cxn ang="0">
                <a:pos x="392" y="241"/>
              </a:cxn>
              <a:cxn ang="0">
                <a:pos x="385" y="291"/>
              </a:cxn>
              <a:cxn ang="0">
                <a:pos x="285" y="266"/>
              </a:cxn>
              <a:cxn ang="0">
                <a:pos x="173" y="254"/>
              </a:cxn>
              <a:cxn ang="0">
                <a:pos x="60" y="266"/>
              </a:cxn>
              <a:cxn ang="0">
                <a:pos x="15" y="271"/>
              </a:cxn>
              <a:cxn ang="0">
                <a:pos x="8" y="257"/>
              </a:cxn>
              <a:cxn ang="0">
                <a:pos x="3" y="244"/>
              </a:cxn>
              <a:cxn ang="0">
                <a:pos x="0" y="229"/>
              </a:cxn>
              <a:cxn ang="0">
                <a:pos x="5" y="219"/>
              </a:cxn>
              <a:cxn ang="0">
                <a:pos x="14" y="207"/>
              </a:cxn>
              <a:cxn ang="0">
                <a:pos x="23" y="189"/>
              </a:cxn>
              <a:cxn ang="0">
                <a:pos x="31" y="166"/>
              </a:cxn>
              <a:cxn ang="0">
                <a:pos x="41" y="137"/>
              </a:cxn>
              <a:cxn ang="0">
                <a:pos x="48" y="126"/>
              </a:cxn>
              <a:cxn ang="0">
                <a:pos x="60" y="119"/>
              </a:cxn>
              <a:cxn ang="0">
                <a:pos x="87" y="111"/>
              </a:cxn>
              <a:cxn ang="0">
                <a:pos x="89" y="106"/>
              </a:cxn>
              <a:cxn ang="0">
                <a:pos x="94" y="100"/>
              </a:cxn>
              <a:cxn ang="0">
                <a:pos x="101" y="95"/>
              </a:cxn>
              <a:cxn ang="0">
                <a:pos x="106" y="93"/>
              </a:cxn>
              <a:cxn ang="0">
                <a:pos x="106" y="76"/>
              </a:cxn>
              <a:cxn ang="0">
                <a:pos x="109" y="70"/>
              </a:cxn>
              <a:cxn ang="0">
                <a:pos x="113" y="67"/>
              </a:cxn>
              <a:cxn ang="0">
                <a:pos x="122" y="69"/>
              </a:cxn>
              <a:cxn ang="0">
                <a:pos x="128" y="69"/>
              </a:cxn>
              <a:cxn ang="0">
                <a:pos x="132" y="66"/>
              </a:cxn>
              <a:cxn ang="0">
                <a:pos x="134" y="56"/>
              </a:cxn>
              <a:cxn ang="0">
                <a:pos x="139" y="44"/>
              </a:cxn>
              <a:cxn ang="0">
                <a:pos x="144" y="39"/>
              </a:cxn>
              <a:cxn ang="0">
                <a:pos x="213" y="0"/>
              </a:cxn>
            </a:cxnLst>
            <a:rect l="0" t="0" r="r" b="b"/>
            <a:pathLst>
              <a:path w="485" h="291">
                <a:moveTo>
                  <a:pt x="206" y="6"/>
                </a:moveTo>
                <a:lnTo>
                  <a:pt x="252" y="20"/>
                </a:lnTo>
                <a:lnTo>
                  <a:pt x="292" y="20"/>
                </a:lnTo>
                <a:lnTo>
                  <a:pt x="300" y="44"/>
                </a:lnTo>
                <a:lnTo>
                  <a:pt x="339" y="32"/>
                </a:lnTo>
                <a:lnTo>
                  <a:pt x="372" y="44"/>
                </a:lnTo>
                <a:lnTo>
                  <a:pt x="379" y="93"/>
                </a:lnTo>
                <a:lnTo>
                  <a:pt x="425" y="131"/>
                </a:lnTo>
                <a:lnTo>
                  <a:pt x="459" y="149"/>
                </a:lnTo>
                <a:lnTo>
                  <a:pt x="485" y="167"/>
                </a:lnTo>
                <a:lnTo>
                  <a:pt x="459" y="186"/>
                </a:lnTo>
                <a:lnTo>
                  <a:pt x="412" y="173"/>
                </a:lnTo>
                <a:lnTo>
                  <a:pt x="418" y="198"/>
                </a:lnTo>
                <a:lnTo>
                  <a:pt x="433" y="210"/>
                </a:lnTo>
                <a:lnTo>
                  <a:pt x="433" y="241"/>
                </a:lnTo>
                <a:lnTo>
                  <a:pt x="392" y="241"/>
                </a:lnTo>
                <a:lnTo>
                  <a:pt x="385" y="266"/>
                </a:lnTo>
                <a:lnTo>
                  <a:pt x="385" y="291"/>
                </a:lnTo>
                <a:lnTo>
                  <a:pt x="339" y="278"/>
                </a:lnTo>
                <a:lnTo>
                  <a:pt x="285" y="266"/>
                </a:lnTo>
                <a:lnTo>
                  <a:pt x="239" y="272"/>
                </a:lnTo>
                <a:lnTo>
                  <a:pt x="173" y="254"/>
                </a:lnTo>
                <a:lnTo>
                  <a:pt x="113" y="254"/>
                </a:lnTo>
                <a:lnTo>
                  <a:pt x="60" y="266"/>
                </a:lnTo>
                <a:lnTo>
                  <a:pt x="20" y="278"/>
                </a:lnTo>
                <a:lnTo>
                  <a:pt x="15" y="271"/>
                </a:lnTo>
                <a:lnTo>
                  <a:pt x="11" y="264"/>
                </a:lnTo>
                <a:lnTo>
                  <a:pt x="8" y="257"/>
                </a:lnTo>
                <a:lnTo>
                  <a:pt x="5" y="251"/>
                </a:lnTo>
                <a:lnTo>
                  <a:pt x="3" y="244"/>
                </a:lnTo>
                <a:lnTo>
                  <a:pt x="1" y="237"/>
                </a:lnTo>
                <a:lnTo>
                  <a:pt x="0" y="229"/>
                </a:lnTo>
                <a:lnTo>
                  <a:pt x="0" y="222"/>
                </a:lnTo>
                <a:lnTo>
                  <a:pt x="5" y="219"/>
                </a:lnTo>
                <a:lnTo>
                  <a:pt x="10" y="214"/>
                </a:lnTo>
                <a:lnTo>
                  <a:pt x="14" y="207"/>
                </a:lnTo>
                <a:lnTo>
                  <a:pt x="20" y="198"/>
                </a:lnTo>
                <a:lnTo>
                  <a:pt x="23" y="189"/>
                </a:lnTo>
                <a:lnTo>
                  <a:pt x="27" y="178"/>
                </a:lnTo>
                <a:lnTo>
                  <a:pt x="31" y="166"/>
                </a:lnTo>
                <a:lnTo>
                  <a:pt x="33" y="155"/>
                </a:lnTo>
                <a:lnTo>
                  <a:pt x="41" y="137"/>
                </a:lnTo>
                <a:lnTo>
                  <a:pt x="44" y="131"/>
                </a:lnTo>
                <a:lnTo>
                  <a:pt x="48" y="126"/>
                </a:lnTo>
                <a:lnTo>
                  <a:pt x="54" y="123"/>
                </a:lnTo>
                <a:lnTo>
                  <a:pt x="60" y="119"/>
                </a:lnTo>
                <a:lnTo>
                  <a:pt x="75" y="115"/>
                </a:lnTo>
                <a:lnTo>
                  <a:pt x="87" y="111"/>
                </a:lnTo>
                <a:lnTo>
                  <a:pt x="87" y="109"/>
                </a:lnTo>
                <a:lnTo>
                  <a:pt x="89" y="106"/>
                </a:lnTo>
                <a:lnTo>
                  <a:pt x="91" y="103"/>
                </a:lnTo>
                <a:lnTo>
                  <a:pt x="94" y="100"/>
                </a:lnTo>
                <a:lnTo>
                  <a:pt x="98" y="97"/>
                </a:lnTo>
                <a:lnTo>
                  <a:pt x="101" y="95"/>
                </a:lnTo>
                <a:lnTo>
                  <a:pt x="103" y="94"/>
                </a:lnTo>
                <a:lnTo>
                  <a:pt x="106" y="93"/>
                </a:lnTo>
                <a:lnTo>
                  <a:pt x="106" y="81"/>
                </a:lnTo>
                <a:lnTo>
                  <a:pt x="106" y="76"/>
                </a:lnTo>
                <a:lnTo>
                  <a:pt x="107" y="72"/>
                </a:lnTo>
                <a:lnTo>
                  <a:pt x="109" y="70"/>
                </a:lnTo>
                <a:lnTo>
                  <a:pt x="110" y="68"/>
                </a:lnTo>
                <a:lnTo>
                  <a:pt x="113" y="67"/>
                </a:lnTo>
                <a:lnTo>
                  <a:pt x="117" y="68"/>
                </a:lnTo>
                <a:lnTo>
                  <a:pt x="122" y="69"/>
                </a:lnTo>
                <a:lnTo>
                  <a:pt x="126" y="69"/>
                </a:lnTo>
                <a:lnTo>
                  <a:pt x="128" y="69"/>
                </a:lnTo>
                <a:lnTo>
                  <a:pt x="129" y="68"/>
                </a:lnTo>
                <a:lnTo>
                  <a:pt x="132" y="66"/>
                </a:lnTo>
                <a:lnTo>
                  <a:pt x="133" y="62"/>
                </a:lnTo>
                <a:lnTo>
                  <a:pt x="134" y="56"/>
                </a:lnTo>
                <a:lnTo>
                  <a:pt x="137" y="48"/>
                </a:lnTo>
                <a:lnTo>
                  <a:pt x="139" y="44"/>
                </a:lnTo>
                <a:lnTo>
                  <a:pt x="142" y="41"/>
                </a:lnTo>
                <a:lnTo>
                  <a:pt x="144" y="39"/>
                </a:lnTo>
                <a:lnTo>
                  <a:pt x="146" y="38"/>
                </a:lnTo>
                <a:lnTo>
                  <a:pt x="213" y="0"/>
                </a:lnTo>
                <a:lnTo>
                  <a:pt x="206" y="6"/>
                </a:lnTo>
              </a:path>
            </a:pathLst>
          </a:custGeom>
          <a:solidFill>
            <a:srgbClr val="007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492" name="Freeform 444"/>
          <p:cNvSpPr>
            <a:spLocks/>
          </p:cNvSpPr>
          <p:nvPr>
            <p:custDataLst>
              <p:tags r:id="rId282"/>
            </p:custDataLst>
          </p:nvPr>
        </p:nvSpPr>
        <p:spPr bwMode="auto">
          <a:xfrm>
            <a:off x="4364039" y="1671647"/>
            <a:ext cx="82550" cy="65485"/>
          </a:xfrm>
          <a:custGeom>
            <a:avLst/>
            <a:gdLst/>
            <a:ahLst/>
            <a:cxnLst>
              <a:cxn ang="0">
                <a:pos x="86" y="147"/>
              </a:cxn>
              <a:cxn ang="0">
                <a:pos x="83" y="136"/>
              </a:cxn>
              <a:cxn ang="0">
                <a:pos x="78" y="127"/>
              </a:cxn>
              <a:cxn ang="0">
                <a:pos x="74" y="118"/>
              </a:cxn>
              <a:cxn ang="0">
                <a:pos x="70" y="110"/>
              </a:cxn>
              <a:cxn ang="0">
                <a:pos x="60" y="95"/>
              </a:cxn>
              <a:cxn ang="0">
                <a:pos x="49" y="82"/>
              </a:cxn>
              <a:cxn ang="0">
                <a:pos x="37" y="70"/>
              </a:cxn>
              <a:cxn ang="0">
                <a:pos x="25" y="56"/>
              </a:cxn>
              <a:cxn ang="0">
                <a:pos x="13" y="38"/>
              </a:cxn>
              <a:cxn ang="0">
                <a:pos x="0" y="18"/>
              </a:cxn>
              <a:cxn ang="0">
                <a:pos x="0" y="0"/>
              </a:cxn>
              <a:cxn ang="0">
                <a:pos x="7" y="2"/>
              </a:cxn>
              <a:cxn ang="0">
                <a:pos x="14" y="3"/>
              </a:cxn>
              <a:cxn ang="0">
                <a:pos x="20" y="4"/>
              </a:cxn>
              <a:cxn ang="0">
                <a:pos x="27" y="4"/>
              </a:cxn>
              <a:cxn ang="0">
                <a:pos x="33" y="4"/>
              </a:cxn>
              <a:cxn ang="0">
                <a:pos x="40" y="3"/>
              </a:cxn>
              <a:cxn ang="0">
                <a:pos x="47" y="2"/>
              </a:cxn>
              <a:cxn ang="0">
                <a:pos x="53" y="0"/>
              </a:cxn>
              <a:cxn ang="0">
                <a:pos x="140" y="12"/>
              </a:cxn>
              <a:cxn ang="0">
                <a:pos x="186" y="91"/>
              </a:cxn>
              <a:cxn ang="0">
                <a:pos x="171" y="112"/>
              </a:cxn>
              <a:cxn ang="0">
                <a:pos x="155" y="129"/>
              </a:cxn>
              <a:cxn ang="0">
                <a:pos x="149" y="137"/>
              </a:cxn>
              <a:cxn ang="0">
                <a:pos x="144" y="145"/>
              </a:cxn>
              <a:cxn ang="0">
                <a:pos x="142" y="150"/>
              </a:cxn>
              <a:cxn ang="0">
                <a:pos x="141" y="156"/>
              </a:cxn>
              <a:cxn ang="0">
                <a:pos x="140" y="161"/>
              </a:cxn>
              <a:cxn ang="0">
                <a:pos x="140" y="166"/>
              </a:cxn>
              <a:cxn ang="0">
                <a:pos x="86" y="147"/>
              </a:cxn>
            </a:cxnLst>
            <a:rect l="0" t="0" r="r" b="b"/>
            <a:pathLst>
              <a:path w="186" h="166">
                <a:moveTo>
                  <a:pt x="86" y="147"/>
                </a:moveTo>
                <a:lnTo>
                  <a:pt x="83" y="136"/>
                </a:lnTo>
                <a:lnTo>
                  <a:pt x="78" y="127"/>
                </a:lnTo>
                <a:lnTo>
                  <a:pt x="74" y="118"/>
                </a:lnTo>
                <a:lnTo>
                  <a:pt x="70" y="110"/>
                </a:lnTo>
                <a:lnTo>
                  <a:pt x="60" y="95"/>
                </a:lnTo>
                <a:lnTo>
                  <a:pt x="49" y="82"/>
                </a:lnTo>
                <a:lnTo>
                  <a:pt x="37" y="70"/>
                </a:lnTo>
                <a:lnTo>
                  <a:pt x="25" y="56"/>
                </a:lnTo>
                <a:lnTo>
                  <a:pt x="13" y="38"/>
                </a:lnTo>
                <a:lnTo>
                  <a:pt x="0" y="18"/>
                </a:lnTo>
                <a:lnTo>
                  <a:pt x="0" y="0"/>
                </a:lnTo>
                <a:lnTo>
                  <a:pt x="7" y="2"/>
                </a:lnTo>
                <a:lnTo>
                  <a:pt x="14" y="3"/>
                </a:lnTo>
                <a:lnTo>
                  <a:pt x="20" y="4"/>
                </a:lnTo>
                <a:lnTo>
                  <a:pt x="27" y="4"/>
                </a:lnTo>
                <a:lnTo>
                  <a:pt x="33" y="4"/>
                </a:lnTo>
                <a:lnTo>
                  <a:pt x="40" y="3"/>
                </a:lnTo>
                <a:lnTo>
                  <a:pt x="47" y="2"/>
                </a:lnTo>
                <a:lnTo>
                  <a:pt x="53" y="0"/>
                </a:lnTo>
                <a:lnTo>
                  <a:pt x="140" y="12"/>
                </a:lnTo>
                <a:lnTo>
                  <a:pt x="186" y="91"/>
                </a:lnTo>
                <a:lnTo>
                  <a:pt x="171" y="112"/>
                </a:lnTo>
                <a:lnTo>
                  <a:pt x="155" y="129"/>
                </a:lnTo>
                <a:lnTo>
                  <a:pt x="149" y="137"/>
                </a:lnTo>
                <a:lnTo>
                  <a:pt x="144" y="145"/>
                </a:lnTo>
                <a:lnTo>
                  <a:pt x="142" y="150"/>
                </a:lnTo>
                <a:lnTo>
                  <a:pt x="141" y="156"/>
                </a:lnTo>
                <a:lnTo>
                  <a:pt x="140" y="161"/>
                </a:lnTo>
                <a:lnTo>
                  <a:pt x="140" y="166"/>
                </a:lnTo>
                <a:lnTo>
                  <a:pt x="86" y="147"/>
                </a:lnTo>
              </a:path>
            </a:pathLst>
          </a:custGeom>
          <a:solidFill>
            <a:srgbClr val="007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493" name="Freeform 445"/>
          <p:cNvSpPr>
            <a:spLocks/>
          </p:cNvSpPr>
          <p:nvPr>
            <p:custDataLst>
              <p:tags r:id="rId283"/>
            </p:custDataLst>
          </p:nvPr>
        </p:nvSpPr>
        <p:spPr bwMode="auto">
          <a:xfrm>
            <a:off x="2728913" y="2749156"/>
            <a:ext cx="82550" cy="42863"/>
          </a:xfrm>
          <a:custGeom>
            <a:avLst/>
            <a:gdLst/>
            <a:ahLst/>
            <a:cxnLst>
              <a:cxn ang="0">
                <a:pos x="153" y="21"/>
              </a:cxn>
              <a:cxn ang="0">
                <a:pos x="146" y="21"/>
              </a:cxn>
              <a:cxn ang="0">
                <a:pos x="141" y="20"/>
              </a:cxn>
              <a:cxn ang="0">
                <a:pos x="136" y="18"/>
              </a:cxn>
              <a:cxn ang="0">
                <a:pos x="133" y="15"/>
              </a:cxn>
              <a:cxn ang="0">
                <a:pos x="130" y="13"/>
              </a:cxn>
              <a:cxn ang="0">
                <a:pos x="125" y="11"/>
              </a:cxn>
              <a:cxn ang="0">
                <a:pos x="120" y="10"/>
              </a:cxn>
              <a:cxn ang="0">
                <a:pos x="113" y="9"/>
              </a:cxn>
              <a:cxn ang="0">
                <a:pos x="100" y="8"/>
              </a:cxn>
              <a:cxn ang="0">
                <a:pos x="88" y="6"/>
              </a:cxn>
              <a:cxn ang="0">
                <a:pos x="75" y="3"/>
              </a:cxn>
              <a:cxn ang="0">
                <a:pos x="64" y="1"/>
              </a:cxn>
              <a:cxn ang="0">
                <a:pos x="60" y="0"/>
              </a:cxn>
              <a:cxn ang="0">
                <a:pos x="54" y="0"/>
              </a:cxn>
              <a:cxn ang="0">
                <a:pos x="51" y="1"/>
              </a:cxn>
              <a:cxn ang="0">
                <a:pos x="46" y="2"/>
              </a:cxn>
              <a:cxn ang="0">
                <a:pos x="44" y="4"/>
              </a:cxn>
              <a:cxn ang="0">
                <a:pos x="42" y="6"/>
              </a:cxn>
              <a:cxn ang="0">
                <a:pos x="41" y="10"/>
              </a:cxn>
              <a:cxn ang="0">
                <a:pos x="40" y="15"/>
              </a:cxn>
              <a:cxn ang="0">
                <a:pos x="34" y="27"/>
              </a:cxn>
              <a:cxn ang="0">
                <a:pos x="20" y="47"/>
              </a:cxn>
              <a:cxn ang="0">
                <a:pos x="7" y="66"/>
              </a:cxn>
              <a:cxn ang="0">
                <a:pos x="0" y="77"/>
              </a:cxn>
              <a:cxn ang="0">
                <a:pos x="8" y="77"/>
              </a:cxn>
              <a:cxn ang="0">
                <a:pos x="16" y="78"/>
              </a:cxn>
              <a:cxn ang="0">
                <a:pos x="21" y="79"/>
              </a:cxn>
              <a:cxn ang="0">
                <a:pos x="25" y="81"/>
              </a:cxn>
              <a:cxn ang="0">
                <a:pos x="33" y="85"/>
              </a:cxn>
              <a:cxn ang="0">
                <a:pos x="40" y="89"/>
              </a:cxn>
              <a:cxn ang="0">
                <a:pos x="45" y="94"/>
              </a:cxn>
              <a:cxn ang="0">
                <a:pos x="52" y="98"/>
              </a:cxn>
              <a:cxn ang="0">
                <a:pos x="56" y="100"/>
              </a:cxn>
              <a:cxn ang="0">
                <a:pos x="61" y="101"/>
              </a:cxn>
              <a:cxn ang="0">
                <a:pos x="66" y="102"/>
              </a:cxn>
              <a:cxn ang="0">
                <a:pos x="74" y="102"/>
              </a:cxn>
              <a:cxn ang="0">
                <a:pos x="107" y="103"/>
              </a:cxn>
              <a:cxn ang="0">
                <a:pos x="131" y="104"/>
              </a:cxn>
              <a:cxn ang="0">
                <a:pos x="135" y="103"/>
              </a:cxn>
              <a:cxn ang="0">
                <a:pos x="139" y="102"/>
              </a:cxn>
              <a:cxn ang="0">
                <a:pos x="142" y="100"/>
              </a:cxn>
              <a:cxn ang="0">
                <a:pos x="145" y="97"/>
              </a:cxn>
              <a:cxn ang="0">
                <a:pos x="147" y="94"/>
              </a:cxn>
              <a:cxn ang="0">
                <a:pos x="150" y="88"/>
              </a:cxn>
              <a:cxn ang="0">
                <a:pos x="152" y="83"/>
              </a:cxn>
              <a:cxn ang="0">
                <a:pos x="153" y="77"/>
              </a:cxn>
              <a:cxn ang="0">
                <a:pos x="186" y="27"/>
              </a:cxn>
              <a:cxn ang="0">
                <a:pos x="153" y="21"/>
              </a:cxn>
            </a:cxnLst>
            <a:rect l="0" t="0" r="r" b="b"/>
            <a:pathLst>
              <a:path w="186" h="104">
                <a:moveTo>
                  <a:pt x="153" y="21"/>
                </a:moveTo>
                <a:lnTo>
                  <a:pt x="146" y="21"/>
                </a:lnTo>
                <a:lnTo>
                  <a:pt x="141" y="20"/>
                </a:lnTo>
                <a:lnTo>
                  <a:pt x="136" y="18"/>
                </a:lnTo>
                <a:lnTo>
                  <a:pt x="133" y="15"/>
                </a:lnTo>
                <a:lnTo>
                  <a:pt x="130" y="13"/>
                </a:lnTo>
                <a:lnTo>
                  <a:pt x="125" y="11"/>
                </a:lnTo>
                <a:lnTo>
                  <a:pt x="120" y="10"/>
                </a:lnTo>
                <a:lnTo>
                  <a:pt x="113" y="9"/>
                </a:lnTo>
                <a:lnTo>
                  <a:pt x="100" y="8"/>
                </a:lnTo>
                <a:lnTo>
                  <a:pt x="88" y="6"/>
                </a:lnTo>
                <a:lnTo>
                  <a:pt x="75" y="3"/>
                </a:lnTo>
                <a:lnTo>
                  <a:pt x="64" y="1"/>
                </a:lnTo>
                <a:lnTo>
                  <a:pt x="60" y="0"/>
                </a:lnTo>
                <a:lnTo>
                  <a:pt x="54" y="0"/>
                </a:lnTo>
                <a:lnTo>
                  <a:pt x="51" y="1"/>
                </a:lnTo>
                <a:lnTo>
                  <a:pt x="46" y="2"/>
                </a:lnTo>
                <a:lnTo>
                  <a:pt x="44" y="4"/>
                </a:lnTo>
                <a:lnTo>
                  <a:pt x="42" y="6"/>
                </a:lnTo>
                <a:lnTo>
                  <a:pt x="41" y="10"/>
                </a:lnTo>
                <a:lnTo>
                  <a:pt x="40" y="15"/>
                </a:lnTo>
                <a:lnTo>
                  <a:pt x="34" y="27"/>
                </a:lnTo>
                <a:lnTo>
                  <a:pt x="20" y="47"/>
                </a:lnTo>
                <a:lnTo>
                  <a:pt x="7" y="66"/>
                </a:lnTo>
                <a:lnTo>
                  <a:pt x="0" y="77"/>
                </a:lnTo>
                <a:lnTo>
                  <a:pt x="8" y="77"/>
                </a:lnTo>
                <a:lnTo>
                  <a:pt x="16" y="78"/>
                </a:lnTo>
                <a:lnTo>
                  <a:pt x="21" y="79"/>
                </a:lnTo>
                <a:lnTo>
                  <a:pt x="25" y="81"/>
                </a:lnTo>
                <a:lnTo>
                  <a:pt x="33" y="85"/>
                </a:lnTo>
                <a:lnTo>
                  <a:pt x="40" y="89"/>
                </a:lnTo>
                <a:lnTo>
                  <a:pt x="45" y="94"/>
                </a:lnTo>
                <a:lnTo>
                  <a:pt x="52" y="98"/>
                </a:lnTo>
                <a:lnTo>
                  <a:pt x="56" y="100"/>
                </a:lnTo>
                <a:lnTo>
                  <a:pt x="61" y="101"/>
                </a:lnTo>
                <a:lnTo>
                  <a:pt x="66" y="102"/>
                </a:lnTo>
                <a:lnTo>
                  <a:pt x="74" y="102"/>
                </a:lnTo>
                <a:lnTo>
                  <a:pt x="107" y="103"/>
                </a:lnTo>
                <a:lnTo>
                  <a:pt x="131" y="104"/>
                </a:lnTo>
                <a:lnTo>
                  <a:pt x="135" y="103"/>
                </a:lnTo>
                <a:lnTo>
                  <a:pt x="139" y="102"/>
                </a:lnTo>
                <a:lnTo>
                  <a:pt x="142" y="100"/>
                </a:lnTo>
                <a:lnTo>
                  <a:pt x="145" y="97"/>
                </a:lnTo>
                <a:lnTo>
                  <a:pt x="147" y="94"/>
                </a:lnTo>
                <a:lnTo>
                  <a:pt x="150" y="88"/>
                </a:lnTo>
                <a:lnTo>
                  <a:pt x="152" y="83"/>
                </a:lnTo>
                <a:lnTo>
                  <a:pt x="153" y="77"/>
                </a:lnTo>
                <a:lnTo>
                  <a:pt x="186" y="27"/>
                </a:lnTo>
                <a:lnTo>
                  <a:pt x="153" y="2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494" name="Freeform 446"/>
          <p:cNvSpPr>
            <a:spLocks/>
          </p:cNvSpPr>
          <p:nvPr>
            <p:custDataLst>
              <p:tags r:id="rId284"/>
            </p:custDataLst>
          </p:nvPr>
        </p:nvSpPr>
        <p:spPr bwMode="auto">
          <a:xfrm>
            <a:off x="4522791" y="1697836"/>
            <a:ext cx="133350" cy="72629"/>
          </a:xfrm>
          <a:custGeom>
            <a:avLst/>
            <a:gdLst/>
            <a:ahLst/>
            <a:cxnLst>
              <a:cxn ang="0">
                <a:pos x="79" y="38"/>
              </a:cxn>
              <a:cxn ang="0">
                <a:pos x="115" y="26"/>
              </a:cxn>
              <a:cxn ang="0">
                <a:pos x="148" y="14"/>
              </a:cxn>
              <a:cxn ang="0">
                <a:pos x="178" y="4"/>
              </a:cxn>
              <a:cxn ang="0">
                <a:pos x="211" y="0"/>
              </a:cxn>
              <a:cxn ang="0">
                <a:pos x="236" y="2"/>
              </a:cxn>
              <a:cxn ang="0">
                <a:pos x="256" y="6"/>
              </a:cxn>
              <a:cxn ang="0">
                <a:pos x="292" y="12"/>
              </a:cxn>
              <a:cxn ang="0">
                <a:pos x="287" y="28"/>
              </a:cxn>
              <a:cxn ang="0">
                <a:pos x="278" y="42"/>
              </a:cxn>
              <a:cxn ang="0">
                <a:pos x="269" y="53"/>
              </a:cxn>
              <a:cxn ang="0">
                <a:pos x="265" y="62"/>
              </a:cxn>
              <a:cxn ang="0">
                <a:pos x="266" y="66"/>
              </a:cxn>
              <a:cxn ang="0">
                <a:pos x="271" y="71"/>
              </a:cxn>
              <a:cxn ang="0">
                <a:pos x="285" y="79"/>
              </a:cxn>
              <a:cxn ang="0">
                <a:pos x="311" y="93"/>
              </a:cxn>
              <a:cxn ang="0">
                <a:pos x="287" y="107"/>
              </a:cxn>
              <a:cxn ang="0">
                <a:pos x="281" y="115"/>
              </a:cxn>
              <a:cxn ang="0">
                <a:pos x="278" y="129"/>
              </a:cxn>
              <a:cxn ang="0">
                <a:pos x="252" y="136"/>
              </a:cxn>
              <a:cxn ang="0">
                <a:pos x="211" y="148"/>
              </a:cxn>
              <a:cxn ang="0">
                <a:pos x="191" y="168"/>
              </a:cxn>
              <a:cxn ang="0">
                <a:pos x="178" y="176"/>
              </a:cxn>
              <a:cxn ang="0">
                <a:pos x="165" y="179"/>
              </a:cxn>
              <a:cxn ang="0">
                <a:pos x="151" y="175"/>
              </a:cxn>
              <a:cxn ang="0">
                <a:pos x="137" y="167"/>
              </a:cxn>
              <a:cxn ang="0">
                <a:pos x="120" y="158"/>
              </a:cxn>
              <a:cxn ang="0">
                <a:pos x="98" y="155"/>
              </a:cxn>
              <a:cxn ang="0">
                <a:pos x="66" y="155"/>
              </a:cxn>
              <a:cxn ang="0">
                <a:pos x="51" y="157"/>
              </a:cxn>
              <a:cxn ang="0">
                <a:pos x="39" y="161"/>
              </a:cxn>
              <a:cxn ang="0">
                <a:pos x="36" y="142"/>
              </a:cxn>
              <a:cxn ang="0">
                <a:pos x="32" y="123"/>
              </a:cxn>
              <a:cxn ang="0">
                <a:pos x="21" y="128"/>
              </a:cxn>
              <a:cxn ang="0">
                <a:pos x="13" y="129"/>
              </a:cxn>
              <a:cxn ang="0">
                <a:pos x="7" y="126"/>
              </a:cxn>
              <a:cxn ang="0">
                <a:pos x="3" y="121"/>
              </a:cxn>
              <a:cxn ang="0">
                <a:pos x="0" y="105"/>
              </a:cxn>
              <a:cxn ang="0">
                <a:pos x="0" y="87"/>
              </a:cxn>
              <a:cxn ang="0">
                <a:pos x="3" y="82"/>
              </a:cxn>
              <a:cxn ang="0">
                <a:pos x="13" y="78"/>
              </a:cxn>
              <a:cxn ang="0">
                <a:pos x="21" y="72"/>
              </a:cxn>
              <a:cxn ang="0">
                <a:pos x="25" y="68"/>
              </a:cxn>
              <a:cxn ang="0">
                <a:pos x="26" y="62"/>
              </a:cxn>
              <a:cxn ang="0">
                <a:pos x="24" y="51"/>
              </a:cxn>
              <a:cxn ang="0">
                <a:pos x="19" y="43"/>
              </a:cxn>
              <a:cxn ang="0">
                <a:pos x="8" y="29"/>
              </a:cxn>
              <a:cxn ang="0">
                <a:pos x="1" y="18"/>
              </a:cxn>
              <a:cxn ang="0">
                <a:pos x="1" y="13"/>
              </a:cxn>
              <a:cxn ang="0">
                <a:pos x="6" y="6"/>
              </a:cxn>
              <a:cxn ang="0">
                <a:pos x="0" y="6"/>
              </a:cxn>
            </a:cxnLst>
            <a:rect l="0" t="0" r="r" b="b"/>
            <a:pathLst>
              <a:path w="311" h="179">
                <a:moveTo>
                  <a:pt x="0" y="6"/>
                </a:moveTo>
                <a:lnTo>
                  <a:pt x="79" y="38"/>
                </a:lnTo>
                <a:lnTo>
                  <a:pt x="97" y="33"/>
                </a:lnTo>
                <a:lnTo>
                  <a:pt x="115" y="26"/>
                </a:lnTo>
                <a:lnTo>
                  <a:pt x="132" y="20"/>
                </a:lnTo>
                <a:lnTo>
                  <a:pt x="148" y="14"/>
                </a:lnTo>
                <a:lnTo>
                  <a:pt x="163" y="9"/>
                </a:lnTo>
                <a:lnTo>
                  <a:pt x="178" y="4"/>
                </a:lnTo>
                <a:lnTo>
                  <a:pt x="195" y="1"/>
                </a:lnTo>
                <a:lnTo>
                  <a:pt x="211" y="0"/>
                </a:lnTo>
                <a:lnTo>
                  <a:pt x="224" y="1"/>
                </a:lnTo>
                <a:lnTo>
                  <a:pt x="236" y="2"/>
                </a:lnTo>
                <a:lnTo>
                  <a:pt x="247" y="4"/>
                </a:lnTo>
                <a:lnTo>
                  <a:pt x="256" y="6"/>
                </a:lnTo>
                <a:lnTo>
                  <a:pt x="275" y="10"/>
                </a:lnTo>
                <a:lnTo>
                  <a:pt x="292" y="12"/>
                </a:lnTo>
                <a:lnTo>
                  <a:pt x="290" y="21"/>
                </a:lnTo>
                <a:lnTo>
                  <a:pt x="287" y="28"/>
                </a:lnTo>
                <a:lnTo>
                  <a:pt x="283" y="36"/>
                </a:lnTo>
                <a:lnTo>
                  <a:pt x="278" y="42"/>
                </a:lnTo>
                <a:lnTo>
                  <a:pt x="273" y="48"/>
                </a:lnTo>
                <a:lnTo>
                  <a:pt x="269" y="53"/>
                </a:lnTo>
                <a:lnTo>
                  <a:pt x="266" y="57"/>
                </a:lnTo>
                <a:lnTo>
                  <a:pt x="265" y="62"/>
                </a:lnTo>
                <a:lnTo>
                  <a:pt x="265" y="64"/>
                </a:lnTo>
                <a:lnTo>
                  <a:pt x="266" y="66"/>
                </a:lnTo>
                <a:lnTo>
                  <a:pt x="269" y="69"/>
                </a:lnTo>
                <a:lnTo>
                  <a:pt x="271" y="71"/>
                </a:lnTo>
                <a:lnTo>
                  <a:pt x="277" y="75"/>
                </a:lnTo>
                <a:lnTo>
                  <a:pt x="285" y="79"/>
                </a:lnTo>
                <a:lnTo>
                  <a:pt x="301" y="87"/>
                </a:lnTo>
                <a:lnTo>
                  <a:pt x="311" y="93"/>
                </a:lnTo>
                <a:lnTo>
                  <a:pt x="298" y="100"/>
                </a:lnTo>
                <a:lnTo>
                  <a:pt x="287" y="107"/>
                </a:lnTo>
                <a:lnTo>
                  <a:pt x="283" y="110"/>
                </a:lnTo>
                <a:lnTo>
                  <a:pt x="281" y="115"/>
                </a:lnTo>
                <a:lnTo>
                  <a:pt x="278" y="121"/>
                </a:lnTo>
                <a:lnTo>
                  <a:pt x="278" y="129"/>
                </a:lnTo>
                <a:lnTo>
                  <a:pt x="271" y="131"/>
                </a:lnTo>
                <a:lnTo>
                  <a:pt x="252" y="136"/>
                </a:lnTo>
                <a:lnTo>
                  <a:pt x="230" y="143"/>
                </a:lnTo>
                <a:lnTo>
                  <a:pt x="211" y="148"/>
                </a:lnTo>
                <a:lnTo>
                  <a:pt x="202" y="158"/>
                </a:lnTo>
                <a:lnTo>
                  <a:pt x="191" y="168"/>
                </a:lnTo>
                <a:lnTo>
                  <a:pt x="185" y="172"/>
                </a:lnTo>
                <a:lnTo>
                  <a:pt x="178" y="176"/>
                </a:lnTo>
                <a:lnTo>
                  <a:pt x="172" y="178"/>
                </a:lnTo>
                <a:lnTo>
                  <a:pt x="165" y="179"/>
                </a:lnTo>
                <a:lnTo>
                  <a:pt x="158" y="178"/>
                </a:lnTo>
                <a:lnTo>
                  <a:pt x="151" y="175"/>
                </a:lnTo>
                <a:lnTo>
                  <a:pt x="144" y="171"/>
                </a:lnTo>
                <a:lnTo>
                  <a:pt x="137" y="167"/>
                </a:lnTo>
                <a:lnTo>
                  <a:pt x="129" y="162"/>
                </a:lnTo>
                <a:lnTo>
                  <a:pt x="120" y="158"/>
                </a:lnTo>
                <a:lnTo>
                  <a:pt x="110" y="156"/>
                </a:lnTo>
                <a:lnTo>
                  <a:pt x="98" y="155"/>
                </a:lnTo>
                <a:lnTo>
                  <a:pt x="83" y="155"/>
                </a:lnTo>
                <a:lnTo>
                  <a:pt x="66" y="155"/>
                </a:lnTo>
                <a:lnTo>
                  <a:pt x="59" y="156"/>
                </a:lnTo>
                <a:lnTo>
                  <a:pt x="51" y="157"/>
                </a:lnTo>
                <a:lnTo>
                  <a:pt x="45" y="159"/>
                </a:lnTo>
                <a:lnTo>
                  <a:pt x="39" y="161"/>
                </a:lnTo>
                <a:lnTo>
                  <a:pt x="38" y="151"/>
                </a:lnTo>
                <a:lnTo>
                  <a:pt x="36" y="142"/>
                </a:lnTo>
                <a:lnTo>
                  <a:pt x="34" y="132"/>
                </a:lnTo>
                <a:lnTo>
                  <a:pt x="32" y="123"/>
                </a:lnTo>
                <a:lnTo>
                  <a:pt x="26" y="126"/>
                </a:lnTo>
                <a:lnTo>
                  <a:pt x="21" y="128"/>
                </a:lnTo>
                <a:lnTo>
                  <a:pt x="17" y="129"/>
                </a:lnTo>
                <a:lnTo>
                  <a:pt x="13" y="129"/>
                </a:lnTo>
                <a:lnTo>
                  <a:pt x="9" y="128"/>
                </a:lnTo>
                <a:lnTo>
                  <a:pt x="7" y="126"/>
                </a:lnTo>
                <a:lnTo>
                  <a:pt x="5" y="124"/>
                </a:lnTo>
                <a:lnTo>
                  <a:pt x="3" y="121"/>
                </a:lnTo>
                <a:lnTo>
                  <a:pt x="1" y="114"/>
                </a:lnTo>
                <a:lnTo>
                  <a:pt x="0" y="105"/>
                </a:lnTo>
                <a:lnTo>
                  <a:pt x="0" y="96"/>
                </a:lnTo>
                <a:lnTo>
                  <a:pt x="0" y="87"/>
                </a:lnTo>
                <a:lnTo>
                  <a:pt x="1" y="84"/>
                </a:lnTo>
                <a:lnTo>
                  <a:pt x="3" y="82"/>
                </a:lnTo>
                <a:lnTo>
                  <a:pt x="7" y="80"/>
                </a:lnTo>
                <a:lnTo>
                  <a:pt x="13" y="78"/>
                </a:lnTo>
                <a:lnTo>
                  <a:pt x="17" y="76"/>
                </a:lnTo>
                <a:lnTo>
                  <a:pt x="21" y="72"/>
                </a:lnTo>
                <a:lnTo>
                  <a:pt x="23" y="70"/>
                </a:lnTo>
                <a:lnTo>
                  <a:pt x="25" y="68"/>
                </a:lnTo>
                <a:lnTo>
                  <a:pt x="25" y="65"/>
                </a:lnTo>
                <a:lnTo>
                  <a:pt x="26" y="62"/>
                </a:lnTo>
                <a:lnTo>
                  <a:pt x="25" y="56"/>
                </a:lnTo>
                <a:lnTo>
                  <a:pt x="24" y="51"/>
                </a:lnTo>
                <a:lnTo>
                  <a:pt x="21" y="47"/>
                </a:lnTo>
                <a:lnTo>
                  <a:pt x="19" y="43"/>
                </a:lnTo>
                <a:lnTo>
                  <a:pt x="14" y="36"/>
                </a:lnTo>
                <a:lnTo>
                  <a:pt x="8" y="29"/>
                </a:lnTo>
                <a:lnTo>
                  <a:pt x="3" y="24"/>
                </a:lnTo>
                <a:lnTo>
                  <a:pt x="1" y="18"/>
                </a:lnTo>
                <a:lnTo>
                  <a:pt x="0" y="16"/>
                </a:lnTo>
                <a:lnTo>
                  <a:pt x="1" y="13"/>
                </a:lnTo>
                <a:lnTo>
                  <a:pt x="3" y="10"/>
                </a:lnTo>
                <a:lnTo>
                  <a:pt x="6" y="6"/>
                </a:lnTo>
                <a:lnTo>
                  <a:pt x="3" y="6"/>
                </a:lnTo>
                <a:lnTo>
                  <a:pt x="0" y="6"/>
                </a:lnTo>
              </a:path>
            </a:pathLst>
          </a:custGeom>
          <a:solidFill>
            <a:srgbClr val="007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495" name="Freeform 447"/>
          <p:cNvSpPr>
            <a:spLocks/>
          </p:cNvSpPr>
          <p:nvPr>
            <p:custDataLst>
              <p:tags r:id="rId285"/>
            </p:custDataLst>
          </p:nvPr>
        </p:nvSpPr>
        <p:spPr bwMode="auto">
          <a:xfrm>
            <a:off x="3878263" y="2393156"/>
            <a:ext cx="177800" cy="123825"/>
          </a:xfrm>
          <a:custGeom>
            <a:avLst/>
            <a:gdLst/>
            <a:ahLst/>
            <a:cxnLst>
              <a:cxn ang="0">
                <a:pos x="6" y="260"/>
              </a:cxn>
              <a:cxn ang="0">
                <a:pos x="13" y="237"/>
              </a:cxn>
              <a:cxn ang="0">
                <a:pos x="17" y="202"/>
              </a:cxn>
              <a:cxn ang="0">
                <a:pos x="23" y="173"/>
              </a:cxn>
              <a:cxn ang="0">
                <a:pos x="32" y="162"/>
              </a:cxn>
              <a:cxn ang="0">
                <a:pos x="48" y="150"/>
              </a:cxn>
              <a:cxn ang="0">
                <a:pos x="72" y="141"/>
              </a:cxn>
              <a:cxn ang="0">
                <a:pos x="93" y="134"/>
              </a:cxn>
              <a:cxn ang="0">
                <a:pos x="104" y="125"/>
              </a:cxn>
              <a:cxn ang="0">
                <a:pos x="113" y="114"/>
              </a:cxn>
              <a:cxn ang="0">
                <a:pos x="123" y="93"/>
              </a:cxn>
              <a:cxn ang="0">
                <a:pos x="136" y="69"/>
              </a:cxn>
              <a:cxn ang="0">
                <a:pos x="147" y="55"/>
              </a:cxn>
              <a:cxn ang="0">
                <a:pos x="155" y="51"/>
              </a:cxn>
              <a:cxn ang="0">
                <a:pos x="170" y="51"/>
              </a:cxn>
              <a:cxn ang="0">
                <a:pos x="189" y="48"/>
              </a:cxn>
              <a:cxn ang="0">
                <a:pos x="213" y="35"/>
              </a:cxn>
              <a:cxn ang="0">
                <a:pos x="237" y="20"/>
              </a:cxn>
              <a:cxn ang="0">
                <a:pos x="257" y="11"/>
              </a:cxn>
              <a:cxn ang="0">
                <a:pos x="282" y="4"/>
              </a:cxn>
              <a:cxn ang="0">
                <a:pos x="314" y="0"/>
              </a:cxn>
              <a:cxn ang="0">
                <a:pos x="332" y="14"/>
              </a:cxn>
              <a:cxn ang="0">
                <a:pos x="337" y="34"/>
              </a:cxn>
              <a:cxn ang="0">
                <a:pos x="343" y="50"/>
              </a:cxn>
              <a:cxn ang="0">
                <a:pos x="352" y="62"/>
              </a:cxn>
              <a:cxn ang="0">
                <a:pos x="368" y="74"/>
              </a:cxn>
              <a:cxn ang="0">
                <a:pos x="382" y="85"/>
              </a:cxn>
              <a:cxn ang="0">
                <a:pos x="390" y="93"/>
              </a:cxn>
              <a:cxn ang="0">
                <a:pos x="396" y="115"/>
              </a:cxn>
              <a:cxn ang="0">
                <a:pos x="398" y="143"/>
              </a:cxn>
              <a:cxn ang="0">
                <a:pos x="398" y="170"/>
              </a:cxn>
              <a:cxn ang="0">
                <a:pos x="402" y="196"/>
              </a:cxn>
              <a:cxn ang="0">
                <a:pos x="398" y="217"/>
              </a:cxn>
              <a:cxn ang="0">
                <a:pos x="382" y="226"/>
              </a:cxn>
              <a:cxn ang="0">
                <a:pos x="365" y="241"/>
              </a:cxn>
              <a:cxn ang="0">
                <a:pos x="363" y="237"/>
              </a:cxn>
              <a:cxn ang="0">
                <a:pos x="358" y="233"/>
              </a:cxn>
              <a:cxn ang="0">
                <a:pos x="342" y="227"/>
              </a:cxn>
              <a:cxn ang="0">
                <a:pos x="319" y="223"/>
              </a:cxn>
              <a:cxn ang="0">
                <a:pos x="152" y="241"/>
              </a:cxn>
              <a:cxn ang="0">
                <a:pos x="150" y="257"/>
              </a:cxn>
              <a:cxn ang="0">
                <a:pos x="150" y="274"/>
              </a:cxn>
              <a:cxn ang="0">
                <a:pos x="152" y="314"/>
              </a:cxn>
              <a:cxn ang="0">
                <a:pos x="139" y="312"/>
              </a:cxn>
              <a:cxn ang="0">
                <a:pos x="126" y="305"/>
              </a:cxn>
              <a:cxn ang="0">
                <a:pos x="100" y="290"/>
              </a:cxn>
              <a:cxn ang="0">
                <a:pos x="89" y="307"/>
              </a:cxn>
              <a:cxn ang="0">
                <a:pos x="82" y="312"/>
              </a:cxn>
              <a:cxn ang="0">
                <a:pos x="73" y="314"/>
              </a:cxn>
              <a:cxn ang="0">
                <a:pos x="60" y="311"/>
              </a:cxn>
              <a:cxn ang="0">
                <a:pos x="47" y="302"/>
              </a:cxn>
              <a:cxn ang="0">
                <a:pos x="28" y="291"/>
              </a:cxn>
              <a:cxn ang="0">
                <a:pos x="0" y="284"/>
              </a:cxn>
            </a:cxnLst>
            <a:rect l="0" t="0" r="r" b="b"/>
            <a:pathLst>
              <a:path w="405" h="314">
                <a:moveTo>
                  <a:pt x="0" y="272"/>
                </a:moveTo>
                <a:lnTo>
                  <a:pt x="6" y="260"/>
                </a:lnTo>
                <a:lnTo>
                  <a:pt x="11" y="248"/>
                </a:lnTo>
                <a:lnTo>
                  <a:pt x="13" y="237"/>
                </a:lnTo>
                <a:lnTo>
                  <a:pt x="15" y="226"/>
                </a:lnTo>
                <a:lnTo>
                  <a:pt x="17" y="202"/>
                </a:lnTo>
                <a:lnTo>
                  <a:pt x="20" y="179"/>
                </a:lnTo>
                <a:lnTo>
                  <a:pt x="23" y="173"/>
                </a:lnTo>
                <a:lnTo>
                  <a:pt x="26" y="167"/>
                </a:lnTo>
                <a:lnTo>
                  <a:pt x="32" y="162"/>
                </a:lnTo>
                <a:lnTo>
                  <a:pt x="36" y="158"/>
                </a:lnTo>
                <a:lnTo>
                  <a:pt x="48" y="150"/>
                </a:lnTo>
                <a:lnTo>
                  <a:pt x="60" y="145"/>
                </a:lnTo>
                <a:lnTo>
                  <a:pt x="72" y="141"/>
                </a:lnTo>
                <a:lnTo>
                  <a:pt x="83" y="137"/>
                </a:lnTo>
                <a:lnTo>
                  <a:pt x="93" y="134"/>
                </a:lnTo>
                <a:lnTo>
                  <a:pt x="100" y="130"/>
                </a:lnTo>
                <a:lnTo>
                  <a:pt x="104" y="125"/>
                </a:lnTo>
                <a:lnTo>
                  <a:pt x="109" y="120"/>
                </a:lnTo>
                <a:lnTo>
                  <a:pt x="113" y="114"/>
                </a:lnTo>
                <a:lnTo>
                  <a:pt x="116" y="107"/>
                </a:lnTo>
                <a:lnTo>
                  <a:pt x="123" y="93"/>
                </a:lnTo>
                <a:lnTo>
                  <a:pt x="129" y="81"/>
                </a:lnTo>
                <a:lnTo>
                  <a:pt x="136" y="69"/>
                </a:lnTo>
                <a:lnTo>
                  <a:pt x="143" y="59"/>
                </a:lnTo>
                <a:lnTo>
                  <a:pt x="147" y="55"/>
                </a:lnTo>
                <a:lnTo>
                  <a:pt x="150" y="53"/>
                </a:lnTo>
                <a:lnTo>
                  <a:pt x="155" y="51"/>
                </a:lnTo>
                <a:lnTo>
                  <a:pt x="159" y="50"/>
                </a:lnTo>
                <a:lnTo>
                  <a:pt x="170" y="51"/>
                </a:lnTo>
                <a:lnTo>
                  <a:pt x="180" y="50"/>
                </a:lnTo>
                <a:lnTo>
                  <a:pt x="189" y="48"/>
                </a:lnTo>
                <a:lnTo>
                  <a:pt x="196" y="44"/>
                </a:lnTo>
                <a:lnTo>
                  <a:pt x="213" y="35"/>
                </a:lnTo>
                <a:lnTo>
                  <a:pt x="228" y="25"/>
                </a:lnTo>
                <a:lnTo>
                  <a:pt x="237" y="20"/>
                </a:lnTo>
                <a:lnTo>
                  <a:pt x="247" y="15"/>
                </a:lnTo>
                <a:lnTo>
                  <a:pt x="257" y="11"/>
                </a:lnTo>
                <a:lnTo>
                  <a:pt x="269" y="7"/>
                </a:lnTo>
                <a:lnTo>
                  <a:pt x="282" y="4"/>
                </a:lnTo>
                <a:lnTo>
                  <a:pt x="296" y="1"/>
                </a:lnTo>
                <a:lnTo>
                  <a:pt x="314" y="0"/>
                </a:lnTo>
                <a:lnTo>
                  <a:pt x="332" y="1"/>
                </a:lnTo>
                <a:lnTo>
                  <a:pt x="332" y="14"/>
                </a:lnTo>
                <a:lnTo>
                  <a:pt x="335" y="25"/>
                </a:lnTo>
                <a:lnTo>
                  <a:pt x="337" y="34"/>
                </a:lnTo>
                <a:lnTo>
                  <a:pt x="340" y="43"/>
                </a:lnTo>
                <a:lnTo>
                  <a:pt x="343" y="50"/>
                </a:lnTo>
                <a:lnTo>
                  <a:pt x="348" y="56"/>
                </a:lnTo>
                <a:lnTo>
                  <a:pt x="352" y="62"/>
                </a:lnTo>
                <a:lnTo>
                  <a:pt x="357" y="66"/>
                </a:lnTo>
                <a:lnTo>
                  <a:pt x="368" y="74"/>
                </a:lnTo>
                <a:lnTo>
                  <a:pt x="378" y="81"/>
                </a:lnTo>
                <a:lnTo>
                  <a:pt x="382" y="85"/>
                </a:lnTo>
                <a:lnTo>
                  <a:pt x="385" y="89"/>
                </a:lnTo>
                <a:lnTo>
                  <a:pt x="390" y="93"/>
                </a:lnTo>
                <a:lnTo>
                  <a:pt x="392" y="100"/>
                </a:lnTo>
                <a:lnTo>
                  <a:pt x="396" y="115"/>
                </a:lnTo>
                <a:lnTo>
                  <a:pt x="398" y="129"/>
                </a:lnTo>
                <a:lnTo>
                  <a:pt x="398" y="143"/>
                </a:lnTo>
                <a:lnTo>
                  <a:pt x="398" y="157"/>
                </a:lnTo>
                <a:lnTo>
                  <a:pt x="398" y="170"/>
                </a:lnTo>
                <a:lnTo>
                  <a:pt x="399" y="183"/>
                </a:lnTo>
                <a:lnTo>
                  <a:pt x="402" y="196"/>
                </a:lnTo>
                <a:lnTo>
                  <a:pt x="405" y="211"/>
                </a:lnTo>
                <a:lnTo>
                  <a:pt x="398" y="217"/>
                </a:lnTo>
                <a:lnTo>
                  <a:pt x="390" y="221"/>
                </a:lnTo>
                <a:lnTo>
                  <a:pt x="382" y="226"/>
                </a:lnTo>
                <a:lnTo>
                  <a:pt x="374" y="233"/>
                </a:lnTo>
                <a:lnTo>
                  <a:pt x="365" y="241"/>
                </a:lnTo>
                <a:lnTo>
                  <a:pt x="365" y="239"/>
                </a:lnTo>
                <a:lnTo>
                  <a:pt x="363" y="237"/>
                </a:lnTo>
                <a:lnTo>
                  <a:pt x="361" y="235"/>
                </a:lnTo>
                <a:lnTo>
                  <a:pt x="358" y="233"/>
                </a:lnTo>
                <a:lnTo>
                  <a:pt x="351" y="230"/>
                </a:lnTo>
                <a:lnTo>
                  <a:pt x="342" y="227"/>
                </a:lnTo>
                <a:lnTo>
                  <a:pt x="326" y="224"/>
                </a:lnTo>
                <a:lnTo>
                  <a:pt x="319" y="223"/>
                </a:lnTo>
                <a:lnTo>
                  <a:pt x="300" y="241"/>
                </a:lnTo>
                <a:lnTo>
                  <a:pt x="152" y="241"/>
                </a:lnTo>
                <a:lnTo>
                  <a:pt x="151" y="249"/>
                </a:lnTo>
                <a:lnTo>
                  <a:pt x="150" y="257"/>
                </a:lnTo>
                <a:lnTo>
                  <a:pt x="150" y="266"/>
                </a:lnTo>
                <a:lnTo>
                  <a:pt x="150" y="274"/>
                </a:lnTo>
                <a:lnTo>
                  <a:pt x="152" y="291"/>
                </a:lnTo>
                <a:lnTo>
                  <a:pt x="152" y="314"/>
                </a:lnTo>
                <a:lnTo>
                  <a:pt x="146" y="314"/>
                </a:lnTo>
                <a:lnTo>
                  <a:pt x="139" y="312"/>
                </a:lnTo>
                <a:lnTo>
                  <a:pt x="133" y="308"/>
                </a:lnTo>
                <a:lnTo>
                  <a:pt x="126" y="305"/>
                </a:lnTo>
                <a:lnTo>
                  <a:pt x="114" y="297"/>
                </a:lnTo>
                <a:lnTo>
                  <a:pt x="100" y="290"/>
                </a:lnTo>
                <a:lnTo>
                  <a:pt x="94" y="299"/>
                </a:lnTo>
                <a:lnTo>
                  <a:pt x="89" y="307"/>
                </a:lnTo>
                <a:lnTo>
                  <a:pt x="85" y="310"/>
                </a:lnTo>
                <a:lnTo>
                  <a:pt x="82" y="312"/>
                </a:lnTo>
                <a:lnTo>
                  <a:pt x="78" y="314"/>
                </a:lnTo>
                <a:lnTo>
                  <a:pt x="73" y="314"/>
                </a:lnTo>
                <a:lnTo>
                  <a:pt x="66" y="313"/>
                </a:lnTo>
                <a:lnTo>
                  <a:pt x="60" y="311"/>
                </a:lnTo>
                <a:lnTo>
                  <a:pt x="54" y="306"/>
                </a:lnTo>
                <a:lnTo>
                  <a:pt x="47" y="302"/>
                </a:lnTo>
                <a:lnTo>
                  <a:pt x="38" y="296"/>
                </a:lnTo>
                <a:lnTo>
                  <a:pt x="28" y="291"/>
                </a:lnTo>
                <a:lnTo>
                  <a:pt x="16" y="287"/>
                </a:lnTo>
                <a:lnTo>
                  <a:pt x="0" y="284"/>
                </a:lnTo>
                <a:lnTo>
                  <a:pt x="0" y="27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496" name="Freeform 448"/>
          <p:cNvSpPr>
            <a:spLocks/>
          </p:cNvSpPr>
          <p:nvPr>
            <p:custDataLst>
              <p:tags r:id="rId286"/>
            </p:custDataLst>
          </p:nvPr>
        </p:nvSpPr>
        <p:spPr bwMode="auto">
          <a:xfrm>
            <a:off x="4225932" y="2444355"/>
            <a:ext cx="193675" cy="261938"/>
          </a:xfrm>
          <a:custGeom>
            <a:avLst/>
            <a:gdLst/>
            <a:ahLst/>
            <a:cxnLst>
              <a:cxn ang="0">
                <a:pos x="335" y="36"/>
              </a:cxn>
              <a:cxn ang="0">
                <a:pos x="321" y="98"/>
              </a:cxn>
              <a:cxn ang="0">
                <a:pos x="277" y="162"/>
              </a:cxn>
              <a:cxn ang="0">
                <a:pos x="253" y="219"/>
              </a:cxn>
              <a:cxn ang="0">
                <a:pos x="232" y="272"/>
              </a:cxn>
              <a:cxn ang="0">
                <a:pos x="209" y="329"/>
              </a:cxn>
              <a:cxn ang="0">
                <a:pos x="196" y="362"/>
              </a:cxn>
              <a:cxn ang="0">
                <a:pos x="180" y="380"/>
              </a:cxn>
              <a:cxn ang="0">
                <a:pos x="167" y="390"/>
              </a:cxn>
              <a:cxn ang="0">
                <a:pos x="141" y="382"/>
              </a:cxn>
              <a:cxn ang="0">
                <a:pos x="121" y="370"/>
              </a:cxn>
              <a:cxn ang="0">
                <a:pos x="94" y="367"/>
              </a:cxn>
              <a:cxn ang="0">
                <a:pos x="64" y="380"/>
              </a:cxn>
              <a:cxn ang="0">
                <a:pos x="44" y="403"/>
              </a:cxn>
              <a:cxn ang="0">
                <a:pos x="21" y="454"/>
              </a:cxn>
              <a:cxn ang="0">
                <a:pos x="7" y="482"/>
              </a:cxn>
              <a:cxn ang="0">
                <a:pos x="1" y="500"/>
              </a:cxn>
              <a:cxn ang="0">
                <a:pos x="8" y="517"/>
              </a:cxn>
              <a:cxn ang="0">
                <a:pos x="20" y="526"/>
              </a:cxn>
              <a:cxn ang="0">
                <a:pos x="55" y="526"/>
              </a:cxn>
              <a:cxn ang="0">
                <a:pos x="71" y="548"/>
              </a:cxn>
              <a:cxn ang="0">
                <a:pos x="73" y="590"/>
              </a:cxn>
              <a:cxn ang="0">
                <a:pos x="67" y="630"/>
              </a:cxn>
              <a:cxn ang="0">
                <a:pos x="433" y="661"/>
              </a:cxn>
              <a:cxn ang="0">
                <a:pos x="442" y="582"/>
              </a:cxn>
              <a:cxn ang="0">
                <a:pos x="415" y="568"/>
              </a:cxn>
              <a:cxn ang="0">
                <a:pos x="373" y="557"/>
              </a:cxn>
              <a:cxn ang="0">
                <a:pos x="353" y="549"/>
              </a:cxn>
              <a:cxn ang="0">
                <a:pos x="340" y="537"/>
              </a:cxn>
              <a:cxn ang="0">
                <a:pos x="333" y="515"/>
              </a:cxn>
              <a:cxn ang="0">
                <a:pos x="333" y="464"/>
              </a:cxn>
              <a:cxn ang="0">
                <a:pos x="337" y="428"/>
              </a:cxn>
              <a:cxn ang="0">
                <a:pos x="351" y="397"/>
              </a:cxn>
              <a:cxn ang="0">
                <a:pos x="373" y="364"/>
              </a:cxn>
              <a:cxn ang="0">
                <a:pos x="392" y="330"/>
              </a:cxn>
              <a:cxn ang="0">
                <a:pos x="399" y="297"/>
              </a:cxn>
              <a:cxn ang="0">
                <a:pos x="389" y="267"/>
              </a:cxn>
              <a:cxn ang="0">
                <a:pos x="373" y="246"/>
              </a:cxn>
              <a:cxn ang="0">
                <a:pos x="343" y="217"/>
              </a:cxn>
              <a:cxn ang="0">
                <a:pos x="333" y="192"/>
              </a:cxn>
              <a:cxn ang="0">
                <a:pos x="335" y="173"/>
              </a:cxn>
              <a:cxn ang="0">
                <a:pos x="353" y="164"/>
              </a:cxn>
              <a:cxn ang="0">
                <a:pos x="406" y="162"/>
              </a:cxn>
              <a:cxn ang="0">
                <a:pos x="395" y="151"/>
              </a:cxn>
              <a:cxn ang="0">
                <a:pos x="379" y="117"/>
              </a:cxn>
              <a:cxn ang="0">
                <a:pos x="371" y="73"/>
              </a:cxn>
              <a:cxn ang="0">
                <a:pos x="373" y="45"/>
              </a:cxn>
              <a:cxn ang="0">
                <a:pos x="367" y="11"/>
              </a:cxn>
              <a:cxn ang="0">
                <a:pos x="347" y="0"/>
              </a:cxn>
            </a:cxnLst>
            <a:rect l="0" t="0" r="r" b="b"/>
            <a:pathLst>
              <a:path w="453" h="661">
                <a:moveTo>
                  <a:pt x="330" y="9"/>
                </a:moveTo>
                <a:lnTo>
                  <a:pt x="332" y="23"/>
                </a:lnTo>
                <a:lnTo>
                  <a:pt x="335" y="36"/>
                </a:lnTo>
                <a:lnTo>
                  <a:pt x="340" y="50"/>
                </a:lnTo>
                <a:lnTo>
                  <a:pt x="346" y="63"/>
                </a:lnTo>
                <a:lnTo>
                  <a:pt x="321" y="98"/>
                </a:lnTo>
                <a:lnTo>
                  <a:pt x="298" y="129"/>
                </a:lnTo>
                <a:lnTo>
                  <a:pt x="287" y="145"/>
                </a:lnTo>
                <a:lnTo>
                  <a:pt x="277" y="162"/>
                </a:lnTo>
                <a:lnTo>
                  <a:pt x="268" y="179"/>
                </a:lnTo>
                <a:lnTo>
                  <a:pt x="259" y="200"/>
                </a:lnTo>
                <a:lnTo>
                  <a:pt x="253" y="219"/>
                </a:lnTo>
                <a:lnTo>
                  <a:pt x="245" y="237"/>
                </a:lnTo>
                <a:lnTo>
                  <a:pt x="239" y="255"/>
                </a:lnTo>
                <a:lnTo>
                  <a:pt x="232" y="272"/>
                </a:lnTo>
                <a:lnTo>
                  <a:pt x="225" y="289"/>
                </a:lnTo>
                <a:lnTo>
                  <a:pt x="218" y="309"/>
                </a:lnTo>
                <a:lnTo>
                  <a:pt x="209" y="329"/>
                </a:lnTo>
                <a:lnTo>
                  <a:pt x="200" y="353"/>
                </a:lnTo>
                <a:lnTo>
                  <a:pt x="199" y="356"/>
                </a:lnTo>
                <a:lnTo>
                  <a:pt x="196" y="362"/>
                </a:lnTo>
                <a:lnTo>
                  <a:pt x="191" y="368"/>
                </a:lnTo>
                <a:lnTo>
                  <a:pt x="186" y="374"/>
                </a:lnTo>
                <a:lnTo>
                  <a:pt x="180" y="380"/>
                </a:lnTo>
                <a:lnTo>
                  <a:pt x="175" y="385"/>
                </a:lnTo>
                <a:lnTo>
                  <a:pt x="171" y="389"/>
                </a:lnTo>
                <a:lnTo>
                  <a:pt x="167" y="390"/>
                </a:lnTo>
                <a:lnTo>
                  <a:pt x="157" y="389"/>
                </a:lnTo>
                <a:lnTo>
                  <a:pt x="149" y="386"/>
                </a:lnTo>
                <a:lnTo>
                  <a:pt x="141" y="382"/>
                </a:lnTo>
                <a:lnTo>
                  <a:pt x="134" y="378"/>
                </a:lnTo>
                <a:lnTo>
                  <a:pt x="128" y="374"/>
                </a:lnTo>
                <a:lnTo>
                  <a:pt x="121" y="370"/>
                </a:lnTo>
                <a:lnTo>
                  <a:pt x="115" y="367"/>
                </a:lnTo>
                <a:lnTo>
                  <a:pt x="107" y="366"/>
                </a:lnTo>
                <a:lnTo>
                  <a:pt x="94" y="367"/>
                </a:lnTo>
                <a:lnTo>
                  <a:pt x="83" y="370"/>
                </a:lnTo>
                <a:lnTo>
                  <a:pt x="73" y="374"/>
                </a:lnTo>
                <a:lnTo>
                  <a:pt x="64" y="380"/>
                </a:lnTo>
                <a:lnTo>
                  <a:pt x="56" y="387"/>
                </a:lnTo>
                <a:lnTo>
                  <a:pt x="50" y="395"/>
                </a:lnTo>
                <a:lnTo>
                  <a:pt x="44" y="403"/>
                </a:lnTo>
                <a:lnTo>
                  <a:pt x="39" y="413"/>
                </a:lnTo>
                <a:lnTo>
                  <a:pt x="30" y="434"/>
                </a:lnTo>
                <a:lnTo>
                  <a:pt x="21" y="454"/>
                </a:lnTo>
                <a:lnTo>
                  <a:pt x="17" y="463"/>
                </a:lnTo>
                <a:lnTo>
                  <a:pt x="11" y="473"/>
                </a:lnTo>
                <a:lnTo>
                  <a:pt x="7" y="482"/>
                </a:lnTo>
                <a:lnTo>
                  <a:pt x="0" y="489"/>
                </a:lnTo>
                <a:lnTo>
                  <a:pt x="1" y="494"/>
                </a:lnTo>
                <a:lnTo>
                  <a:pt x="1" y="500"/>
                </a:lnTo>
                <a:lnTo>
                  <a:pt x="4" y="506"/>
                </a:lnTo>
                <a:lnTo>
                  <a:pt x="6" y="512"/>
                </a:lnTo>
                <a:lnTo>
                  <a:pt x="8" y="517"/>
                </a:lnTo>
                <a:lnTo>
                  <a:pt x="11" y="521"/>
                </a:lnTo>
                <a:lnTo>
                  <a:pt x="16" y="524"/>
                </a:lnTo>
                <a:lnTo>
                  <a:pt x="20" y="526"/>
                </a:lnTo>
                <a:lnTo>
                  <a:pt x="28" y="526"/>
                </a:lnTo>
                <a:lnTo>
                  <a:pt x="40" y="526"/>
                </a:lnTo>
                <a:lnTo>
                  <a:pt x="55" y="526"/>
                </a:lnTo>
                <a:lnTo>
                  <a:pt x="74" y="526"/>
                </a:lnTo>
                <a:lnTo>
                  <a:pt x="72" y="537"/>
                </a:lnTo>
                <a:lnTo>
                  <a:pt x="71" y="548"/>
                </a:lnTo>
                <a:lnTo>
                  <a:pt x="71" y="558"/>
                </a:lnTo>
                <a:lnTo>
                  <a:pt x="72" y="569"/>
                </a:lnTo>
                <a:lnTo>
                  <a:pt x="73" y="590"/>
                </a:lnTo>
                <a:lnTo>
                  <a:pt x="74" y="612"/>
                </a:lnTo>
                <a:lnTo>
                  <a:pt x="71" y="621"/>
                </a:lnTo>
                <a:lnTo>
                  <a:pt x="67" y="630"/>
                </a:lnTo>
                <a:lnTo>
                  <a:pt x="167" y="630"/>
                </a:lnTo>
                <a:lnTo>
                  <a:pt x="273" y="630"/>
                </a:lnTo>
                <a:lnTo>
                  <a:pt x="433" y="661"/>
                </a:lnTo>
                <a:lnTo>
                  <a:pt x="453" y="594"/>
                </a:lnTo>
                <a:lnTo>
                  <a:pt x="447" y="588"/>
                </a:lnTo>
                <a:lnTo>
                  <a:pt x="442" y="582"/>
                </a:lnTo>
                <a:lnTo>
                  <a:pt x="435" y="577"/>
                </a:lnTo>
                <a:lnTo>
                  <a:pt x="430" y="573"/>
                </a:lnTo>
                <a:lnTo>
                  <a:pt x="415" y="568"/>
                </a:lnTo>
                <a:lnTo>
                  <a:pt x="402" y="564"/>
                </a:lnTo>
                <a:lnTo>
                  <a:pt x="387" y="561"/>
                </a:lnTo>
                <a:lnTo>
                  <a:pt x="373" y="557"/>
                </a:lnTo>
                <a:lnTo>
                  <a:pt x="366" y="555"/>
                </a:lnTo>
                <a:lnTo>
                  <a:pt x="359" y="552"/>
                </a:lnTo>
                <a:lnTo>
                  <a:pt x="353" y="549"/>
                </a:lnTo>
                <a:lnTo>
                  <a:pt x="346" y="544"/>
                </a:lnTo>
                <a:lnTo>
                  <a:pt x="343" y="541"/>
                </a:lnTo>
                <a:lnTo>
                  <a:pt x="340" y="537"/>
                </a:lnTo>
                <a:lnTo>
                  <a:pt x="337" y="532"/>
                </a:lnTo>
                <a:lnTo>
                  <a:pt x="335" y="527"/>
                </a:lnTo>
                <a:lnTo>
                  <a:pt x="333" y="515"/>
                </a:lnTo>
                <a:lnTo>
                  <a:pt x="332" y="504"/>
                </a:lnTo>
                <a:lnTo>
                  <a:pt x="332" y="482"/>
                </a:lnTo>
                <a:lnTo>
                  <a:pt x="333" y="464"/>
                </a:lnTo>
                <a:lnTo>
                  <a:pt x="333" y="451"/>
                </a:lnTo>
                <a:lnTo>
                  <a:pt x="335" y="439"/>
                </a:lnTo>
                <a:lnTo>
                  <a:pt x="337" y="428"/>
                </a:lnTo>
                <a:lnTo>
                  <a:pt x="342" y="417"/>
                </a:lnTo>
                <a:lnTo>
                  <a:pt x="345" y="406"/>
                </a:lnTo>
                <a:lnTo>
                  <a:pt x="351" y="397"/>
                </a:lnTo>
                <a:lnTo>
                  <a:pt x="355" y="389"/>
                </a:lnTo>
                <a:lnTo>
                  <a:pt x="362" y="380"/>
                </a:lnTo>
                <a:lnTo>
                  <a:pt x="373" y="364"/>
                </a:lnTo>
                <a:lnTo>
                  <a:pt x="384" y="347"/>
                </a:lnTo>
                <a:lnTo>
                  <a:pt x="388" y="338"/>
                </a:lnTo>
                <a:lnTo>
                  <a:pt x="392" y="330"/>
                </a:lnTo>
                <a:lnTo>
                  <a:pt x="397" y="320"/>
                </a:lnTo>
                <a:lnTo>
                  <a:pt x="399" y="310"/>
                </a:lnTo>
                <a:lnTo>
                  <a:pt x="399" y="297"/>
                </a:lnTo>
                <a:lnTo>
                  <a:pt x="397" y="286"/>
                </a:lnTo>
                <a:lnTo>
                  <a:pt x="393" y="276"/>
                </a:lnTo>
                <a:lnTo>
                  <a:pt x="389" y="267"/>
                </a:lnTo>
                <a:lnTo>
                  <a:pt x="384" y="260"/>
                </a:lnTo>
                <a:lnTo>
                  <a:pt x="378" y="253"/>
                </a:lnTo>
                <a:lnTo>
                  <a:pt x="373" y="246"/>
                </a:lnTo>
                <a:lnTo>
                  <a:pt x="366" y="240"/>
                </a:lnTo>
                <a:lnTo>
                  <a:pt x="354" y="229"/>
                </a:lnTo>
                <a:lnTo>
                  <a:pt x="343" y="217"/>
                </a:lnTo>
                <a:lnTo>
                  <a:pt x="339" y="209"/>
                </a:lnTo>
                <a:lnTo>
                  <a:pt x="335" y="201"/>
                </a:lnTo>
                <a:lnTo>
                  <a:pt x="333" y="192"/>
                </a:lnTo>
                <a:lnTo>
                  <a:pt x="333" y="180"/>
                </a:lnTo>
                <a:lnTo>
                  <a:pt x="333" y="176"/>
                </a:lnTo>
                <a:lnTo>
                  <a:pt x="335" y="173"/>
                </a:lnTo>
                <a:lnTo>
                  <a:pt x="339" y="170"/>
                </a:lnTo>
                <a:lnTo>
                  <a:pt x="343" y="167"/>
                </a:lnTo>
                <a:lnTo>
                  <a:pt x="353" y="164"/>
                </a:lnTo>
                <a:lnTo>
                  <a:pt x="365" y="162"/>
                </a:lnTo>
                <a:lnTo>
                  <a:pt x="389" y="162"/>
                </a:lnTo>
                <a:lnTo>
                  <a:pt x="406" y="162"/>
                </a:lnTo>
                <a:lnTo>
                  <a:pt x="402" y="160"/>
                </a:lnTo>
                <a:lnTo>
                  <a:pt x="399" y="156"/>
                </a:lnTo>
                <a:lnTo>
                  <a:pt x="395" y="151"/>
                </a:lnTo>
                <a:lnTo>
                  <a:pt x="391" y="146"/>
                </a:lnTo>
                <a:lnTo>
                  <a:pt x="385" y="132"/>
                </a:lnTo>
                <a:lnTo>
                  <a:pt x="379" y="117"/>
                </a:lnTo>
                <a:lnTo>
                  <a:pt x="375" y="101"/>
                </a:lnTo>
                <a:lnTo>
                  <a:pt x="373" y="83"/>
                </a:lnTo>
                <a:lnTo>
                  <a:pt x="371" y="73"/>
                </a:lnTo>
                <a:lnTo>
                  <a:pt x="371" y="64"/>
                </a:lnTo>
                <a:lnTo>
                  <a:pt x="371" y="54"/>
                </a:lnTo>
                <a:lnTo>
                  <a:pt x="373" y="45"/>
                </a:lnTo>
                <a:lnTo>
                  <a:pt x="371" y="33"/>
                </a:lnTo>
                <a:lnTo>
                  <a:pt x="369" y="21"/>
                </a:lnTo>
                <a:lnTo>
                  <a:pt x="367" y="11"/>
                </a:lnTo>
                <a:lnTo>
                  <a:pt x="366" y="2"/>
                </a:lnTo>
                <a:lnTo>
                  <a:pt x="357" y="1"/>
                </a:lnTo>
                <a:lnTo>
                  <a:pt x="347" y="0"/>
                </a:lnTo>
                <a:lnTo>
                  <a:pt x="346" y="2"/>
                </a:lnTo>
                <a:lnTo>
                  <a:pt x="330" y="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497" name="Freeform 449"/>
          <p:cNvSpPr>
            <a:spLocks/>
          </p:cNvSpPr>
          <p:nvPr>
            <p:custDataLst>
              <p:tags r:id="rId287"/>
            </p:custDataLst>
          </p:nvPr>
        </p:nvSpPr>
        <p:spPr bwMode="auto">
          <a:xfrm>
            <a:off x="6677032" y="2263383"/>
            <a:ext cx="55563" cy="42863"/>
          </a:xfrm>
          <a:custGeom>
            <a:avLst/>
            <a:gdLst/>
            <a:ahLst/>
            <a:cxnLst>
              <a:cxn ang="0">
                <a:pos x="0" y="56"/>
              </a:cxn>
              <a:cxn ang="0">
                <a:pos x="4" y="49"/>
              </a:cxn>
              <a:cxn ang="0">
                <a:pos x="10" y="41"/>
              </a:cxn>
              <a:cxn ang="0">
                <a:pos x="16" y="33"/>
              </a:cxn>
              <a:cxn ang="0">
                <a:pos x="24" y="25"/>
              </a:cxn>
              <a:cxn ang="0">
                <a:pos x="37" y="11"/>
              </a:cxn>
              <a:cxn ang="0">
                <a:pos x="47" y="0"/>
              </a:cxn>
              <a:cxn ang="0">
                <a:pos x="113" y="0"/>
              </a:cxn>
              <a:cxn ang="0">
                <a:pos x="114" y="4"/>
              </a:cxn>
              <a:cxn ang="0">
                <a:pos x="115" y="8"/>
              </a:cxn>
              <a:cxn ang="0">
                <a:pos x="117" y="12"/>
              </a:cxn>
              <a:cxn ang="0">
                <a:pos x="119" y="14"/>
              </a:cxn>
              <a:cxn ang="0">
                <a:pos x="124" y="20"/>
              </a:cxn>
              <a:cxn ang="0">
                <a:pos x="126" y="24"/>
              </a:cxn>
              <a:cxn ang="0">
                <a:pos x="126" y="32"/>
              </a:cxn>
              <a:cxn ang="0">
                <a:pos x="125" y="41"/>
              </a:cxn>
              <a:cxn ang="0">
                <a:pos x="124" y="48"/>
              </a:cxn>
              <a:cxn ang="0">
                <a:pos x="122" y="55"/>
              </a:cxn>
              <a:cxn ang="0">
                <a:pos x="119" y="62"/>
              </a:cxn>
              <a:cxn ang="0">
                <a:pos x="116" y="69"/>
              </a:cxn>
              <a:cxn ang="0">
                <a:pos x="112" y="75"/>
              </a:cxn>
              <a:cxn ang="0">
                <a:pos x="108" y="81"/>
              </a:cxn>
              <a:cxn ang="0">
                <a:pos x="104" y="86"/>
              </a:cxn>
              <a:cxn ang="0">
                <a:pos x="99" y="90"/>
              </a:cxn>
              <a:cxn ang="0">
                <a:pos x="93" y="94"/>
              </a:cxn>
              <a:cxn ang="0">
                <a:pos x="88" y="99"/>
              </a:cxn>
              <a:cxn ang="0">
                <a:pos x="81" y="101"/>
              </a:cxn>
              <a:cxn ang="0">
                <a:pos x="74" y="103"/>
              </a:cxn>
              <a:cxn ang="0">
                <a:pos x="67" y="105"/>
              </a:cxn>
              <a:cxn ang="0">
                <a:pos x="60" y="105"/>
              </a:cxn>
              <a:cxn ang="0">
                <a:pos x="48" y="104"/>
              </a:cxn>
              <a:cxn ang="0">
                <a:pos x="38" y="102"/>
              </a:cxn>
              <a:cxn ang="0">
                <a:pos x="31" y="98"/>
              </a:cxn>
              <a:cxn ang="0">
                <a:pos x="24" y="92"/>
              </a:cxn>
              <a:cxn ang="0">
                <a:pos x="20" y="86"/>
              </a:cxn>
              <a:cxn ang="0">
                <a:pos x="16" y="78"/>
              </a:cxn>
              <a:cxn ang="0">
                <a:pos x="14" y="70"/>
              </a:cxn>
              <a:cxn ang="0">
                <a:pos x="13" y="62"/>
              </a:cxn>
              <a:cxn ang="0">
                <a:pos x="0" y="56"/>
              </a:cxn>
            </a:cxnLst>
            <a:rect l="0" t="0" r="r" b="b"/>
            <a:pathLst>
              <a:path w="126" h="105">
                <a:moveTo>
                  <a:pt x="0" y="56"/>
                </a:moveTo>
                <a:lnTo>
                  <a:pt x="4" y="49"/>
                </a:lnTo>
                <a:lnTo>
                  <a:pt x="10" y="41"/>
                </a:lnTo>
                <a:lnTo>
                  <a:pt x="16" y="33"/>
                </a:lnTo>
                <a:lnTo>
                  <a:pt x="24" y="25"/>
                </a:lnTo>
                <a:lnTo>
                  <a:pt x="37" y="11"/>
                </a:lnTo>
                <a:lnTo>
                  <a:pt x="47" y="0"/>
                </a:lnTo>
                <a:lnTo>
                  <a:pt x="113" y="0"/>
                </a:lnTo>
                <a:lnTo>
                  <a:pt x="114" y="4"/>
                </a:lnTo>
                <a:lnTo>
                  <a:pt x="115" y="8"/>
                </a:lnTo>
                <a:lnTo>
                  <a:pt x="117" y="12"/>
                </a:lnTo>
                <a:lnTo>
                  <a:pt x="119" y="14"/>
                </a:lnTo>
                <a:lnTo>
                  <a:pt x="124" y="20"/>
                </a:lnTo>
                <a:lnTo>
                  <a:pt x="126" y="24"/>
                </a:lnTo>
                <a:lnTo>
                  <a:pt x="126" y="32"/>
                </a:lnTo>
                <a:lnTo>
                  <a:pt x="125" y="41"/>
                </a:lnTo>
                <a:lnTo>
                  <a:pt x="124" y="48"/>
                </a:lnTo>
                <a:lnTo>
                  <a:pt x="122" y="55"/>
                </a:lnTo>
                <a:lnTo>
                  <a:pt x="119" y="62"/>
                </a:lnTo>
                <a:lnTo>
                  <a:pt x="116" y="69"/>
                </a:lnTo>
                <a:lnTo>
                  <a:pt x="112" y="75"/>
                </a:lnTo>
                <a:lnTo>
                  <a:pt x="108" y="81"/>
                </a:lnTo>
                <a:lnTo>
                  <a:pt x="104" y="86"/>
                </a:lnTo>
                <a:lnTo>
                  <a:pt x="99" y="90"/>
                </a:lnTo>
                <a:lnTo>
                  <a:pt x="93" y="94"/>
                </a:lnTo>
                <a:lnTo>
                  <a:pt x="88" y="99"/>
                </a:lnTo>
                <a:lnTo>
                  <a:pt x="81" y="101"/>
                </a:lnTo>
                <a:lnTo>
                  <a:pt x="74" y="103"/>
                </a:lnTo>
                <a:lnTo>
                  <a:pt x="67" y="105"/>
                </a:lnTo>
                <a:lnTo>
                  <a:pt x="60" y="105"/>
                </a:lnTo>
                <a:lnTo>
                  <a:pt x="48" y="104"/>
                </a:lnTo>
                <a:lnTo>
                  <a:pt x="38" y="102"/>
                </a:lnTo>
                <a:lnTo>
                  <a:pt x="31" y="98"/>
                </a:lnTo>
                <a:lnTo>
                  <a:pt x="24" y="92"/>
                </a:lnTo>
                <a:lnTo>
                  <a:pt x="20" y="86"/>
                </a:lnTo>
                <a:lnTo>
                  <a:pt x="16" y="78"/>
                </a:lnTo>
                <a:lnTo>
                  <a:pt x="14" y="70"/>
                </a:lnTo>
                <a:lnTo>
                  <a:pt x="13" y="62"/>
                </a:lnTo>
                <a:lnTo>
                  <a:pt x="0" y="5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498" name="Freeform 450"/>
          <p:cNvSpPr>
            <a:spLocks/>
          </p:cNvSpPr>
          <p:nvPr>
            <p:custDataLst>
              <p:tags r:id="rId288"/>
            </p:custDataLst>
          </p:nvPr>
        </p:nvSpPr>
        <p:spPr bwMode="auto">
          <a:xfrm>
            <a:off x="2032000" y="2461028"/>
            <a:ext cx="298450" cy="392906"/>
          </a:xfrm>
          <a:custGeom>
            <a:avLst/>
            <a:gdLst/>
            <a:ahLst/>
            <a:cxnLst>
              <a:cxn ang="0">
                <a:pos x="671" y="573"/>
              </a:cxn>
              <a:cxn ang="0">
                <a:pos x="680" y="550"/>
              </a:cxn>
              <a:cxn ang="0">
                <a:pos x="671" y="491"/>
              </a:cxn>
              <a:cxn ang="0">
                <a:pos x="659" y="423"/>
              </a:cxn>
              <a:cxn ang="0">
                <a:pos x="678" y="389"/>
              </a:cxn>
              <a:cxn ang="0">
                <a:pos x="557" y="361"/>
              </a:cxn>
              <a:cxn ang="0">
                <a:pos x="533" y="326"/>
              </a:cxn>
              <a:cxn ang="0">
                <a:pos x="462" y="310"/>
              </a:cxn>
              <a:cxn ang="0">
                <a:pos x="402" y="270"/>
              </a:cxn>
              <a:cxn ang="0">
                <a:pos x="375" y="201"/>
              </a:cxn>
              <a:cxn ang="0">
                <a:pos x="375" y="133"/>
              </a:cxn>
              <a:cxn ang="0">
                <a:pos x="395" y="84"/>
              </a:cxn>
              <a:cxn ang="0">
                <a:pos x="435" y="48"/>
              </a:cxn>
              <a:cxn ang="0">
                <a:pos x="463" y="11"/>
              </a:cxn>
              <a:cxn ang="0">
                <a:pos x="389" y="39"/>
              </a:cxn>
              <a:cxn ang="0">
                <a:pos x="335" y="68"/>
              </a:cxn>
              <a:cxn ang="0">
                <a:pos x="304" y="78"/>
              </a:cxn>
              <a:cxn ang="0">
                <a:pos x="278" y="84"/>
              </a:cxn>
              <a:cxn ang="0">
                <a:pos x="241" y="81"/>
              </a:cxn>
              <a:cxn ang="0">
                <a:pos x="217" y="108"/>
              </a:cxn>
              <a:cxn ang="0">
                <a:pos x="196" y="175"/>
              </a:cxn>
              <a:cxn ang="0">
                <a:pos x="157" y="227"/>
              </a:cxn>
              <a:cxn ang="0">
                <a:pos x="107" y="284"/>
              </a:cxn>
              <a:cxn ang="0">
                <a:pos x="90" y="317"/>
              </a:cxn>
              <a:cxn ang="0">
                <a:pos x="86" y="356"/>
              </a:cxn>
              <a:cxn ang="0">
                <a:pos x="97" y="382"/>
              </a:cxn>
              <a:cxn ang="0">
                <a:pos x="97" y="451"/>
              </a:cxn>
              <a:cxn ang="0">
                <a:pos x="95" y="525"/>
              </a:cxn>
              <a:cxn ang="0">
                <a:pos x="72" y="563"/>
              </a:cxn>
              <a:cxn ang="0">
                <a:pos x="37" y="592"/>
              </a:cxn>
              <a:cxn ang="0">
                <a:pos x="11" y="612"/>
              </a:cxn>
              <a:cxn ang="0">
                <a:pos x="30" y="668"/>
              </a:cxn>
              <a:cxn ang="0">
                <a:pos x="123" y="725"/>
              </a:cxn>
              <a:cxn ang="0">
                <a:pos x="175" y="728"/>
              </a:cxn>
              <a:cxn ang="0">
                <a:pos x="234" y="746"/>
              </a:cxn>
              <a:cxn ang="0">
                <a:pos x="299" y="795"/>
              </a:cxn>
              <a:cxn ang="0">
                <a:pos x="337" y="850"/>
              </a:cxn>
              <a:cxn ang="0">
                <a:pos x="367" y="881"/>
              </a:cxn>
              <a:cxn ang="0">
                <a:pos x="412" y="886"/>
              </a:cxn>
              <a:cxn ang="0">
                <a:pos x="462" y="876"/>
              </a:cxn>
              <a:cxn ang="0">
                <a:pos x="492" y="878"/>
              </a:cxn>
              <a:cxn ang="0">
                <a:pos x="515" y="904"/>
              </a:cxn>
              <a:cxn ang="0">
                <a:pos x="513" y="922"/>
              </a:cxn>
              <a:cxn ang="0">
                <a:pos x="488" y="937"/>
              </a:cxn>
              <a:cxn ang="0">
                <a:pos x="488" y="963"/>
              </a:cxn>
              <a:cxn ang="0">
                <a:pos x="511" y="994"/>
              </a:cxn>
              <a:cxn ang="0">
                <a:pos x="542" y="962"/>
              </a:cxn>
              <a:cxn ang="0">
                <a:pos x="566" y="861"/>
              </a:cxn>
              <a:cxn ang="0">
                <a:pos x="571" y="803"/>
              </a:cxn>
              <a:cxn ang="0">
                <a:pos x="555" y="771"/>
              </a:cxn>
              <a:cxn ang="0">
                <a:pos x="523" y="749"/>
              </a:cxn>
              <a:cxn ang="0">
                <a:pos x="521" y="723"/>
              </a:cxn>
              <a:cxn ang="0">
                <a:pos x="566" y="700"/>
              </a:cxn>
              <a:cxn ang="0">
                <a:pos x="556" y="665"/>
              </a:cxn>
              <a:cxn ang="0">
                <a:pos x="556" y="649"/>
              </a:cxn>
              <a:cxn ang="0">
                <a:pos x="655" y="628"/>
              </a:cxn>
            </a:cxnLst>
            <a:rect l="0" t="0" r="r" b="b"/>
            <a:pathLst>
              <a:path w="684" h="998">
                <a:moveTo>
                  <a:pt x="684" y="622"/>
                </a:moveTo>
                <a:lnTo>
                  <a:pt x="680" y="609"/>
                </a:lnTo>
                <a:lnTo>
                  <a:pt x="676" y="596"/>
                </a:lnTo>
                <a:lnTo>
                  <a:pt x="672" y="583"/>
                </a:lnTo>
                <a:lnTo>
                  <a:pt x="671" y="573"/>
                </a:lnTo>
                <a:lnTo>
                  <a:pt x="671" y="568"/>
                </a:lnTo>
                <a:lnTo>
                  <a:pt x="673" y="564"/>
                </a:lnTo>
                <a:lnTo>
                  <a:pt x="676" y="559"/>
                </a:lnTo>
                <a:lnTo>
                  <a:pt x="678" y="555"/>
                </a:lnTo>
                <a:lnTo>
                  <a:pt x="680" y="550"/>
                </a:lnTo>
                <a:lnTo>
                  <a:pt x="682" y="546"/>
                </a:lnTo>
                <a:lnTo>
                  <a:pt x="683" y="541"/>
                </a:lnTo>
                <a:lnTo>
                  <a:pt x="684" y="537"/>
                </a:lnTo>
                <a:lnTo>
                  <a:pt x="680" y="519"/>
                </a:lnTo>
                <a:lnTo>
                  <a:pt x="671" y="491"/>
                </a:lnTo>
                <a:lnTo>
                  <a:pt x="666" y="475"/>
                </a:lnTo>
                <a:lnTo>
                  <a:pt x="662" y="459"/>
                </a:lnTo>
                <a:lnTo>
                  <a:pt x="659" y="444"/>
                </a:lnTo>
                <a:lnTo>
                  <a:pt x="658" y="432"/>
                </a:lnTo>
                <a:lnTo>
                  <a:pt x="659" y="423"/>
                </a:lnTo>
                <a:lnTo>
                  <a:pt x="661" y="415"/>
                </a:lnTo>
                <a:lnTo>
                  <a:pt x="665" y="409"/>
                </a:lnTo>
                <a:lnTo>
                  <a:pt x="669" y="403"/>
                </a:lnTo>
                <a:lnTo>
                  <a:pt x="673" y="396"/>
                </a:lnTo>
                <a:lnTo>
                  <a:pt x="678" y="389"/>
                </a:lnTo>
                <a:lnTo>
                  <a:pt x="681" y="381"/>
                </a:lnTo>
                <a:lnTo>
                  <a:pt x="684" y="370"/>
                </a:lnTo>
                <a:lnTo>
                  <a:pt x="571" y="370"/>
                </a:lnTo>
                <a:lnTo>
                  <a:pt x="564" y="366"/>
                </a:lnTo>
                <a:lnTo>
                  <a:pt x="557" y="361"/>
                </a:lnTo>
                <a:lnTo>
                  <a:pt x="550" y="355"/>
                </a:lnTo>
                <a:lnTo>
                  <a:pt x="544" y="347"/>
                </a:lnTo>
                <a:lnTo>
                  <a:pt x="539" y="340"/>
                </a:lnTo>
                <a:lnTo>
                  <a:pt x="535" y="333"/>
                </a:lnTo>
                <a:lnTo>
                  <a:pt x="533" y="326"/>
                </a:lnTo>
                <a:lnTo>
                  <a:pt x="532" y="321"/>
                </a:lnTo>
                <a:lnTo>
                  <a:pt x="512" y="320"/>
                </a:lnTo>
                <a:lnTo>
                  <a:pt x="494" y="318"/>
                </a:lnTo>
                <a:lnTo>
                  <a:pt x="477" y="315"/>
                </a:lnTo>
                <a:lnTo>
                  <a:pt x="462" y="310"/>
                </a:lnTo>
                <a:lnTo>
                  <a:pt x="447" y="304"/>
                </a:lnTo>
                <a:lnTo>
                  <a:pt x="434" y="298"/>
                </a:lnTo>
                <a:lnTo>
                  <a:pt x="423" y="290"/>
                </a:lnTo>
                <a:lnTo>
                  <a:pt x="412" y="281"/>
                </a:lnTo>
                <a:lnTo>
                  <a:pt x="402" y="270"/>
                </a:lnTo>
                <a:lnTo>
                  <a:pt x="395" y="259"/>
                </a:lnTo>
                <a:lnTo>
                  <a:pt x="388" y="246"/>
                </a:lnTo>
                <a:lnTo>
                  <a:pt x="382" y="232"/>
                </a:lnTo>
                <a:lnTo>
                  <a:pt x="378" y="218"/>
                </a:lnTo>
                <a:lnTo>
                  <a:pt x="375" y="201"/>
                </a:lnTo>
                <a:lnTo>
                  <a:pt x="373" y="184"/>
                </a:lnTo>
                <a:lnTo>
                  <a:pt x="373" y="167"/>
                </a:lnTo>
                <a:lnTo>
                  <a:pt x="373" y="155"/>
                </a:lnTo>
                <a:lnTo>
                  <a:pt x="374" y="144"/>
                </a:lnTo>
                <a:lnTo>
                  <a:pt x="375" y="133"/>
                </a:lnTo>
                <a:lnTo>
                  <a:pt x="377" y="123"/>
                </a:lnTo>
                <a:lnTo>
                  <a:pt x="380" y="113"/>
                </a:lnTo>
                <a:lnTo>
                  <a:pt x="385" y="103"/>
                </a:lnTo>
                <a:lnTo>
                  <a:pt x="389" y="94"/>
                </a:lnTo>
                <a:lnTo>
                  <a:pt x="395" y="84"/>
                </a:lnTo>
                <a:lnTo>
                  <a:pt x="401" y="76"/>
                </a:lnTo>
                <a:lnTo>
                  <a:pt x="408" y="68"/>
                </a:lnTo>
                <a:lnTo>
                  <a:pt x="416" y="61"/>
                </a:lnTo>
                <a:lnTo>
                  <a:pt x="425" y="54"/>
                </a:lnTo>
                <a:lnTo>
                  <a:pt x="435" y="48"/>
                </a:lnTo>
                <a:lnTo>
                  <a:pt x="446" y="42"/>
                </a:lnTo>
                <a:lnTo>
                  <a:pt x="458" y="36"/>
                </a:lnTo>
                <a:lnTo>
                  <a:pt x="471" y="31"/>
                </a:lnTo>
                <a:lnTo>
                  <a:pt x="471" y="18"/>
                </a:lnTo>
                <a:lnTo>
                  <a:pt x="463" y="11"/>
                </a:lnTo>
                <a:lnTo>
                  <a:pt x="455" y="7"/>
                </a:lnTo>
                <a:lnTo>
                  <a:pt x="447" y="4"/>
                </a:lnTo>
                <a:lnTo>
                  <a:pt x="438" y="0"/>
                </a:lnTo>
                <a:lnTo>
                  <a:pt x="414" y="19"/>
                </a:lnTo>
                <a:lnTo>
                  <a:pt x="389" y="39"/>
                </a:lnTo>
                <a:lnTo>
                  <a:pt x="378" y="48"/>
                </a:lnTo>
                <a:lnTo>
                  <a:pt x="367" y="56"/>
                </a:lnTo>
                <a:lnTo>
                  <a:pt x="356" y="63"/>
                </a:lnTo>
                <a:lnTo>
                  <a:pt x="345" y="68"/>
                </a:lnTo>
                <a:lnTo>
                  <a:pt x="335" y="68"/>
                </a:lnTo>
                <a:lnTo>
                  <a:pt x="326" y="68"/>
                </a:lnTo>
                <a:lnTo>
                  <a:pt x="319" y="68"/>
                </a:lnTo>
                <a:lnTo>
                  <a:pt x="312" y="68"/>
                </a:lnTo>
                <a:lnTo>
                  <a:pt x="309" y="74"/>
                </a:lnTo>
                <a:lnTo>
                  <a:pt x="304" y="78"/>
                </a:lnTo>
                <a:lnTo>
                  <a:pt x="299" y="81"/>
                </a:lnTo>
                <a:lnTo>
                  <a:pt x="295" y="83"/>
                </a:lnTo>
                <a:lnTo>
                  <a:pt x="289" y="85"/>
                </a:lnTo>
                <a:lnTo>
                  <a:pt x="284" y="85"/>
                </a:lnTo>
                <a:lnTo>
                  <a:pt x="278" y="84"/>
                </a:lnTo>
                <a:lnTo>
                  <a:pt x="273" y="84"/>
                </a:lnTo>
                <a:lnTo>
                  <a:pt x="262" y="82"/>
                </a:lnTo>
                <a:lnTo>
                  <a:pt x="251" y="81"/>
                </a:lnTo>
                <a:lnTo>
                  <a:pt x="245" y="81"/>
                </a:lnTo>
                <a:lnTo>
                  <a:pt x="241" y="81"/>
                </a:lnTo>
                <a:lnTo>
                  <a:pt x="236" y="83"/>
                </a:lnTo>
                <a:lnTo>
                  <a:pt x="233" y="86"/>
                </a:lnTo>
                <a:lnTo>
                  <a:pt x="225" y="94"/>
                </a:lnTo>
                <a:lnTo>
                  <a:pt x="221" y="101"/>
                </a:lnTo>
                <a:lnTo>
                  <a:pt x="217" y="108"/>
                </a:lnTo>
                <a:lnTo>
                  <a:pt x="213" y="114"/>
                </a:lnTo>
                <a:lnTo>
                  <a:pt x="209" y="128"/>
                </a:lnTo>
                <a:lnTo>
                  <a:pt x="206" y="143"/>
                </a:lnTo>
                <a:lnTo>
                  <a:pt x="201" y="159"/>
                </a:lnTo>
                <a:lnTo>
                  <a:pt x="196" y="175"/>
                </a:lnTo>
                <a:lnTo>
                  <a:pt x="192" y="183"/>
                </a:lnTo>
                <a:lnTo>
                  <a:pt x="187" y="191"/>
                </a:lnTo>
                <a:lnTo>
                  <a:pt x="180" y="200"/>
                </a:lnTo>
                <a:lnTo>
                  <a:pt x="173" y="210"/>
                </a:lnTo>
                <a:lnTo>
                  <a:pt x="157" y="227"/>
                </a:lnTo>
                <a:lnTo>
                  <a:pt x="140" y="244"/>
                </a:lnTo>
                <a:lnTo>
                  <a:pt x="131" y="253"/>
                </a:lnTo>
                <a:lnTo>
                  <a:pt x="122" y="263"/>
                </a:lnTo>
                <a:lnTo>
                  <a:pt x="115" y="273"/>
                </a:lnTo>
                <a:lnTo>
                  <a:pt x="107" y="284"/>
                </a:lnTo>
                <a:lnTo>
                  <a:pt x="102" y="288"/>
                </a:lnTo>
                <a:lnTo>
                  <a:pt x="98" y="294"/>
                </a:lnTo>
                <a:lnTo>
                  <a:pt x="96" y="299"/>
                </a:lnTo>
                <a:lnTo>
                  <a:pt x="94" y="305"/>
                </a:lnTo>
                <a:lnTo>
                  <a:pt x="90" y="317"/>
                </a:lnTo>
                <a:lnTo>
                  <a:pt x="86" y="327"/>
                </a:lnTo>
                <a:lnTo>
                  <a:pt x="85" y="331"/>
                </a:lnTo>
                <a:lnTo>
                  <a:pt x="84" y="338"/>
                </a:lnTo>
                <a:lnTo>
                  <a:pt x="84" y="347"/>
                </a:lnTo>
                <a:lnTo>
                  <a:pt x="86" y="356"/>
                </a:lnTo>
                <a:lnTo>
                  <a:pt x="88" y="366"/>
                </a:lnTo>
                <a:lnTo>
                  <a:pt x="91" y="375"/>
                </a:lnTo>
                <a:lnTo>
                  <a:pt x="93" y="378"/>
                </a:lnTo>
                <a:lnTo>
                  <a:pt x="95" y="380"/>
                </a:lnTo>
                <a:lnTo>
                  <a:pt x="97" y="382"/>
                </a:lnTo>
                <a:lnTo>
                  <a:pt x="100" y="382"/>
                </a:lnTo>
                <a:lnTo>
                  <a:pt x="98" y="397"/>
                </a:lnTo>
                <a:lnTo>
                  <a:pt x="97" y="414"/>
                </a:lnTo>
                <a:lnTo>
                  <a:pt x="97" y="433"/>
                </a:lnTo>
                <a:lnTo>
                  <a:pt x="97" y="451"/>
                </a:lnTo>
                <a:lnTo>
                  <a:pt x="99" y="484"/>
                </a:lnTo>
                <a:lnTo>
                  <a:pt x="100" y="505"/>
                </a:lnTo>
                <a:lnTo>
                  <a:pt x="99" y="511"/>
                </a:lnTo>
                <a:lnTo>
                  <a:pt x="98" y="518"/>
                </a:lnTo>
                <a:lnTo>
                  <a:pt x="95" y="525"/>
                </a:lnTo>
                <a:lnTo>
                  <a:pt x="91" y="532"/>
                </a:lnTo>
                <a:lnTo>
                  <a:pt x="88" y="541"/>
                </a:lnTo>
                <a:lnTo>
                  <a:pt x="83" y="548"/>
                </a:lnTo>
                <a:lnTo>
                  <a:pt x="77" y="556"/>
                </a:lnTo>
                <a:lnTo>
                  <a:pt x="72" y="563"/>
                </a:lnTo>
                <a:lnTo>
                  <a:pt x="65" y="570"/>
                </a:lnTo>
                <a:lnTo>
                  <a:pt x="59" y="576"/>
                </a:lnTo>
                <a:lnTo>
                  <a:pt x="51" y="582"/>
                </a:lnTo>
                <a:lnTo>
                  <a:pt x="43" y="587"/>
                </a:lnTo>
                <a:lnTo>
                  <a:pt x="37" y="592"/>
                </a:lnTo>
                <a:lnTo>
                  <a:pt x="29" y="596"/>
                </a:lnTo>
                <a:lnTo>
                  <a:pt x="21" y="598"/>
                </a:lnTo>
                <a:lnTo>
                  <a:pt x="14" y="598"/>
                </a:lnTo>
                <a:lnTo>
                  <a:pt x="12" y="605"/>
                </a:lnTo>
                <a:lnTo>
                  <a:pt x="11" y="612"/>
                </a:lnTo>
                <a:lnTo>
                  <a:pt x="9" y="618"/>
                </a:lnTo>
                <a:lnTo>
                  <a:pt x="7" y="625"/>
                </a:lnTo>
                <a:lnTo>
                  <a:pt x="3" y="637"/>
                </a:lnTo>
                <a:lnTo>
                  <a:pt x="0" y="648"/>
                </a:lnTo>
                <a:lnTo>
                  <a:pt x="30" y="668"/>
                </a:lnTo>
                <a:lnTo>
                  <a:pt x="67" y="694"/>
                </a:lnTo>
                <a:lnTo>
                  <a:pt x="87" y="707"/>
                </a:lnTo>
                <a:lnTo>
                  <a:pt x="106" y="718"/>
                </a:lnTo>
                <a:lnTo>
                  <a:pt x="115" y="722"/>
                </a:lnTo>
                <a:lnTo>
                  <a:pt x="123" y="725"/>
                </a:lnTo>
                <a:lnTo>
                  <a:pt x="132" y="727"/>
                </a:lnTo>
                <a:lnTo>
                  <a:pt x="140" y="727"/>
                </a:lnTo>
                <a:lnTo>
                  <a:pt x="153" y="727"/>
                </a:lnTo>
                <a:lnTo>
                  <a:pt x="166" y="727"/>
                </a:lnTo>
                <a:lnTo>
                  <a:pt x="175" y="728"/>
                </a:lnTo>
                <a:lnTo>
                  <a:pt x="184" y="729"/>
                </a:lnTo>
                <a:lnTo>
                  <a:pt x="192" y="730"/>
                </a:lnTo>
                <a:lnTo>
                  <a:pt x="201" y="732"/>
                </a:lnTo>
                <a:lnTo>
                  <a:pt x="218" y="738"/>
                </a:lnTo>
                <a:lnTo>
                  <a:pt x="234" y="746"/>
                </a:lnTo>
                <a:lnTo>
                  <a:pt x="250" y="755"/>
                </a:lnTo>
                <a:lnTo>
                  <a:pt x="265" y="767"/>
                </a:lnTo>
                <a:lnTo>
                  <a:pt x="279" y="778"/>
                </a:lnTo>
                <a:lnTo>
                  <a:pt x="292" y="789"/>
                </a:lnTo>
                <a:lnTo>
                  <a:pt x="299" y="795"/>
                </a:lnTo>
                <a:lnTo>
                  <a:pt x="306" y="802"/>
                </a:lnTo>
                <a:lnTo>
                  <a:pt x="312" y="809"/>
                </a:lnTo>
                <a:lnTo>
                  <a:pt x="318" y="818"/>
                </a:lnTo>
                <a:lnTo>
                  <a:pt x="328" y="834"/>
                </a:lnTo>
                <a:lnTo>
                  <a:pt x="337" y="850"/>
                </a:lnTo>
                <a:lnTo>
                  <a:pt x="342" y="857"/>
                </a:lnTo>
                <a:lnTo>
                  <a:pt x="347" y="864"/>
                </a:lnTo>
                <a:lnTo>
                  <a:pt x="354" y="871"/>
                </a:lnTo>
                <a:lnTo>
                  <a:pt x="359" y="877"/>
                </a:lnTo>
                <a:lnTo>
                  <a:pt x="367" y="881"/>
                </a:lnTo>
                <a:lnTo>
                  <a:pt x="374" y="885"/>
                </a:lnTo>
                <a:lnTo>
                  <a:pt x="382" y="887"/>
                </a:lnTo>
                <a:lnTo>
                  <a:pt x="392" y="888"/>
                </a:lnTo>
                <a:lnTo>
                  <a:pt x="402" y="887"/>
                </a:lnTo>
                <a:lnTo>
                  <a:pt x="412" y="886"/>
                </a:lnTo>
                <a:lnTo>
                  <a:pt x="422" y="884"/>
                </a:lnTo>
                <a:lnTo>
                  <a:pt x="432" y="882"/>
                </a:lnTo>
                <a:lnTo>
                  <a:pt x="442" y="879"/>
                </a:lnTo>
                <a:lnTo>
                  <a:pt x="452" y="877"/>
                </a:lnTo>
                <a:lnTo>
                  <a:pt x="462" y="876"/>
                </a:lnTo>
                <a:lnTo>
                  <a:pt x="471" y="875"/>
                </a:lnTo>
                <a:lnTo>
                  <a:pt x="478" y="876"/>
                </a:lnTo>
                <a:lnTo>
                  <a:pt x="485" y="878"/>
                </a:lnTo>
                <a:lnTo>
                  <a:pt x="489" y="878"/>
                </a:lnTo>
                <a:lnTo>
                  <a:pt x="492" y="878"/>
                </a:lnTo>
                <a:lnTo>
                  <a:pt x="496" y="877"/>
                </a:lnTo>
                <a:lnTo>
                  <a:pt x="499" y="875"/>
                </a:lnTo>
                <a:lnTo>
                  <a:pt x="501" y="883"/>
                </a:lnTo>
                <a:lnTo>
                  <a:pt x="509" y="894"/>
                </a:lnTo>
                <a:lnTo>
                  <a:pt x="515" y="904"/>
                </a:lnTo>
                <a:lnTo>
                  <a:pt x="519" y="912"/>
                </a:lnTo>
                <a:lnTo>
                  <a:pt x="518" y="915"/>
                </a:lnTo>
                <a:lnTo>
                  <a:pt x="516" y="918"/>
                </a:lnTo>
                <a:lnTo>
                  <a:pt x="515" y="920"/>
                </a:lnTo>
                <a:lnTo>
                  <a:pt x="513" y="922"/>
                </a:lnTo>
                <a:lnTo>
                  <a:pt x="508" y="927"/>
                </a:lnTo>
                <a:lnTo>
                  <a:pt x="502" y="930"/>
                </a:lnTo>
                <a:lnTo>
                  <a:pt x="496" y="933"/>
                </a:lnTo>
                <a:lnTo>
                  <a:pt x="490" y="936"/>
                </a:lnTo>
                <a:lnTo>
                  <a:pt x="488" y="937"/>
                </a:lnTo>
                <a:lnTo>
                  <a:pt x="487" y="939"/>
                </a:lnTo>
                <a:lnTo>
                  <a:pt x="486" y="941"/>
                </a:lnTo>
                <a:lnTo>
                  <a:pt x="485" y="943"/>
                </a:lnTo>
                <a:lnTo>
                  <a:pt x="486" y="954"/>
                </a:lnTo>
                <a:lnTo>
                  <a:pt x="488" y="963"/>
                </a:lnTo>
                <a:lnTo>
                  <a:pt x="490" y="970"/>
                </a:lnTo>
                <a:lnTo>
                  <a:pt x="494" y="977"/>
                </a:lnTo>
                <a:lnTo>
                  <a:pt x="499" y="984"/>
                </a:lnTo>
                <a:lnTo>
                  <a:pt x="504" y="989"/>
                </a:lnTo>
                <a:lnTo>
                  <a:pt x="511" y="994"/>
                </a:lnTo>
                <a:lnTo>
                  <a:pt x="519" y="998"/>
                </a:lnTo>
                <a:lnTo>
                  <a:pt x="538" y="998"/>
                </a:lnTo>
                <a:lnTo>
                  <a:pt x="538" y="986"/>
                </a:lnTo>
                <a:lnTo>
                  <a:pt x="539" y="973"/>
                </a:lnTo>
                <a:lnTo>
                  <a:pt x="542" y="962"/>
                </a:lnTo>
                <a:lnTo>
                  <a:pt x="544" y="950"/>
                </a:lnTo>
                <a:lnTo>
                  <a:pt x="548" y="928"/>
                </a:lnTo>
                <a:lnTo>
                  <a:pt x="555" y="906"/>
                </a:lnTo>
                <a:lnTo>
                  <a:pt x="561" y="884"/>
                </a:lnTo>
                <a:lnTo>
                  <a:pt x="566" y="861"/>
                </a:lnTo>
                <a:lnTo>
                  <a:pt x="568" y="850"/>
                </a:lnTo>
                <a:lnTo>
                  <a:pt x="570" y="838"/>
                </a:lnTo>
                <a:lnTo>
                  <a:pt x="571" y="826"/>
                </a:lnTo>
                <a:lnTo>
                  <a:pt x="571" y="813"/>
                </a:lnTo>
                <a:lnTo>
                  <a:pt x="571" y="803"/>
                </a:lnTo>
                <a:lnTo>
                  <a:pt x="569" y="794"/>
                </a:lnTo>
                <a:lnTo>
                  <a:pt x="567" y="786"/>
                </a:lnTo>
                <a:lnTo>
                  <a:pt x="564" y="780"/>
                </a:lnTo>
                <a:lnTo>
                  <a:pt x="559" y="775"/>
                </a:lnTo>
                <a:lnTo>
                  <a:pt x="555" y="771"/>
                </a:lnTo>
                <a:lnTo>
                  <a:pt x="549" y="768"/>
                </a:lnTo>
                <a:lnTo>
                  <a:pt x="545" y="765"/>
                </a:lnTo>
                <a:lnTo>
                  <a:pt x="535" y="759"/>
                </a:lnTo>
                <a:lnTo>
                  <a:pt x="526" y="752"/>
                </a:lnTo>
                <a:lnTo>
                  <a:pt x="523" y="749"/>
                </a:lnTo>
                <a:lnTo>
                  <a:pt x="521" y="745"/>
                </a:lnTo>
                <a:lnTo>
                  <a:pt x="519" y="740"/>
                </a:lnTo>
                <a:lnTo>
                  <a:pt x="519" y="733"/>
                </a:lnTo>
                <a:lnTo>
                  <a:pt x="519" y="728"/>
                </a:lnTo>
                <a:lnTo>
                  <a:pt x="521" y="723"/>
                </a:lnTo>
                <a:lnTo>
                  <a:pt x="523" y="719"/>
                </a:lnTo>
                <a:lnTo>
                  <a:pt x="526" y="716"/>
                </a:lnTo>
                <a:lnTo>
                  <a:pt x="535" y="710"/>
                </a:lnTo>
                <a:lnTo>
                  <a:pt x="546" y="706"/>
                </a:lnTo>
                <a:lnTo>
                  <a:pt x="566" y="700"/>
                </a:lnTo>
                <a:lnTo>
                  <a:pt x="578" y="696"/>
                </a:lnTo>
                <a:lnTo>
                  <a:pt x="578" y="678"/>
                </a:lnTo>
                <a:lnTo>
                  <a:pt x="568" y="673"/>
                </a:lnTo>
                <a:lnTo>
                  <a:pt x="560" y="668"/>
                </a:lnTo>
                <a:lnTo>
                  <a:pt x="556" y="665"/>
                </a:lnTo>
                <a:lnTo>
                  <a:pt x="554" y="662"/>
                </a:lnTo>
                <a:lnTo>
                  <a:pt x="552" y="658"/>
                </a:lnTo>
                <a:lnTo>
                  <a:pt x="552" y="654"/>
                </a:lnTo>
                <a:lnTo>
                  <a:pt x="553" y="651"/>
                </a:lnTo>
                <a:lnTo>
                  <a:pt x="556" y="649"/>
                </a:lnTo>
                <a:lnTo>
                  <a:pt x="563" y="646"/>
                </a:lnTo>
                <a:lnTo>
                  <a:pt x="569" y="644"/>
                </a:lnTo>
                <a:lnTo>
                  <a:pt x="588" y="639"/>
                </a:lnTo>
                <a:lnTo>
                  <a:pt x="611" y="635"/>
                </a:lnTo>
                <a:lnTo>
                  <a:pt x="655" y="628"/>
                </a:lnTo>
                <a:lnTo>
                  <a:pt x="684" y="62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499" name="Freeform 451"/>
          <p:cNvSpPr>
            <a:spLocks/>
          </p:cNvSpPr>
          <p:nvPr>
            <p:custDataLst>
              <p:tags r:id="rId289"/>
            </p:custDataLst>
          </p:nvPr>
        </p:nvSpPr>
        <p:spPr bwMode="auto">
          <a:xfrm>
            <a:off x="4284670" y="2662241"/>
            <a:ext cx="187325" cy="205979"/>
          </a:xfrm>
          <a:custGeom>
            <a:avLst/>
            <a:gdLst/>
            <a:ahLst/>
            <a:cxnLst>
              <a:cxn ang="0">
                <a:pos x="429" y="22"/>
              </a:cxn>
              <a:cxn ang="0">
                <a:pos x="428" y="43"/>
              </a:cxn>
              <a:cxn ang="0">
                <a:pos x="424" y="54"/>
              </a:cxn>
              <a:cxn ang="0">
                <a:pos x="415" y="67"/>
              </a:cxn>
              <a:cxn ang="0">
                <a:pos x="413" y="81"/>
              </a:cxn>
              <a:cxn ang="0">
                <a:pos x="414" y="160"/>
              </a:cxn>
              <a:cxn ang="0">
                <a:pos x="408" y="207"/>
              </a:cxn>
              <a:cxn ang="0">
                <a:pos x="396" y="241"/>
              </a:cxn>
              <a:cxn ang="0">
                <a:pos x="372" y="278"/>
              </a:cxn>
              <a:cxn ang="0">
                <a:pos x="338" y="309"/>
              </a:cxn>
              <a:cxn ang="0">
                <a:pos x="319" y="333"/>
              </a:cxn>
              <a:cxn ang="0">
                <a:pos x="312" y="412"/>
              </a:cxn>
              <a:cxn ang="0">
                <a:pos x="304" y="439"/>
              </a:cxn>
              <a:cxn ang="0">
                <a:pos x="290" y="448"/>
              </a:cxn>
              <a:cxn ang="0">
                <a:pos x="269" y="455"/>
              </a:cxn>
              <a:cxn ang="0">
                <a:pos x="253" y="472"/>
              </a:cxn>
              <a:cxn ang="0">
                <a:pos x="234" y="500"/>
              </a:cxn>
              <a:cxn ang="0">
                <a:pos x="223" y="505"/>
              </a:cxn>
              <a:cxn ang="0">
                <a:pos x="201" y="504"/>
              </a:cxn>
              <a:cxn ang="0">
                <a:pos x="189" y="498"/>
              </a:cxn>
              <a:cxn ang="0">
                <a:pos x="145" y="500"/>
              </a:cxn>
              <a:cxn ang="0">
                <a:pos x="123" y="500"/>
              </a:cxn>
              <a:cxn ang="0">
                <a:pos x="113" y="494"/>
              </a:cxn>
              <a:cxn ang="0">
                <a:pos x="95" y="493"/>
              </a:cxn>
              <a:cxn ang="0">
                <a:pos x="78" y="502"/>
              </a:cxn>
              <a:cxn ang="0">
                <a:pos x="62" y="519"/>
              </a:cxn>
              <a:cxn ang="0">
                <a:pos x="27" y="491"/>
              </a:cxn>
              <a:cxn ang="0">
                <a:pos x="6" y="447"/>
              </a:cxn>
              <a:cxn ang="0">
                <a:pos x="25" y="430"/>
              </a:cxn>
              <a:cxn ang="0">
                <a:pos x="42" y="424"/>
              </a:cxn>
              <a:cxn ang="0">
                <a:pos x="61" y="428"/>
              </a:cxn>
              <a:cxn ang="0">
                <a:pos x="58" y="418"/>
              </a:cxn>
              <a:cxn ang="0">
                <a:pos x="45" y="386"/>
              </a:cxn>
              <a:cxn ang="0">
                <a:pos x="47" y="366"/>
              </a:cxn>
              <a:cxn ang="0">
                <a:pos x="57" y="356"/>
              </a:cxn>
              <a:cxn ang="0">
                <a:pos x="71" y="352"/>
              </a:cxn>
              <a:cxn ang="0">
                <a:pos x="89" y="337"/>
              </a:cxn>
              <a:cxn ang="0">
                <a:pos x="104" y="333"/>
              </a:cxn>
              <a:cxn ang="0">
                <a:pos x="115" y="342"/>
              </a:cxn>
              <a:cxn ang="0">
                <a:pos x="135" y="359"/>
              </a:cxn>
              <a:cxn ang="0">
                <a:pos x="154" y="351"/>
              </a:cxn>
              <a:cxn ang="0">
                <a:pos x="181" y="353"/>
              </a:cxn>
              <a:cxn ang="0">
                <a:pos x="199" y="340"/>
              </a:cxn>
              <a:cxn ang="0">
                <a:pos x="210" y="315"/>
              </a:cxn>
              <a:cxn ang="0">
                <a:pos x="213" y="290"/>
              </a:cxn>
              <a:cxn ang="0">
                <a:pos x="215" y="269"/>
              </a:cxn>
              <a:cxn ang="0">
                <a:pos x="201" y="236"/>
              </a:cxn>
              <a:cxn ang="0">
                <a:pos x="188" y="203"/>
              </a:cxn>
              <a:cxn ang="0">
                <a:pos x="207" y="177"/>
              </a:cxn>
              <a:cxn ang="0">
                <a:pos x="210" y="164"/>
              </a:cxn>
              <a:cxn ang="0">
                <a:pos x="200" y="155"/>
              </a:cxn>
              <a:cxn ang="0">
                <a:pos x="197" y="137"/>
              </a:cxn>
              <a:cxn ang="0">
                <a:pos x="188" y="129"/>
              </a:cxn>
              <a:cxn ang="0">
                <a:pos x="161" y="132"/>
              </a:cxn>
              <a:cxn ang="0">
                <a:pos x="137" y="131"/>
              </a:cxn>
              <a:cxn ang="0">
                <a:pos x="125" y="119"/>
              </a:cxn>
              <a:cxn ang="0">
                <a:pos x="123" y="103"/>
              </a:cxn>
              <a:cxn ang="0">
                <a:pos x="132" y="76"/>
              </a:cxn>
              <a:cxn ang="0">
                <a:pos x="306" y="38"/>
              </a:cxn>
              <a:cxn ang="0">
                <a:pos x="323" y="17"/>
              </a:cxn>
              <a:cxn ang="0">
                <a:pos x="343" y="7"/>
              </a:cxn>
              <a:cxn ang="0">
                <a:pos x="374" y="5"/>
              </a:cxn>
              <a:cxn ang="0">
                <a:pos x="408" y="4"/>
              </a:cxn>
            </a:cxnLst>
            <a:rect l="0" t="0" r="r" b="b"/>
            <a:pathLst>
              <a:path w="429" h="524">
                <a:moveTo>
                  <a:pt x="426" y="0"/>
                </a:moveTo>
                <a:lnTo>
                  <a:pt x="427" y="12"/>
                </a:lnTo>
                <a:lnTo>
                  <a:pt x="429" y="22"/>
                </a:lnTo>
                <a:lnTo>
                  <a:pt x="429" y="31"/>
                </a:lnTo>
                <a:lnTo>
                  <a:pt x="429" y="38"/>
                </a:lnTo>
                <a:lnTo>
                  <a:pt x="428" y="43"/>
                </a:lnTo>
                <a:lnTo>
                  <a:pt x="427" y="48"/>
                </a:lnTo>
                <a:lnTo>
                  <a:pt x="426" y="51"/>
                </a:lnTo>
                <a:lnTo>
                  <a:pt x="424" y="54"/>
                </a:lnTo>
                <a:lnTo>
                  <a:pt x="419" y="60"/>
                </a:lnTo>
                <a:lnTo>
                  <a:pt x="416" y="64"/>
                </a:lnTo>
                <a:lnTo>
                  <a:pt x="415" y="67"/>
                </a:lnTo>
                <a:lnTo>
                  <a:pt x="413" y="71"/>
                </a:lnTo>
                <a:lnTo>
                  <a:pt x="413" y="75"/>
                </a:lnTo>
                <a:lnTo>
                  <a:pt x="413" y="81"/>
                </a:lnTo>
                <a:lnTo>
                  <a:pt x="413" y="109"/>
                </a:lnTo>
                <a:lnTo>
                  <a:pt x="414" y="135"/>
                </a:lnTo>
                <a:lnTo>
                  <a:pt x="414" y="160"/>
                </a:lnTo>
                <a:lnTo>
                  <a:pt x="413" y="183"/>
                </a:lnTo>
                <a:lnTo>
                  <a:pt x="410" y="196"/>
                </a:lnTo>
                <a:lnTo>
                  <a:pt x="408" y="207"/>
                </a:lnTo>
                <a:lnTo>
                  <a:pt x="405" y="218"/>
                </a:lnTo>
                <a:lnTo>
                  <a:pt x="401" y="229"/>
                </a:lnTo>
                <a:lnTo>
                  <a:pt x="396" y="241"/>
                </a:lnTo>
                <a:lnTo>
                  <a:pt x="390" y="254"/>
                </a:lnTo>
                <a:lnTo>
                  <a:pt x="382" y="266"/>
                </a:lnTo>
                <a:lnTo>
                  <a:pt x="372" y="278"/>
                </a:lnTo>
                <a:lnTo>
                  <a:pt x="360" y="288"/>
                </a:lnTo>
                <a:lnTo>
                  <a:pt x="346" y="300"/>
                </a:lnTo>
                <a:lnTo>
                  <a:pt x="338" y="309"/>
                </a:lnTo>
                <a:lnTo>
                  <a:pt x="331" y="316"/>
                </a:lnTo>
                <a:lnTo>
                  <a:pt x="325" y="324"/>
                </a:lnTo>
                <a:lnTo>
                  <a:pt x="319" y="333"/>
                </a:lnTo>
                <a:lnTo>
                  <a:pt x="318" y="361"/>
                </a:lnTo>
                <a:lnTo>
                  <a:pt x="314" y="395"/>
                </a:lnTo>
                <a:lnTo>
                  <a:pt x="312" y="412"/>
                </a:lnTo>
                <a:lnTo>
                  <a:pt x="308" y="428"/>
                </a:lnTo>
                <a:lnTo>
                  <a:pt x="306" y="434"/>
                </a:lnTo>
                <a:lnTo>
                  <a:pt x="304" y="439"/>
                </a:lnTo>
                <a:lnTo>
                  <a:pt x="302" y="442"/>
                </a:lnTo>
                <a:lnTo>
                  <a:pt x="300" y="444"/>
                </a:lnTo>
                <a:lnTo>
                  <a:pt x="290" y="448"/>
                </a:lnTo>
                <a:lnTo>
                  <a:pt x="280" y="451"/>
                </a:lnTo>
                <a:lnTo>
                  <a:pt x="274" y="453"/>
                </a:lnTo>
                <a:lnTo>
                  <a:pt x="269" y="455"/>
                </a:lnTo>
                <a:lnTo>
                  <a:pt x="264" y="458"/>
                </a:lnTo>
                <a:lnTo>
                  <a:pt x="259" y="462"/>
                </a:lnTo>
                <a:lnTo>
                  <a:pt x="253" y="472"/>
                </a:lnTo>
                <a:lnTo>
                  <a:pt x="245" y="487"/>
                </a:lnTo>
                <a:lnTo>
                  <a:pt x="239" y="494"/>
                </a:lnTo>
                <a:lnTo>
                  <a:pt x="234" y="500"/>
                </a:lnTo>
                <a:lnTo>
                  <a:pt x="230" y="502"/>
                </a:lnTo>
                <a:lnTo>
                  <a:pt x="227" y="504"/>
                </a:lnTo>
                <a:lnTo>
                  <a:pt x="223" y="505"/>
                </a:lnTo>
                <a:lnTo>
                  <a:pt x="219" y="506"/>
                </a:lnTo>
                <a:lnTo>
                  <a:pt x="210" y="505"/>
                </a:lnTo>
                <a:lnTo>
                  <a:pt x="201" y="504"/>
                </a:lnTo>
                <a:lnTo>
                  <a:pt x="196" y="503"/>
                </a:lnTo>
                <a:lnTo>
                  <a:pt x="192" y="501"/>
                </a:lnTo>
                <a:lnTo>
                  <a:pt x="189" y="498"/>
                </a:lnTo>
                <a:lnTo>
                  <a:pt x="186" y="494"/>
                </a:lnTo>
                <a:lnTo>
                  <a:pt x="166" y="496"/>
                </a:lnTo>
                <a:lnTo>
                  <a:pt x="145" y="500"/>
                </a:lnTo>
                <a:lnTo>
                  <a:pt x="135" y="502"/>
                </a:lnTo>
                <a:lnTo>
                  <a:pt x="126" y="501"/>
                </a:lnTo>
                <a:lnTo>
                  <a:pt x="123" y="500"/>
                </a:lnTo>
                <a:lnTo>
                  <a:pt x="119" y="499"/>
                </a:lnTo>
                <a:lnTo>
                  <a:pt x="116" y="497"/>
                </a:lnTo>
                <a:lnTo>
                  <a:pt x="113" y="494"/>
                </a:lnTo>
                <a:lnTo>
                  <a:pt x="106" y="493"/>
                </a:lnTo>
                <a:lnTo>
                  <a:pt x="100" y="493"/>
                </a:lnTo>
                <a:lnTo>
                  <a:pt x="95" y="493"/>
                </a:lnTo>
                <a:lnTo>
                  <a:pt x="91" y="494"/>
                </a:lnTo>
                <a:lnTo>
                  <a:pt x="83" y="497"/>
                </a:lnTo>
                <a:lnTo>
                  <a:pt x="78" y="502"/>
                </a:lnTo>
                <a:lnTo>
                  <a:pt x="73" y="507"/>
                </a:lnTo>
                <a:lnTo>
                  <a:pt x="68" y="513"/>
                </a:lnTo>
                <a:lnTo>
                  <a:pt x="62" y="519"/>
                </a:lnTo>
                <a:lnTo>
                  <a:pt x="54" y="524"/>
                </a:lnTo>
                <a:lnTo>
                  <a:pt x="39" y="507"/>
                </a:lnTo>
                <a:lnTo>
                  <a:pt x="27" y="491"/>
                </a:lnTo>
                <a:lnTo>
                  <a:pt x="14" y="474"/>
                </a:lnTo>
                <a:lnTo>
                  <a:pt x="0" y="456"/>
                </a:lnTo>
                <a:lnTo>
                  <a:pt x="6" y="447"/>
                </a:lnTo>
                <a:lnTo>
                  <a:pt x="13" y="440"/>
                </a:lnTo>
                <a:lnTo>
                  <a:pt x="18" y="434"/>
                </a:lnTo>
                <a:lnTo>
                  <a:pt x="25" y="430"/>
                </a:lnTo>
                <a:lnTo>
                  <a:pt x="31" y="427"/>
                </a:lnTo>
                <a:lnTo>
                  <a:pt x="36" y="425"/>
                </a:lnTo>
                <a:lnTo>
                  <a:pt x="42" y="424"/>
                </a:lnTo>
                <a:lnTo>
                  <a:pt x="46" y="424"/>
                </a:lnTo>
                <a:lnTo>
                  <a:pt x="55" y="425"/>
                </a:lnTo>
                <a:lnTo>
                  <a:pt x="61" y="428"/>
                </a:lnTo>
                <a:lnTo>
                  <a:pt x="65" y="431"/>
                </a:lnTo>
                <a:lnTo>
                  <a:pt x="67" y="432"/>
                </a:lnTo>
                <a:lnTo>
                  <a:pt x="58" y="418"/>
                </a:lnTo>
                <a:lnTo>
                  <a:pt x="51" y="405"/>
                </a:lnTo>
                <a:lnTo>
                  <a:pt x="47" y="395"/>
                </a:lnTo>
                <a:lnTo>
                  <a:pt x="45" y="386"/>
                </a:lnTo>
                <a:lnTo>
                  <a:pt x="45" y="378"/>
                </a:lnTo>
                <a:lnTo>
                  <a:pt x="45" y="372"/>
                </a:lnTo>
                <a:lnTo>
                  <a:pt x="47" y="366"/>
                </a:lnTo>
                <a:lnTo>
                  <a:pt x="50" y="362"/>
                </a:lnTo>
                <a:lnTo>
                  <a:pt x="54" y="359"/>
                </a:lnTo>
                <a:lnTo>
                  <a:pt x="57" y="356"/>
                </a:lnTo>
                <a:lnTo>
                  <a:pt x="61" y="354"/>
                </a:lnTo>
                <a:lnTo>
                  <a:pt x="65" y="353"/>
                </a:lnTo>
                <a:lnTo>
                  <a:pt x="71" y="352"/>
                </a:lnTo>
                <a:lnTo>
                  <a:pt x="73" y="351"/>
                </a:lnTo>
                <a:lnTo>
                  <a:pt x="81" y="343"/>
                </a:lnTo>
                <a:lnTo>
                  <a:pt x="89" y="337"/>
                </a:lnTo>
                <a:lnTo>
                  <a:pt x="94" y="334"/>
                </a:lnTo>
                <a:lnTo>
                  <a:pt x="100" y="333"/>
                </a:lnTo>
                <a:lnTo>
                  <a:pt x="104" y="333"/>
                </a:lnTo>
                <a:lnTo>
                  <a:pt x="109" y="335"/>
                </a:lnTo>
                <a:lnTo>
                  <a:pt x="112" y="339"/>
                </a:lnTo>
                <a:lnTo>
                  <a:pt x="115" y="342"/>
                </a:lnTo>
                <a:lnTo>
                  <a:pt x="123" y="350"/>
                </a:lnTo>
                <a:lnTo>
                  <a:pt x="130" y="356"/>
                </a:lnTo>
                <a:lnTo>
                  <a:pt x="135" y="359"/>
                </a:lnTo>
                <a:lnTo>
                  <a:pt x="140" y="359"/>
                </a:lnTo>
                <a:lnTo>
                  <a:pt x="146" y="356"/>
                </a:lnTo>
                <a:lnTo>
                  <a:pt x="154" y="351"/>
                </a:lnTo>
                <a:lnTo>
                  <a:pt x="163" y="354"/>
                </a:lnTo>
                <a:lnTo>
                  <a:pt x="172" y="354"/>
                </a:lnTo>
                <a:lnTo>
                  <a:pt x="181" y="353"/>
                </a:lnTo>
                <a:lnTo>
                  <a:pt x="188" y="350"/>
                </a:lnTo>
                <a:lnTo>
                  <a:pt x="193" y="345"/>
                </a:lnTo>
                <a:lnTo>
                  <a:pt x="199" y="340"/>
                </a:lnTo>
                <a:lnTo>
                  <a:pt x="202" y="334"/>
                </a:lnTo>
                <a:lnTo>
                  <a:pt x="205" y="328"/>
                </a:lnTo>
                <a:lnTo>
                  <a:pt x="210" y="315"/>
                </a:lnTo>
                <a:lnTo>
                  <a:pt x="212" y="302"/>
                </a:lnTo>
                <a:lnTo>
                  <a:pt x="213" y="293"/>
                </a:lnTo>
                <a:lnTo>
                  <a:pt x="213" y="290"/>
                </a:lnTo>
                <a:lnTo>
                  <a:pt x="215" y="283"/>
                </a:lnTo>
                <a:lnTo>
                  <a:pt x="215" y="276"/>
                </a:lnTo>
                <a:lnTo>
                  <a:pt x="215" y="269"/>
                </a:lnTo>
                <a:lnTo>
                  <a:pt x="213" y="262"/>
                </a:lnTo>
                <a:lnTo>
                  <a:pt x="208" y="249"/>
                </a:lnTo>
                <a:lnTo>
                  <a:pt x="201" y="236"/>
                </a:lnTo>
                <a:lnTo>
                  <a:pt x="186" y="217"/>
                </a:lnTo>
                <a:lnTo>
                  <a:pt x="180" y="210"/>
                </a:lnTo>
                <a:lnTo>
                  <a:pt x="188" y="203"/>
                </a:lnTo>
                <a:lnTo>
                  <a:pt x="202" y="187"/>
                </a:lnTo>
                <a:lnTo>
                  <a:pt x="205" y="182"/>
                </a:lnTo>
                <a:lnTo>
                  <a:pt x="207" y="177"/>
                </a:lnTo>
                <a:lnTo>
                  <a:pt x="210" y="173"/>
                </a:lnTo>
                <a:lnTo>
                  <a:pt x="211" y="168"/>
                </a:lnTo>
                <a:lnTo>
                  <a:pt x="210" y="164"/>
                </a:lnTo>
                <a:lnTo>
                  <a:pt x="208" y="161"/>
                </a:lnTo>
                <a:lnTo>
                  <a:pt x="205" y="157"/>
                </a:lnTo>
                <a:lnTo>
                  <a:pt x="200" y="155"/>
                </a:lnTo>
                <a:lnTo>
                  <a:pt x="200" y="148"/>
                </a:lnTo>
                <a:lnTo>
                  <a:pt x="200" y="142"/>
                </a:lnTo>
                <a:lnTo>
                  <a:pt x="197" y="137"/>
                </a:lnTo>
                <a:lnTo>
                  <a:pt x="195" y="133"/>
                </a:lnTo>
                <a:lnTo>
                  <a:pt x="192" y="131"/>
                </a:lnTo>
                <a:lnTo>
                  <a:pt x="188" y="129"/>
                </a:lnTo>
                <a:lnTo>
                  <a:pt x="183" y="129"/>
                </a:lnTo>
                <a:lnTo>
                  <a:pt x="179" y="129"/>
                </a:lnTo>
                <a:lnTo>
                  <a:pt x="161" y="132"/>
                </a:lnTo>
                <a:lnTo>
                  <a:pt x="154" y="137"/>
                </a:lnTo>
                <a:lnTo>
                  <a:pt x="144" y="134"/>
                </a:lnTo>
                <a:lnTo>
                  <a:pt x="137" y="131"/>
                </a:lnTo>
                <a:lnTo>
                  <a:pt x="132" y="128"/>
                </a:lnTo>
                <a:lnTo>
                  <a:pt x="127" y="124"/>
                </a:lnTo>
                <a:lnTo>
                  <a:pt x="125" y="119"/>
                </a:lnTo>
                <a:lnTo>
                  <a:pt x="123" y="114"/>
                </a:lnTo>
                <a:lnTo>
                  <a:pt x="123" y="109"/>
                </a:lnTo>
                <a:lnTo>
                  <a:pt x="123" y="103"/>
                </a:lnTo>
                <a:lnTo>
                  <a:pt x="125" y="93"/>
                </a:lnTo>
                <a:lnTo>
                  <a:pt x="128" y="84"/>
                </a:lnTo>
                <a:lnTo>
                  <a:pt x="132" y="76"/>
                </a:lnTo>
                <a:lnTo>
                  <a:pt x="133" y="74"/>
                </a:lnTo>
                <a:lnTo>
                  <a:pt x="293" y="105"/>
                </a:lnTo>
                <a:lnTo>
                  <a:pt x="306" y="38"/>
                </a:lnTo>
                <a:lnTo>
                  <a:pt x="311" y="30"/>
                </a:lnTo>
                <a:lnTo>
                  <a:pt x="317" y="22"/>
                </a:lnTo>
                <a:lnTo>
                  <a:pt x="323" y="17"/>
                </a:lnTo>
                <a:lnTo>
                  <a:pt x="329" y="12"/>
                </a:lnTo>
                <a:lnTo>
                  <a:pt x="336" y="9"/>
                </a:lnTo>
                <a:lnTo>
                  <a:pt x="343" y="7"/>
                </a:lnTo>
                <a:lnTo>
                  <a:pt x="350" y="6"/>
                </a:lnTo>
                <a:lnTo>
                  <a:pt x="358" y="5"/>
                </a:lnTo>
                <a:lnTo>
                  <a:pt x="374" y="5"/>
                </a:lnTo>
                <a:lnTo>
                  <a:pt x="391" y="4"/>
                </a:lnTo>
                <a:lnTo>
                  <a:pt x="399" y="4"/>
                </a:lnTo>
                <a:lnTo>
                  <a:pt x="408" y="4"/>
                </a:lnTo>
                <a:lnTo>
                  <a:pt x="417" y="2"/>
                </a:lnTo>
                <a:lnTo>
                  <a:pt x="42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500" name="Freeform 452"/>
          <p:cNvSpPr>
            <a:spLocks/>
          </p:cNvSpPr>
          <p:nvPr>
            <p:custDataLst>
              <p:tags r:id="rId290"/>
            </p:custDataLst>
          </p:nvPr>
        </p:nvSpPr>
        <p:spPr bwMode="auto">
          <a:xfrm>
            <a:off x="4316413" y="1644254"/>
            <a:ext cx="127000" cy="85725"/>
          </a:xfrm>
          <a:custGeom>
            <a:avLst/>
            <a:gdLst/>
            <a:ahLst/>
            <a:cxnLst>
              <a:cxn ang="0">
                <a:pos x="259" y="93"/>
              </a:cxn>
              <a:cxn ang="0">
                <a:pos x="166" y="77"/>
              </a:cxn>
              <a:cxn ang="0">
                <a:pos x="152" y="79"/>
              </a:cxn>
              <a:cxn ang="0">
                <a:pos x="139" y="79"/>
              </a:cxn>
              <a:cxn ang="0">
                <a:pos x="126" y="77"/>
              </a:cxn>
              <a:cxn ang="0">
                <a:pos x="119" y="93"/>
              </a:cxn>
              <a:cxn ang="0">
                <a:pos x="144" y="131"/>
              </a:cxn>
              <a:cxn ang="0">
                <a:pos x="168" y="157"/>
              </a:cxn>
              <a:cxn ang="0">
                <a:pos x="189" y="185"/>
              </a:cxn>
              <a:cxn ang="0">
                <a:pos x="197" y="202"/>
              </a:cxn>
              <a:cxn ang="0">
                <a:pos x="205" y="222"/>
              </a:cxn>
              <a:cxn ang="0">
                <a:pos x="175" y="223"/>
              </a:cxn>
              <a:cxn ang="0">
                <a:pos x="161" y="222"/>
              </a:cxn>
              <a:cxn ang="0">
                <a:pos x="146" y="216"/>
              </a:cxn>
              <a:cxn ang="0">
                <a:pos x="134" y="209"/>
              </a:cxn>
              <a:cxn ang="0">
                <a:pos x="127" y="198"/>
              </a:cxn>
              <a:cxn ang="0">
                <a:pos x="121" y="187"/>
              </a:cxn>
              <a:cxn ang="0">
                <a:pos x="113" y="180"/>
              </a:cxn>
              <a:cxn ang="0">
                <a:pos x="91" y="145"/>
              </a:cxn>
              <a:cxn ang="0">
                <a:pos x="68" y="113"/>
              </a:cxn>
              <a:cxn ang="0">
                <a:pos x="55" y="99"/>
              </a:cxn>
              <a:cxn ang="0">
                <a:pos x="42" y="87"/>
              </a:cxn>
              <a:cxn ang="0">
                <a:pos x="27" y="79"/>
              </a:cxn>
              <a:cxn ang="0">
                <a:pos x="13" y="75"/>
              </a:cxn>
              <a:cxn ang="0">
                <a:pos x="4" y="65"/>
              </a:cxn>
              <a:cxn ang="0">
                <a:pos x="1" y="58"/>
              </a:cxn>
              <a:cxn ang="0">
                <a:pos x="0" y="49"/>
              </a:cxn>
              <a:cxn ang="0">
                <a:pos x="40" y="55"/>
              </a:cxn>
              <a:cxn ang="0">
                <a:pos x="70" y="55"/>
              </a:cxn>
              <a:cxn ang="0">
                <a:pos x="91" y="50"/>
              </a:cxn>
              <a:cxn ang="0">
                <a:pos x="106" y="41"/>
              </a:cxn>
              <a:cxn ang="0">
                <a:pos x="127" y="20"/>
              </a:cxn>
              <a:cxn ang="0">
                <a:pos x="138" y="9"/>
              </a:cxn>
              <a:cxn ang="0">
                <a:pos x="152" y="0"/>
              </a:cxn>
              <a:cxn ang="0">
                <a:pos x="172" y="14"/>
              </a:cxn>
              <a:cxn ang="0">
                <a:pos x="194" y="26"/>
              </a:cxn>
              <a:cxn ang="0">
                <a:pos x="218" y="34"/>
              </a:cxn>
              <a:cxn ang="0">
                <a:pos x="246" y="37"/>
              </a:cxn>
              <a:cxn ang="0">
                <a:pos x="262" y="34"/>
              </a:cxn>
              <a:cxn ang="0">
                <a:pos x="279" y="31"/>
              </a:cxn>
              <a:cxn ang="0">
                <a:pos x="285" y="47"/>
              </a:cxn>
              <a:cxn ang="0">
                <a:pos x="287" y="49"/>
              </a:cxn>
              <a:cxn ang="0">
                <a:pos x="292" y="69"/>
              </a:cxn>
            </a:cxnLst>
            <a:rect l="0" t="0" r="r" b="b"/>
            <a:pathLst>
              <a:path w="292" h="223">
                <a:moveTo>
                  <a:pt x="292" y="69"/>
                </a:moveTo>
                <a:lnTo>
                  <a:pt x="259" y="93"/>
                </a:lnTo>
                <a:lnTo>
                  <a:pt x="172" y="75"/>
                </a:lnTo>
                <a:lnTo>
                  <a:pt x="166" y="77"/>
                </a:lnTo>
                <a:lnTo>
                  <a:pt x="159" y="78"/>
                </a:lnTo>
                <a:lnTo>
                  <a:pt x="152" y="79"/>
                </a:lnTo>
                <a:lnTo>
                  <a:pt x="146" y="79"/>
                </a:lnTo>
                <a:lnTo>
                  <a:pt x="139" y="79"/>
                </a:lnTo>
                <a:lnTo>
                  <a:pt x="133" y="78"/>
                </a:lnTo>
                <a:lnTo>
                  <a:pt x="126" y="77"/>
                </a:lnTo>
                <a:lnTo>
                  <a:pt x="119" y="75"/>
                </a:lnTo>
                <a:lnTo>
                  <a:pt x="119" y="93"/>
                </a:lnTo>
                <a:lnTo>
                  <a:pt x="132" y="113"/>
                </a:lnTo>
                <a:lnTo>
                  <a:pt x="144" y="131"/>
                </a:lnTo>
                <a:lnTo>
                  <a:pt x="156" y="145"/>
                </a:lnTo>
                <a:lnTo>
                  <a:pt x="168" y="157"/>
                </a:lnTo>
                <a:lnTo>
                  <a:pt x="179" y="170"/>
                </a:lnTo>
                <a:lnTo>
                  <a:pt x="189" y="185"/>
                </a:lnTo>
                <a:lnTo>
                  <a:pt x="193" y="193"/>
                </a:lnTo>
                <a:lnTo>
                  <a:pt x="197" y="202"/>
                </a:lnTo>
                <a:lnTo>
                  <a:pt x="202" y="211"/>
                </a:lnTo>
                <a:lnTo>
                  <a:pt x="205" y="222"/>
                </a:lnTo>
                <a:lnTo>
                  <a:pt x="191" y="223"/>
                </a:lnTo>
                <a:lnTo>
                  <a:pt x="175" y="223"/>
                </a:lnTo>
                <a:lnTo>
                  <a:pt x="168" y="223"/>
                </a:lnTo>
                <a:lnTo>
                  <a:pt x="161" y="222"/>
                </a:lnTo>
                <a:lnTo>
                  <a:pt x="154" y="220"/>
                </a:lnTo>
                <a:lnTo>
                  <a:pt x="146" y="216"/>
                </a:lnTo>
                <a:lnTo>
                  <a:pt x="139" y="213"/>
                </a:lnTo>
                <a:lnTo>
                  <a:pt x="134" y="209"/>
                </a:lnTo>
                <a:lnTo>
                  <a:pt x="130" y="203"/>
                </a:lnTo>
                <a:lnTo>
                  <a:pt x="127" y="198"/>
                </a:lnTo>
                <a:lnTo>
                  <a:pt x="124" y="192"/>
                </a:lnTo>
                <a:lnTo>
                  <a:pt x="121" y="187"/>
                </a:lnTo>
                <a:lnTo>
                  <a:pt x="117" y="183"/>
                </a:lnTo>
                <a:lnTo>
                  <a:pt x="113" y="180"/>
                </a:lnTo>
                <a:lnTo>
                  <a:pt x="102" y="162"/>
                </a:lnTo>
                <a:lnTo>
                  <a:pt x="91" y="145"/>
                </a:lnTo>
                <a:lnTo>
                  <a:pt x="80" y="129"/>
                </a:lnTo>
                <a:lnTo>
                  <a:pt x="68" y="113"/>
                </a:lnTo>
                <a:lnTo>
                  <a:pt x="61" y="105"/>
                </a:lnTo>
                <a:lnTo>
                  <a:pt x="55" y="99"/>
                </a:lnTo>
                <a:lnTo>
                  <a:pt x="48" y="93"/>
                </a:lnTo>
                <a:lnTo>
                  <a:pt x="42" y="87"/>
                </a:lnTo>
                <a:lnTo>
                  <a:pt x="35" y="83"/>
                </a:lnTo>
                <a:lnTo>
                  <a:pt x="27" y="79"/>
                </a:lnTo>
                <a:lnTo>
                  <a:pt x="21" y="76"/>
                </a:lnTo>
                <a:lnTo>
                  <a:pt x="13" y="75"/>
                </a:lnTo>
                <a:lnTo>
                  <a:pt x="9" y="70"/>
                </a:lnTo>
                <a:lnTo>
                  <a:pt x="4" y="65"/>
                </a:lnTo>
                <a:lnTo>
                  <a:pt x="2" y="62"/>
                </a:lnTo>
                <a:lnTo>
                  <a:pt x="1" y="58"/>
                </a:lnTo>
                <a:lnTo>
                  <a:pt x="0" y="54"/>
                </a:lnTo>
                <a:lnTo>
                  <a:pt x="0" y="49"/>
                </a:lnTo>
                <a:lnTo>
                  <a:pt x="22" y="53"/>
                </a:lnTo>
                <a:lnTo>
                  <a:pt x="40" y="55"/>
                </a:lnTo>
                <a:lnTo>
                  <a:pt x="57" y="56"/>
                </a:lnTo>
                <a:lnTo>
                  <a:pt x="70" y="55"/>
                </a:lnTo>
                <a:lnTo>
                  <a:pt x="82" y="53"/>
                </a:lnTo>
                <a:lnTo>
                  <a:pt x="91" y="50"/>
                </a:lnTo>
                <a:lnTo>
                  <a:pt x="99" y="46"/>
                </a:lnTo>
                <a:lnTo>
                  <a:pt x="106" y="41"/>
                </a:lnTo>
                <a:lnTo>
                  <a:pt x="117" y="31"/>
                </a:lnTo>
                <a:lnTo>
                  <a:pt x="127" y="20"/>
                </a:lnTo>
                <a:lnTo>
                  <a:pt x="132" y="14"/>
                </a:lnTo>
                <a:lnTo>
                  <a:pt x="138" y="9"/>
                </a:lnTo>
                <a:lnTo>
                  <a:pt x="145" y="4"/>
                </a:lnTo>
                <a:lnTo>
                  <a:pt x="152" y="0"/>
                </a:lnTo>
                <a:lnTo>
                  <a:pt x="162" y="8"/>
                </a:lnTo>
                <a:lnTo>
                  <a:pt x="172" y="14"/>
                </a:lnTo>
                <a:lnTo>
                  <a:pt x="183" y="21"/>
                </a:lnTo>
                <a:lnTo>
                  <a:pt x="194" y="26"/>
                </a:lnTo>
                <a:lnTo>
                  <a:pt x="205" y="31"/>
                </a:lnTo>
                <a:lnTo>
                  <a:pt x="218" y="34"/>
                </a:lnTo>
                <a:lnTo>
                  <a:pt x="231" y="37"/>
                </a:lnTo>
                <a:lnTo>
                  <a:pt x="246" y="37"/>
                </a:lnTo>
                <a:lnTo>
                  <a:pt x="255" y="36"/>
                </a:lnTo>
                <a:lnTo>
                  <a:pt x="262" y="34"/>
                </a:lnTo>
                <a:lnTo>
                  <a:pt x="270" y="32"/>
                </a:lnTo>
                <a:lnTo>
                  <a:pt x="279" y="31"/>
                </a:lnTo>
                <a:lnTo>
                  <a:pt x="283" y="42"/>
                </a:lnTo>
                <a:lnTo>
                  <a:pt x="285" y="47"/>
                </a:lnTo>
                <a:lnTo>
                  <a:pt x="287" y="49"/>
                </a:lnTo>
                <a:lnTo>
                  <a:pt x="287" y="49"/>
                </a:lnTo>
                <a:lnTo>
                  <a:pt x="289" y="52"/>
                </a:lnTo>
                <a:lnTo>
                  <a:pt x="292" y="69"/>
                </a:lnTo>
              </a:path>
            </a:pathLst>
          </a:custGeom>
          <a:solidFill>
            <a:srgbClr val="007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501" name="Freeform 453"/>
          <p:cNvSpPr>
            <a:spLocks/>
          </p:cNvSpPr>
          <p:nvPr>
            <p:custDataLst>
              <p:tags r:id="rId291"/>
            </p:custDataLst>
          </p:nvPr>
        </p:nvSpPr>
        <p:spPr bwMode="auto">
          <a:xfrm>
            <a:off x="4267207" y="1538288"/>
            <a:ext cx="168275" cy="58341"/>
          </a:xfrm>
          <a:custGeom>
            <a:avLst/>
            <a:gdLst/>
            <a:ahLst/>
            <a:cxnLst>
              <a:cxn ang="0">
                <a:pos x="375" y="94"/>
              </a:cxn>
              <a:cxn ang="0">
                <a:pos x="360" y="101"/>
              </a:cxn>
              <a:cxn ang="0">
                <a:pos x="354" y="108"/>
              </a:cxn>
              <a:cxn ang="0">
                <a:pos x="347" y="117"/>
              </a:cxn>
              <a:cxn ang="0">
                <a:pos x="333" y="127"/>
              </a:cxn>
              <a:cxn ang="0">
                <a:pos x="320" y="131"/>
              </a:cxn>
              <a:cxn ang="0">
                <a:pos x="311" y="132"/>
              </a:cxn>
              <a:cxn ang="0">
                <a:pos x="301" y="130"/>
              </a:cxn>
              <a:cxn ang="0">
                <a:pos x="291" y="126"/>
              </a:cxn>
              <a:cxn ang="0">
                <a:pos x="281" y="119"/>
              </a:cxn>
              <a:cxn ang="0">
                <a:pos x="275" y="116"/>
              </a:cxn>
              <a:cxn ang="0">
                <a:pos x="269" y="118"/>
              </a:cxn>
              <a:cxn ang="0">
                <a:pos x="267" y="123"/>
              </a:cxn>
              <a:cxn ang="0">
                <a:pos x="266" y="140"/>
              </a:cxn>
              <a:cxn ang="0">
                <a:pos x="257" y="145"/>
              </a:cxn>
              <a:cxn ang="0">
                <a:pos x="244" y="140"/>
              </a:cxn>
              <a:cxn ang="0">
                <a:pos x="229" y="131"/>
              </a:cxn>
              <a:cxn ang="0">
                <a:pos x="113" y="141"/>
              </a:cxn>
              <a:cxn ang="0">
                <a:pos x="80" y="124"/>
              </a:cxn>
              <a:cxn ang="0">
                <a:pos x="58" y="109"/>
              </a:cxn>
              <a:cxn ang="0">
                <a:pos x="45" y="94"/>
              </a:cxn>
              <a:cxn ang="0">
                <a:pos x="37" y="82"/>
              </a:cxn>
              <a:cxn ang="0">
                <a:pos x="26" y="59"/>
              </a:cxn>
              <a:cxn ang="0">
                <a:pos x="16" y="48"/>
              </a:cxn>
              <a:cxn ang="0">
                <a:pos x="0" y="36"/>
              </a:cxn>
              <a:cxn ang="0">
                <a:pos x="29" y="40"/>
              </a:cxn>
              <a:cxn ang="0">
                <a:pos x="52" y="38"/>
              </a:cxn>
              <a:cxn ang="0">
                <a:pos x="72" y="33"/>
              </a:cxn>
              <a:cxn ang="0">
                <a:pos x="87" y="25"/>
              </a:cxn>
              <a:cxn ang="0">
                <a:pos x="119" y="8"/>
              </a:cxn>
              <a:cxn ang="0">
                <a:pos x="138" y="2"/>
              </a:cxn>
              <a:cxn ang="0">
                <a:pos x="159" y="0"/>
              </a:cxn>
              <a:cxn ang="0">
                <a:pos x="200" y="23"/>
              </a:cxn>
              <a:cxn ang="0">
                <a:pos x="244" y="45"/>
              </a:cxn>
              <a:cxn ang="0">
                <a:pos x="292" y="67"/>
              </a:cxn>
              <a:cxn ang="0">
                <a:pos x="333" y="80"/>
              </a:cxn>
              <a:cxn ang="0">
                <a:pos x="354" y="86"/>
              </a:cxn>
              <a:cxn ang="0">
                <a:pos x="379" y="92"/>
              </a:cxn>
            </a:cxnLst>
            <a:rect l="0" t="0" r="r" b="b"/>
            <a:pathLst>
              <a:path w="379" h="147">
                <a:moveTo>
                  <a:pt x="379" y="92"/>
                </a:moveTo>
                <a:lnTo>
                  <a:pt x="375" y="94"/>
                </a:lnTo>
                <a:lnTo>
                  <a:pt x="366" y="98"/>
                </a:lnTo>
                <a:lnTo>
                  <a:pt x="360" y="101"/>
                </a:lnTo>
                <a:lnTo>
                  <a:pt x="357" y="105"/>
                </a:lnTo>
                <a:lnTo>
                  <a:pt x="354" y="108"/>
                </a:lnTo>
                <a:lnTo>
                  <a:pt x="353" y="111"/>
                </a:lnTo>
                <a:lnTo>
                  <a:pt x="347" y="117"/>
                </a:lnTo>
                <a:lnTo>
                  <a:pt x="341" y="123"/>
                </a:lnTo>
                <a:lnTo>
                  <a:pt x="333" y="127"/>
                </a:lnTo>
                <a:lnTo>
                  <a:pt x="324" y="130"/>
                </a:lnTo>
                <a:lnTo>
                  <a:pt x="320" y="131"/>
                </a:lnTo>
                <a:lnTo>
                  <a:pt x="315" y="132"/>
                </a:lnTo>
                <a:lnTo>
                  <a:pt x="311" y="132"/>
                </a:lnTo>
                <a:lnTo>
                  <a:pt x="306" y="131"/>
                </a:lnTo>
                <a:lnTo>
                  <a:pt x="301" y="130"/>
                </a:lnTo>
                <a:lnTo>
                  <a:pt x="296" y="128"/>
                </a:lnTo>
                <a:lnTo>
                  <a:pt x="291" y="126"/>
                </a:lnTo>
                <a:lnTo>
                  <a:pt x="286" y="123"/>
                </a:lnTo>
                <a:lnTo>
                  <a:pt x="281" y="119"/>
                </a:lnTo>
                <a:lnTo>
                  <a:pt x="277" y="117"/>
                </a:lnTo>
                <a:lnTo>
                  <a:pt x="275" y="116"/>
                </a:lnTo>
                <a:lnTo>
                  <a:pt x="271" y="116"/>
                </a:lnTo>
                <a:lnTo>
                  <a:pt x="269" y="118"/>
                </a:lnTo>
                <a:lnTo>
                  <a:pt x="268" y="120"/>
                </a:lnTo>
                <a:lnTo>
                  <a:pt x="267" y="123"/>
                </a:lnTo>
                <a:lnTo>
                  <a:pt x="266" y="126"/>
                </a:lnTo>
                <a:lnTo>
                  <a:pt x="266" y="140"/>
                </a:lnTo>
                <a:lnTo>
                  <a:pt x="266" y="147"/>
                </a:lnTo>
                <a:lnTo>
                  <a:pt x="257" y="145"/>
                </a:lnTo>
                <a:lnTo>
                  <a:pt x="251" y="143"/>
                </a:lnTo>
                <a:lnTo>
                  <a:pt x="244" y="140"/>
                </a:lnTo>
                <a:lnTo>
                  <a:pt x="240" y="137"/>
                </a:lnTo>
                <a:lnTo>
                  <a:pt x="229" y="131"/>
                </a:lnTo>
                <a:lnTo>
                  <a:pt x="213" y="123"/>
                </a:lnTo>
                <a:lnTo>
                  <a:pt x="113" y="141"/>
                </a:lnTo>
                <a:lnTo>
                  <a:pt x="95" y="132"/>
                </a:lnTo>
                <a:lnTo>
                  <a:pt x="80" y="124"/>
                </a:lnTo>
                <a:lnTo>
                  <a:pt x="68" y="116"/>
                </a:lnTo>
                <a:lnTo>
                  <a:pt x="58" y="109"/>
                </a:lnTo>
                <a:lnTo>
                  <a:pt x="51" y="101"/>
                </a:lnTo>
                <a:lnTo>
                  <a:pt x="45" y="94"/>
                </a:lnTo>
                <a:lnTo>
                  <a:pt x="40" y="88"/>
                </a:lnTo>
                <a:lnTo>
                  <a:pt x="37" y="82"/>
                </a:lnTo>
                <a:lnTo>
                  <a:pt x="31" y="70"/>
                </a:lnTo>
                <a:lnTo>
                  <a:pt x="26" y="59"/>
                </a:lnTo>
                <a:lnTo>
                  <a:pt x="21" y="54"/>
                </a:lnTo>
                <a:lnTo>
                  <a:pt x="16" y="48"/>
                </a:lnTo>
                <a:lnTo>
                  <a:pt x="9" y="42"/>
                </a:lnTo>
                <a:lnTo>
                  <a:pt x="0" y="36"/>
                </a:lnTo>
                <a:lnTo>
                  <a:pt x="16" y="39"/>
                </a:lnTo>
                <a:lnTo>
                  <a:pt x="29" y="40"/>
                </a:lnTo>
                <a:lnTo>
                  <a:pt x="41" y="40"/>
                </a:lnTo>
                <a:lnTo>
                  <a:pt x="52" y="38"/>
                </a:lnTo>
                <a:lnTo>
                  <a:pt x="62" y="36"/>
                </a:lnTo>
                <a:lnTo>
                  <a:pt x="72" y="33"/>
                </a:lnTo>
                <a:lnTo>
                  <a:pt x="79" y="29"/>
                </a:lnTo>
                <a:lnTo>
                  <a:pt x="87" y="25"/>
                </a:lnTo>
                <a:lnTo>
                  <a:pt x="102" y="16"/>
                </a:lnTo>
                <a:lnTo>
                  <a:pt x="119" y="8"/>
                </a:lnTo>
                <a:lnTo>
                  <a:pt x="128" y="5"/>
                </a:lnTo>
                <a:lnTo>
                  <a:pt x="138" y="2"/>
                </a:lnTo>
                <a:lnTo>
                  <a:pt x="149" y="1"/>
                </a:lnTo>
                <a:lnTo>
                  <a:pt x="159" y="0"/>
                </a:lnTo>
                <a:lnTo>
                  <a:pt x="179" y="11"/>
                </a:lnTo>
                <a:lnTo>
                  <a:pt x="200" y="23"/>
                </a:lnTo>
                <a:lnTo>
                  <a:pt x="222" y="34"/>
                </a:lnTo>
                <a:lnTo>
                  <a:pt x="244" y="45"/>
                </a:lnTo>
                <a:lnTo>
                  <a:pt x="278" y="61"/>
                </a:lnTo>
                <a:lnTo>
                  <a:pt x="292" y="67"/>
                </a:lnTo>
                <a:lnTo>
                  <a:pt x="314" y="73"/>
                </a:lnTo>
                <a:lnTo>
                  <a:pt x="333" y="80"/>
                </a:lnTo>
                <a:lnTo>
                  <a:pt x="343" y="83"/>
                </a:lnTo>
                <a:lnTo>
                  <a:pt x="354" y="86"/>
                </a:lnTo>
                <a:lnTo>
                  <a:pt x="365" y="89"/>
                </a:lnTo>
                <a:lnTo>
                  <a:pt x="379" y="92"/>
                </a:lnTo>
              </a:path>
            </a:pathLst>
          </a:custGeom>
          <a:solidFill>
            <a:srgbClr val="007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502" name="Freeform 454"/>
          <p:cNvSpPr>
            <a:spLocks/>
          </p:cNvSpPr>
          <p:nvPr>
            <p:custDataLst>
              <p:tags r:id="rId292"/>
            </p:custDataLst>
          </p:nvPr>
        </p:nvSpPr>
        <p:spPr bwMode="auto">
          <a:xfrm>
            <a:off x="4230688" y="1429944"/>
            <a:ext cx="30162" cy="45244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9"/>
              </a:cxn>
              <a:cxn ang="0">
                <a:pos x="0" y="18"/>
              </a:cxn>
              <a:cxn ang="0">
                <a:pos x="1" y="24"/>
              </a:cxn>
              <a:cxn ang="0">
                <a:pos x="2" y="30"/>
              </a:cxn>
              <a:cxn ang="0">
                <a:pos x="3" y="36"/>
              </a:cxn>
              <a:cxn ang="0">
                <a:pos x="6" y="42"/>
              </a:cxn>
              <a:cxn ang="0">
                <a:pos x="12" y="55"/>
              </a:cxn>
              <a:cxn ang="0">
                <a:pos x="21" y="67"/>
              </a:cxn>
              <a:cxn ang="0">
                <a:pos x="28" y="65"/>
              </a:cxn>
              <a:cxn ang="0">
                <a:pos x="35" y="61"/>
              </a:cxn>
              <a:cxn ang="0">
                <a:pos x="42" y="58"/>
              </a:cxn>
              <a:cxn ang="0">
                <a:pos x="48" y="53"/>
              </a:cxn>
              <a:cxn ang="0">
                <a:pos x="53" y="47"/>
              </a:cxn>
              <a:cxn ang="0">
                <a:pos x="57" y="40"/>
              </a:cxn>
              <a:cxn ang="0">
                <a:pos x="59" y="32"/>
              </a:cxn>
              <a:cxn ang="0">
                <a:pos x="61" y="24"/>
              </a:cxn>
              <a:cxn ang="0">
                <a:pos x="53" y="14"/>
              </a:cxn>
              <a:cxn ang="0">
                <a:pos x="41" y="0"/>
              </a:cxn>
              <a:cxn ang="0">
                <a:pos x="28" y="3"/>
              </a:cxn>
              <a:cxn ang="0">
                <a:pos x="18" y="4"/>
              </a:cxn>
              <a:cxn ang="0">
                <a:pos x="13" y="4"/>
              </a:cxn>
              <a:cxn ang="0">
                <a:pos x="10" y="3"/>
              </a:cxn>
              <a:cxn ang="0">
                <a:pos x="6" y="2"/>
              </a:cxn>
              <a:cxn ang="0">
                <a:pos x="0" y="0"/>
              </a:cxn>
            </a:cxnLst>
            <a:rect l="0" t="0" r="r" b="b"/>
            <a:pathLst>
              <a:path w="61" h="67">
                <a:moveTo>
                  <a:pt x="0" y="0"/>
                </a:moveTo>
                <a:lnTo>
                  <a:pt x="0" y="9"/>
                </a:lnTo>
                <a:lnTo>
                  <a:pt x="0" y="18"/>
                </a:lnTo>
                <a:lnTo>
                  <a:pt x="1" y="24"/>
                </a:lnTo>
                <a:lnTo>
                  <a:pt x="2" y="30"/>
                </a:lnTo>
                <a:lnTo>
                  <a:pt x="3" y="36"/>
                </a:lnTo>
                <a:lnTo>
                  <a:pt x="6" y="42"/>
                </a:lnTo>
                <a:lnTo>
                  <a:pt x="12" y="55"/>
                </a:lnTo>
                <a:lnTo>
                  <a:pt x="21" y="67"/>
                </a:lnTo>
                <a:lnTo>
                  <a:pt x="28" y="65"/>
                </a:lnTo>
                <a:lnTo>
                  <a:pt x="35" y="61"/>
                </a:lnTo>
                <a:lnTo>
                  <a:pt x="42" y="58"/>
                </a:lnTo>
                <a:lnTo>
                  <a:pt x="48" y="53"/>
                </a:lnTo>
                <a:lnTo>
                  <a:pt x="53" y="47"/>
                </a:lnTo>
                <a:lnTo>
                  <a:pt x="57" y="40"/>
                </a:lnTo>
                <a:lnTo>
                  <a:pt x="59" y="32"/>
                </a:lnTo>
                <a:lnTo>
                  <a:pt x="61" y="24"/>
                </a:lnTo>
                <a:lnTo>
                  <a:pt x="53" y="14"/>
                </a:lnTo>
                <a:lnTo>
                  <a:pt x="41" y="0"/>
                </a:lnTo>
                <a:lnTo>
                  <a:pt x="28" y="3"/>
                </a:lnTo>
                <a:lnTo>
                  <a:pt x="18" y="4"/>
                </a:lnTo>
                <a:lnTo>
                  <a:pt x="13" y="4"/>
                </a:lnTo>
                <a:lnTo>
                  <a:pt x="10" y="3"/>
                </a:lnTo>
                <a:lnTo>
                  <a:pt x="6" y="2"/>
                </a:lnTo>
                <a:lnTo>
                  <a:pt x="0" y="0"/>
                </a:lnTo>
              </a:path>
            </a:pathLst>
          </a:custGeom>
          <a:solidFill>
            <a:srgbClr val="00B0F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503" name="Freeform 455"/>
          <p:cNvSpPr>
            <a:spLocks/>
          </p:cNvSpPr>
          <p:nvPr>
            <p:custDataLst>
              <p:tags r:id="rId293"/>
            </p:custDataLst>
          </p:nvPr>
        </p:nvSpPr>
        <p:spPr bwMode="auto">
          <a:xfrm>
            <a:off x="4202114" y="1433513"/>
            <a:ext cx="25400" cy="44054"/>
          </a:xfrm>
          <a:custGeom>
            <a:avLst/>
            <a:gdLst/>
            <a:ahLst/>
            <a:cxnLst>
              <a:cxn ang="0">
                <a:pos x="0" y="6"/>
              </a:cxn>
              <a:cxn ang="0">
                <a:pos x="0" y="24"/>
              </a:cxn>
              <a:cxn ang="0">
                <a:pos x="5" y="32"/>
              </a:cxn>
              <a:cxn ang="0">
                <a:pos x="10" y="40"/>
              </a:cxn>
              <a:cxn ang="0">
                <a:pos x="16" y="45"/>
              </a:cxn>
              <a:cxn ang="0">
                <a:pos x="21" y="49"/>
              </a:cxn>
              <a:cxn ang="0">
                <a:pos x="27" y="52"/>
              </a:cxn>
              <a:cxn ang="0">
                <a:pos x="33" y="54"/>
              </a:cxn>
              <a:cxn ang="0">
                <a:pos x="40" y="55"/>
              </a:cxn>
              <a:cxn ang="0">
                <a:pos x="46" y="55"/>
              </a:cxn>
              <a:cxn ang="0">
                <a:pos x="53" y="52"/>
              </a:cxn>
              <a:cxn ang="0">
                <a:pos x="60" y="49"/>
              </a:cxn>
              <a:cxn ang="0">
                <a:pos x="50" y="34"/>
              </a:cxn>
              <a:cxn ang="0">
                <a:pos x="42" y="22"/>
              </a:cxn>
              <a:cxn ang="0">
                <a:pos x="39" y="17"/>
              </a:cxn>
              <a:cxn ang="0">
                <a:pos x="35" y="12"/>
              </a:cxn>
              <a:cxn ang="0">
                <a:pos x="34" y="6"/>
              </a:cxn>
              <a:cxn ang="0">
                <a:pos x="33" y="0"/>
              </a:cxn>
              <a:cxn ang="0">
                <a:pos x="23" y="1"/>
              </a:cxn>
              <a:cxn ang="0">
                <a:pos x="15" y="3"/>
              </a:cxn>
              <a:cxn ang="0">
                <a:pos x="7" y="5"/>
              </a:cxn>
              <a:cxn ang="0">
                <a:pos x="0" y="6"/>
              </a:cxn>
            </a:cxnLst>
            <a:rect l="0" t="0" r="r" b="b"/>
            <a:pathLst>
              <a:path w="60" h="55">
                <a:moveTo>
                  <a:pt x="0" y="6"/>
                </a:moveTo>
                <a:lnTo>
                  <a:pt x="0" y="24"/>
                </a:lnTo>
                <a:lnTo>
                  <a:pt x="5" y="32"/>
                </a:lnTo>
                <a:lnTo>
                  <a:pt x="10" y="40"/>
                </a:lnTo>
                <a:lnTo>
                  <a:pt x="16" y="45"/>
                </a:lnTo>
                <a:lnTo>
                  <a:pt x="21" y="49"/>
                </a:lnTo>
                <a:lnTo>
                  <a:pt x="27" y="52"/>
                </a:lnTo>
                <a:lnTo>
                  <a:pt x="33" y="54"/>
                </a:lnTo>
                <a:lnTo>
                  <a:pt x="40" y="55"/>
                </a:lnTo>
                <a:lnTo>
                  <a:pt x="46" y="55"/>
                </a:lnTo>
                <a:lnTo>
                  <a:pt x="53" y="52"/>
                </a:lnTo>
                <a:lnTo>
                  <a:pt x="60" y="49"/>
                </a:lnTo>
                <a:lnTo>
                  <a:pt x="50" y="34"/>
                </a:lnTo>
                <a:lnTo>
                  <a:pt x="42" y="22"/>
                </a:lnTo>
                <a:lnTo>
                  <a:pt x="39" y="17"/>
                </a:lnTo>
                <a:lnTo>
                  <a:pt x="35" y="12"/>
                </a:lnTo>
                <a:lnTo>
                  <a:pt x="34" y="6"/>
                </a:lnTo>
                <a:lnTo>
                  <a:pt x="33" y="0"/>
                </a:lnTo>
                <a:lnTo>
                  <a:pt x="23" y="1"/>
                </a:lnTo>
                <a:lnTo>
                  <a:pt x="15" y="3"/>
                </a:lnTo>
                <a:lnTo>
                  <a:pt x="7" y="5"/>
                </a:lnTo>
                <a:lnTo>
                  <a:pt x="0" y="6"/>
                </a:lnTo>
              </a:path>
            </a:pathLst>
          </a:custGeom>
          <a:solidFill>
            <a:srgbClr val="0070C0"/>
          </a:solidFill>
          <a:ln w="9525" cmpd="sng">
            <a:solidFill>
              <a:srgbClr val="0070C0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504" name="Freeform 456"/>
          <p:cNvSpPr>
            <a:spLocks/>
          </p:cNvSpPr>
          <p:nvPr>
            <p:custDataLst>
              <p:tags r:id="rId294"/>
            </p:custDataLst>
          </p:nvPr>
        </p:nvSpPr>
        <p:spPr bwMode="auto">
          <a:xfrm>
            <a:off x="4171950" y="1393031"/>
            <a:ext cx="52388" cy="58341"/>
          </a:xfrm>
          <a:custGeom>
            <a:avLst/>
            <a:gdLst/>
            <a:ahLst/>
            <a:cxnLst>
              <a:cxn ang="0">
                <a:pos x="74" y="129"/>
              </a:cxn>
              <a:cxn ang="0">
                <a:pos x="70" y="131"/>
              </a:cxn>
              <a:cxn ang="0">
                <a:pos x="67" y="132"/>
              </a:cxn>
              <a:cxn ang="0">
                <a:pos x="64" y="133"/>
              </a:cxn>
              <a:cxn ang="0">
                <a:pos x="60" y="133"/>
              </a:cxn>
              <a:cxn ang="0">
                <a:pos x="56" y="133"/>
              </a:cxn>
              <a:cxn ang="0">
                <a:pos x="53" y="132"/>
              </a:cxn>
              <a:cxn ang="0">
                <a:pos x="50" y="131"/>
              </a:cxn>
              <a:cxn ang="0">
                <a:pos x="47" y="129"/>
              </a:cxn>
              <a:cxn ang="0">
                <a:pos x="41" y="128"/>
              </a:cxn>
              <a:cxn ang="0">
                <a:pos x="34" y="125"/>
              </a:cxn>
              <a:cxn ang="0">
                <a:pos x="26" y="120"/>
              </a:cxn>
              <a:cxn ang="0">
                <a:pos x="19" y="115"/>
              </a:cxn>
              <a:cxn ang="0">
                <a:pos x="11" y="108"/>
              </a:cxn>
              <a:cxn ang="0">
                <a:pos x="6" y="101"/>
              </a:cxn>
              <a:cxn ang="0">
                <a:pos x="3" y="97"/>
              </a:cxn>
              <a:cxn ang="0">
                <a:pos x="2" y="94"/>
              </a:cxn>
              <a:cxn ang="0">
                <a:pos x="1" y="90"/>
              </a:cxn>
              <a:cxn ang="0">
                <a:pos x="0" y="87"/>
              </a:cxn>
              <a:cxn ang="0">
                <a:pos x="2" y="73"/>
              </a:cxn>
              <a:cxn ang="0">
                <a:pos x="8" y="55"/>
              </a:cxn>
              <a:cxn ang="0">
                <a:pos x="14" y="35"/>
              </a:cxn>
              <a:cxn ang="0">
                <a:pos x="20" y="18"/>
              </a:cxn>
              <a:cxn ang="0">
                <a:pos x="32" y="17"/>
              </a:cxn>
              <a:cxn ang="0">
                <a:pos x="42" y="16"/>
              </a:cxn>
              <a:cxn ang="0">
                <a:pos x="51" y="14"/>
              </a:cxn>
              <a:cxn ang="0">
                <a:pos x="58" y="11"/>
              </a:cxn>
              <a:cxn ang="0">
                <a:pos x="70" y="5"/>
              </a:cxn>
              <a:cxn ang="0">
                <a:pos x="80" y="0"/>
              </a:cxn>
              <a:cxn ang="0">
                <a:pos x="85" y="2"/>
              </a:cxn>
              <a:cxn ang="0">
                <a:pos x="93" y="7"/>
              </a:cxn>
              <a:cxn ang="0">
                <a:pos x="98" y="10"/>
              </a:cxn>
              <a:cxn ang="0">
                <a:pos x="102" y="13"/>
              </a:cxn>
              <a:cxn ang="0">
                <a:pos x="106" y="16"/>
              </a:cxn>
              <a:cxn ang="0">
                <a:pos x="107" y="18"/>
              </a:cxn>
              <a:cxn ang="0">
                <a:pos x="100" y="28"/>
              </a:cxn>
              <a:cxn ang="0">
                <a:pos x="93" y="37"/>
              </a:cxn>
              <a:cxn ang="0">
                <a:pos x="95" y="42"/>
              </a:cxn>
              <a:cxn ang="0">
                <a:pos x="98" y="49"/>
              </a:cxn>
              <a:cxn ang="0">
                <a:pos x="102" y="56"/>
              </a:cxn>
              <a:cxn ang="0">
                <a:pos x="107" y="63"/>
              </a:cxn>
              <a:cxn ang="0">
                <a:pos x="115" y="75"/>
              </a:cxn>
              <a:cxn ang="0">
                <a:pos x="120" y="79"/>
              </a:cxn>
              <a:cxn ang="0">
                <a:pos x="113" y="81"/>
              </a:cxn>
              <a:cxn ang="0">
                <a:pos x="107" y="84"/>
              </a:cxn>
              <a:cxn ang="0">
                <a:pos x="100" y="87"/>
              </a:cxn>
              <a:cxn ang="0">
                <a:pos x="96" y="91"/>
              </a:cxn>
              <a:cxn ang="0">
                <a:pos x="90" y="95"/>
              </a:cxn>
              <a:cxn ang="0">
                <a:pos x="87" y="99"/>
              </a:cxn>
              <a:cxn ang="0">
                <a:pos x="82" y="104"/>
              </a:cxn>
              <a:cxn ang="0">
                <a:pos x="80" y="109"/>
              </a:cxn>
              <a:cxn ang="0">
                <a:pos x="78" y="114"/>
              </a:cxn>
              <a:cxn ang="0">
                <a:pos x="77" y="120"/>
              </a:cxn>
              <a:cxn ang="0">
                <a:pos x="76" y="125"/>
              </a:cxn>
              <a:cxn ang="0">
                <a:pos x="75" y="130"/>
              </a:cxn>
              <a:cxn ang="0">
                <a:pos x="76" y="135"/>
              </a:cxn>
              <a:cxn ang="0">
                <a:pos x="77" y="140"/>
              </a:cxn>
              <a:cxn ang="0">
                <a:pos x="78" y="144"/>
              </a:cxn>
              <a:cxn ang="0">
                <a:pos x="80" y="148"/>
              </a:cxn>
              <a:cxn ang="0">
                <a:pos x="74" y="129"/>
              </a:cxn>
            </a:cxnLst>
            <a:rect l="0" t="0" r="r" b="b"/>
            <a:pathLst>
              <a:path w="120" h="148">
                <a:moveTo>
                  <a:pt x="74" y="129"/>
                </a:moveTo>
                <a:lnTo>
                  <a:pt x="70" y="131"/>
                </a:lnTo>
                <a:lnTo>
                  <a:pt x="67" y="132"/>
                </a:lnTo>
                <a:lnTo>
                  <a:pt x="64" y="133"/>
                </a:lnTo>
                <a:lnTo>
                  <a:pt x="60" y="133"/>
                </a:lnTo>
                <a:lnTo>
                  <a:pt x="56" y="133"/>
                </a:lnTo>
                <a:lnTo>
                  <a:pt x="53" y="132"/>
                </a:lnTo>
                <a:lnTo>
                  <a:pt x="50" y="131"/>
                </a:lnTo>
                <a:lnTo>
                  <a:pt x="47" y="129"/>
                </a:lnTo>
                <a:lnTo>
                  <a:pt x="41" y="128"/>
                </a:lnTo>
                <a:lnTo>
                  <a:pt x="34" y="125"/>
                </a:lnTo>
                <a:lnTo>
                  <a:pt x="26" y="120"/>
                </a:lnTo>
                <a:lnTo>
                  <a:pt x="19" y="115"/>
                </a:lnTo>
                <a:lnTo>
                  <a:pt x="11" y="108"/>
                </a:lnTo>
                <a:lnTo>
                  <a:pt x="6" y="101"/>
                </a:lnTo>
                <a:lnTo>
                  <a:pt x="3" y="97"/>
                </a:lnTo>
                <a:lnTo>
                  <a:pt x="2" y="94"/>
                </a:lnTo>
                <a:lnTo>
                  <a:pt x="1" y="90"/>
                </a:lnTo>
                <a:lnTo>
                  <a:pt x="0" y="87"/>
                </a:lnTo>
                <a:lnTo>
                  <a:pt x="2" y="73"/>
                </a:lnTo>
                <a:lnTo>
                  <a:pt x="8" y="55"/>
                </a:lnTo>
                <a:lnTo>
                  <a:pt x="14" y="35"/>
                </a:lnTo>
                <a:lnTo>
                  <a:pt x="20" y="18"/>
                </a:lnTo>
                <a:lnTo>
                  <a:pt x="32" y="17"/>
                </a:lnTo>
                <a:lnTo>
                  <a:pt x="42" y="16"/>
                </a:lnTo>
                <a:lnTo>
                  <a:pt x="51" y="14"/>
                </a:lnTo>
                <a:lnTo>
                  <a:pt x="58" y="11"/>
                </a:lnTo>
                <a:lnTo>
                  <a:pt x="70" y="5"/>
                </a:lnTo>
                <a:lnTo>
                  <a:pt x="80" y="0"/>
                </a:lnTo>
                <a:lnTo>
                  <a:pt x="85" y="2"/>
                </a:lnTo>
                <a:lnTo>
                  <a:pt x="93" y="7"/>
                </a:lnTo>
                <a:lnTo>
                  <a:pt x="98" y="10"/>
                </a:lnTo>
                <a:lnTo>
                  <a:pt x="102" y="13"/>
                </a:lnTo>
                <a:lnTo>
                  <a:pt x="106" y="16"/>
                </a:lnTo>
                <a:lnTo>
                  <a:pt x="107" y="18"/>
                </a:lnTo>
                <a:lnTo>
                  <a:pt x="100" y="28"/>
                </a:lnTo>
                <a:lnTo>
                  <a:pt x="93" y="37"/>
                </a:lnTo>
                <a:lnTo>
                  <a:pt x="95" y="42"/>
                </a:lnTo>
                <a:lnTo>
                  <a:pt x="98" y="49"/>
                </a:lnTo>
                <a:lnTo>
                  <a:pt x="102" y="56"/>
                </a:lnTo>
                <a:lnTo>
                  <a:pt x="107" y="63"/>
                </a:lnTo>
                <a:lnTo>
                  <a:pt x="115" y="75"/>
                </a:lnTo>
                <a:lnTo>
                  <a:pt x="120" y="79"/>
                </a:lnTo>
                <a:lnTo>
                  <a:pt x="113" y="81"/>
                </a:lnTo>
                <a:lnTo>
                  <a:pt x="107" y="84"/>
                </a:lnTo>
                <a:lnTo>
                  <a:pt x="100" y="87"/>
                </a:lnTo>
                <a:lnTo>
                  <a:pt x="96" y="91"/>
                </a:lnTo>
                <a:lnTo>
                  <a:pt x="90" y="95"/>
                </a:lnTo>
                <a:lnTo>
                  <a:pt x="87" y="99"/>
                </a:lnTo>
                <a:lnTo>
                  <a:pt x="82" y="104"/>
                </a:lnTo>
                <a:lnTo>
                  <a:pt x="80" y="109"/>
                </a:lnTo>
                <a:lnTo>
                  <a:pt x="78" y="114"/>
                </a:lnTo>
                <a:lnTo>
                  <a:pt x="77" y="120"/>
                </a:lnTo>
                <a:lnTo>
                  <a:pt x="76" y="125"/>
                </a:lnTo>
                <a:lnTo>
                  <a:pt x="75" y="130"/>
                </a:lnTo>
                <a:lnTo>
                  <a:pt x="76" y="135"/>
                </a:lnTo>
                <a:lnTo>
                  <a:pt x="77" y="140"/>
                </a:lnTo>
                <a:lnTo>
                  <a:pt x="78" y="144"/>
                </a:lnTo>
                <a:lnTo>
                  <a:pt x="80" y="148"/>
                </a:lnTo>
                <a:lnTo>
                  <a:pt x="74" y="129"/>
                </a:lnTo>
              </a:path>
            </a:pathLst>
          </a:custGeom>
          <a:solidFill>
            <a:srgbClr val="007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505" name="Freeform 457"/>
          <p:cNvSpPr>
            <a:spLocks/>
          </p:cNvSpPr>
          <p:nvPr>
            <p:custDataLst>
              <p:tags r:id="rId295"/>
            </p:custDataLst>
          </p:nvPr>
        </p:nvSpPr>
        <p:spPr bwMode="auto">
          <a:xfrm>
            <a:off x="4603750" y="1996687"/>
            <a:ext cx="273050" cy="230981"/>
          </a:xfrm>
          <a:custGeom>
            <a:avLst/>
            <a:gdLst/>
            <a:ahLst/>
            <a:cxnLst>
              <a:cxn ang="0">
                <a:pos x="21" y="2"/>
              </a:cxn>
              <a:cxn ang="0">
                <a:pos x="32" y="4"/>
              </a:cxn>
              <a:cxn ang="0">
                <a:pos x="54" y="8"/>
              </a:cxn>
              <a:cxn ang="0">
                <a:pos x="78" y="11"/>
              </a:cxn>
              <a:cxn ang="0">
                <a:pos x="104" y="19"/>
              </a:cxn>
              <a:cxn ang="0">
                <a:pos x="130" y="32"/>
              </a:cxn>
              <a:cxn ang="0">
                <a:pos x="146" y="40"/>
              </a:cxn>
              <a:cxn ang="0">
                <a:pos x="159" y="43"/>
              </a:cxn>
              <a:cxn ang="0">
                <a:pos x="189" y="43"/>
              </a:cxn>
              <a:cxn ang="0">
                <a:pos x="227" y="37"/>
              </a:cxn>
              <a:cxn ang="0">
                <a:pos x="277" y="23"/>
              </a:cxn>
              <a:cxn ang="0">
                <a:pos x="399" y="38"/>
              </a:cxn>
              <a:cxn ang="0">
                <a:pos x="403" y="69"/>
              </a:cxn>
              <a:cxn ang="0">
                <a:pos x="410" y="95"/>
              </a:cxn>
              <a:cxn ang="0">
                <a:pos x="417" y="119"/>
              </a:cxn>
              <a:cxn ang="0">
                <a:pos x="427" y="140"/>
              </a:cxn>
              <a:cxn ang="0">
                <a:pos x="450" y="175"/>
              </a:cxn>
              <a:cxn ang="0">
                <a:pos x="472" y="204"/>
              </a:cxn>
              <a:cxn ang="0">
                <a:pos x="482" y="222"/>
              </a:cxn>
              <a:cxn ang="0">
                <a:pos x="485" y="240"/>
              </a:cxn>
              <a:cxn ang="0">
                <a:pos x="491" y="255"/>
              </a:cxn>
              <a:cxn ang="0">
                <a:pos x="496" y="261"/>
              </a:cxn>
              <a:cxn ang="0">
                <a:pos x="505" y="266"/>
              </a:cxn>
              <a:cxn ang="0">
                <a:pos x="513" y="270"/>
              </a:cxn>
              <a:cxn ang="0">
                <a:pos x="519" y="278"/>
              </a:cxn>
              <a:cxn ang="0">
                <a:pos x="533" y="303"/>
              </a:cxn>
              <a:cxn ang="0">
                <a:pos x="541" y="331"/>
              </a:cxn>
              <a:cxn ang="0">
                <a:pos x="545" y="358"/>
              </a:cxn>
              <a:cxn ang="0">
                <a:pos x="548" y="368"/>
              </a:cxn>
              <a:cxn ang="0">
                <a:pos x="557" y="381"/>
              </a:cxn>
              <a:cxn ang="0">
                <a:pos x="583" y="415"/>
              </a:cxn>
              <a:cxn ang="0">
                <a:pos x="612" y="447"/>
              </a:cxn>
              <a:cxn ang="0">
                <a:pos x="631" y="463"/>
              </a:cxn>
              <a:cxn ang="0">
                <a:pos x="612" y="481"/>
              </a:cxn>
              <a:cxn ang="0">
                <a:pos x="624" y="496"/>
              </a:cxn>
              <a:cxn ang="0">
                <a:pos x="626" y="507"/>
              </a:cxn>
              <a:cxn ang="0">
                <a:pos x="626" y="516"/>
              </a:cxn>
              <a:cxn ang="0">
                <a:pos x="631" y="531"/>
              </a:cxn>
              <a:cxn ang="0">
                <a:pos x="626" y="539"/>
              </a:cxn>
              <a:cxn ang="0">
                <a:pos x="617" y="548"/>
              </a:cxn>
              <a:cxn ang="0">
                <a:pos x="592" y="569"/>
              </a:cxn>
              <a:cxn ang="0">
                <a:pos x="558" y="592"/>
              </a:cxn>
              <a:cxn ang="0">
                <a:pos x="46" y="174"/>
              </a:cxn>
              <a:cxn ang="0">
                <a:pos x="25" y="157"/>
              </a:cxn>
              <a:cxn ang="0">
                <a:pos x="11" y="138"/>
              </a:cxn>
              <a:cxn ang="0">
                <a:pos x="2" y="117"/>
              </a:cxn>
              <a:cxn ang="0">
                <a:pos x="0" y="93"/>
              </a:cxn>
              <a:cxn ang="0">
                <a:pos x="3" y="89"/>
              </a:cxn>
              <a:cxn ang="0">
                <a:pos x="10" y="83"/>
              </a:cxn>
              <a:cxn ang="0">
                <a:pos x="17" y="77"/>
              </a:cxn>
              <a:cxn ang="0">
                <a:pos x="20" y="69"/>
              </a:cxn>
              <a:cxn ang="0">
                <a:pos x="18" y="53"/>
              </a:cxn>
              <a:cxn ang="0">
                <a:pos x="13" y="42"/>
              </a:cxn>
              <a:cxn ang="0">
                <a:pos x="9" y="34"/>
              </a:cxn>
              <a:cxn ang="0">
                <a:pos x="7" y="26"/>
              </a:cxn>
              <a:cxn ang="0">
                <a:pos x="13" y="0"/>
              </a:cxn>
            </a:cxnLst>
            <a:rect l="0" t="0" r="r" b="b"/>
            <a:pathLst>
              <a:path w="631" h="592">
                <a:moveTo>
                  <a:pt x="13" y="0"/>
                </a:moveTo>
                <a:lnTo>
                  <a:pt x="21" y="2"/>
                </a:lnTo>
                <a:lnTo>
                  <a:pt x="26" y="2"/>
                </a:lnTo>
                <a:lnTo>
                  <a:pt x="32" y="4"/>
                </a:lnTo>
                <a:lnTo>
                  <a:pt x="40" y="7"/>
                </a:lnTo>
                <a:lnTo>
                  <a:pt x="54" y="8"/>
                </a:lnTo>
                <a:lnTo>
                  <a:pt x="67" y="9"/>
                </a:lnTo>
                <a:lnTo>
                  <a:pt x="78" y="11"/>
                </a:lnTo>
                <a:lnTo>
                  <a:pt x="88" y="13"/>
                </a:lnTo>
                <a:lnTo>
                  <a:pt x="104" y="19"/>
                </a:lnTo>
                <a:lnTo>
                  <a:pt x="118" y="26"/>
                </a:lnTo>
                <a:lnTo>
                  <a:pt x="130" y="32"/>
                </a:lnTo>
                <a:lnTo>
                  <a:pt x="141" y="38"/>
                </a:lnTo>
                <a:lnTo>
                  <a:pt x="146" y="40"/>
                </a:lnTo>
                <a:lnTo>
                  <a:pt x="153" y="42"/>
                </a:lnTo>
                <a:lnTo>
                  <a:pt x="159" y="43"/>
                </a:lnTo>
                <a:lnTo>
                  <a:pt x="166" y="44"/>
                </a:lnTo>
                <a:lnTo>
                  <a:pt x="189" y="43"/>
                </a:lnTo>
                <a:lnTo>
                  <a:pt x="210" y="41"/>
                </a:lnTo>
                <a:lnTo>
                  <a:pt x="227" y="37"/>
                </a:lnTo>
                <a:lnTo>
                  <a:pt x="244" y="33"/>
                </a:lnTo>
                <a:lnTo>
                  <a:pt x="277" y="23"/>
                </a:lnTo>
                <a:lnTo>
                  <a:pt x="312" y="14"/>
                </a:lnTo>
                <a:lnTo>
                  <a:pt x="399" y="38"/>
                </a:lnTo>
                <a:lnTo>
                  <a:pt x="400" y="53"/>
                </a:lnTo>
                <a:lnTo>
                  <a:pt x="403" y="69"/>
                </a:lnTo>
                <a:lnTo>
                  <a:pt x="405" y="82"/>
                </a:lnTo>
                <a:lnTo>
                  <a:pt x="410" y="95"/>
                </a:lnTo>
                <a:lnTo>
                  <a:pt x="413" y="107"/>
                </a:lnTo>
                <a:lnTo>
                  <a:pt x="417" y="119"/>
                </a:lnTo>
                <a:lnTo>
                  <a:pt x="423" y="130"/>
                </a:lnTo>
                <a:lnTo>
                  <a:pt x="427" y="140"/>
                </a:lnTo>
                <a:lnTo>
                  <a:pt x="438" y="158"/>
                </a:lnTo>
                <a:lnTo>
                  <a:pt x="450" y="175"/>
                </a:lnTo>
                <a:lnTo>
                  <a:pt x="461" y="190"/>
                </a:lnTo>
                <a:lnTo>
                  <a:pt x="472" y="204"/>
                </a:lnTo>
                <a:lnTo>
                  <a:pt x="478" y="213"/>
                </a:lnTo>
                <a:lnTo>
                  <a:pt x="482" y="222"/>
                </a:lnTo>
                <a:lnTo>
                  <a:pt x="484" y="232"/>
                </a:lnTo>
                <a:lnTo>
                  <a:pt x="485" y="240"/>
                </a:lnTo>
                <a:lnTo>
                  <a:pt x="488" y="248"/>
                </a:lnTo>
                <a:lnTo>
                  <a:pt x="491" y="255"/>
                </a:lnTo>
                <a:lnTo>
                  <a:pt x="494" y="258"/>
                </a:lnTo>
                <a:lnTo>
                  <a:pt x="496" y="261"/>
                </a:lnTo>
                <a:lnTo>
                  <a:pt x="501" y="263"/>
                </a:lnTo>
                <a:lnTo>
                  <a:pt x="505" y="266"/>
                </a:lnTo>
                <a:lnTo>
                  <a:pt x="508" y="267"/>
                </a:lnTo>
                <a:lnTo>
                  <a:pt x="513" y="270"/>
                </a:lnTo>
                <a:lnTo>
                  <a:pt x="516" y="274"/>
                </a:lnTo>
                <a:lnTo>
                  <a:pt x="519" y="278"/>
                </a:lnTo>
                <a:lnTo>
                  <a:pt x="526" y="290"/>
                </a:lnTo>
                <a:lnTo>
                  <a:pt x="533" y="303"/>
                </a:lnTo>
                <a:lnTo>
                  <a:pt x="537" y="317"/>
                </a:lnTo>
                <a:lnTo>
                  <a:pt x="541" y="331"/>
                </a:lnTo>
                <a:lnTo>
                  <a:pt x="544" y="346"/>
                </a:lnTo>
                <a:lnTo>
                  <a:pt x="545" y="358"/>
                </a:lnTo>
                <a:lnTo>
                  <a:pt x="546" y="363"/>
                </a:lnTo>
                <a:lnTo>
                  <a:pt x="548" y="368"/>
                </a:lnTo>
                <a:lnTo>
                  <a:pt x="551" y="374"/>
                </a:lnTo>
                <a:lnTo>
                  <a:pt x="557" y="381"/>
                </a:lnTo>
                <a:lnTo>
                  <a:pt x="569" y="398"/>
                </a:lnTo>
                <a:lnTo>
                  <a:pt x="583" y="415"/>
                </a:lnTo>
                <a:lnTo>
                  <a:pt x="598" y="432"/>
                </a:lnTo>
                <a:lnTo>
                  <a:pt x="612" y="447"/>
                </a:lnTo>
                <a:lnTo>
                  <a:pt x="624" y="458"/>
                </a:lnTo>
                <a:lnTo>
                  <a:pt x="631" y="463"/>
                </a:lnTo>
                <a:lnTo>
                  <a:pt x="622" y="472"/>
                </a:lnTo>
                <a:lnTo>
                  <a:pt x="612" y="481"/>
                </a:lnTo>
                <a:lnTo>
                  <a:pt x="619" y="489"/>
                </a:lnTo>
                <a:lnTo>
                  <a:pt x="624" y="496"/>
                </a:lnTo>
                <a:lnTo>
                  <a:pt x="626" y="501"/>
                </a:lnTo>
                <a:lnTo>
                  <a:pt x="626" y="507"/>
                </a:lnTo>
                <a:lnTo>
                  <a:pt x="626" y="511"/>
                </a:lnTo>
                <a:lnTo>
                  <a:pt x="626" y="516"/>
                </a:lnTo>
                <a:lnTo>
                  <a:pt x="627" y="523"/>
                </a:lnTo>
                <a:lnTo>
                  <a:pt x="631" y="531"/>
                </a:lnTo>
                <a:lnTo>
                  <a:pt x="629" y="535"/>
                </a:lnTo>
                <a:lnTo>
                  <a:pt x="626" y="539"/>
                </a:lnTo>
                <a:lnTo>
                  <a:pt x="622" y="543"/>
                </a:lnTo>
                <a:lnTo>
                  <a:pt x="617" y="548"/>
                </a:lnTo>
                <a:lnTo>
                  <a:pt x="605" y="559"/>
                </a:lnTo>
                <a:lnTo>
                  <a:pt x="592" y="569"/>
                </a:lnTo>
                <a:lnTo>
                  <a:pt x="569" y="585"/>
                </a:lnTo>
                <a:lnTo>
                  <a:pt x="558" y="592"/>
                </a:lnTo>
                <a:lnTo>
                  <a:pt x="53" y="592"/>
                </a:lnTo>
                <a:lnTo>
                  <a:pt x="46" y="174"/>
                </a:lnTo>
                <a:lnTo>
                  <a:pt x="35" y="166"/>
                </a:lnTo>
                <a:lnTo>
                  <a:pt x="25" y="157"/>
                </a:lnTo>
                <a:lnTo>
                  <a:pt x="18" y="148"/>
                </a:lnTo>
                <a:lnTo>
                  <a:pt x="11" y="138"/>
                </a:lnTo>
                <a:lnTo>
                  <a:pt x="6" y="128"/>
                </a:lnTo>
                <a:lnTo>
                  <a:pt x="2" y="117"/>
                </a:lnTo>
                <a:lnTo>
                  <a:pt x="1" y="105"/>
                </a:lnTo>
                <a:lnTo>
                  <a:pt x="0" y="93"/>
                </a:lnTo>
                <a:lnTo>
                  <a:pt x="1" y="91"/>
                </a:lnTo>
                <a:lnTo>
                  <a:pt x="3" y="89"/>
                </a:lnTo>
                <a:lnTo>
                  <a:pt x="7" y="86"/>
                </a:lnTo>
                <a:lnTo>
                  <a:pt x="10" y="83"/>
                </a:lnTo>
                <a:lnTo>
                  <a:pt x="13" y="80"/>
                </a:lnTo>
                <a:lnTo>
                  <a:pt x="17" y="77"/>
                </a:lnTo>
                <a:lnTo>
                  <a:pt x="19" y="73"/>
                </a:lnTo>
                <a:lnTo>
                  <a:pt x="20" y="69"/>
                </a:lnTo>
                <a:lnTo>
                  <a:pt x="20" y="61"/>
                </a:lnTo>
                <a:lnTo>
                  <a:pt x="18" y="53"/>
                </a:lnTo>
                <a:lnTo>
                  <a:pt x="15" y="47"/>
                </a:lnTo>
                <a:lnTo>
                  <a:pt x="13" y="42"/>
                </a:lnTo>
                <a:lnTo>
                  <a:pt x="11" y="38"/>
                </a:lnTo>
                <a:lnTo>
                  <a:pt x="9" y="34"/>
                </a:lnTo>
                <a:lnTo>
                  <a:pt x="7" y="30"/>
                </a:lnTo>
                <a:lnTo>
                  <a:pt x="7" y="26"/>
                </a:lnTo>
                <a:lnTo>
                  <a:pt x="10" y="11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506" name="Freeform 458"/>
          <p:cNvSpPr>
            <a:spLocks/>
          </p:cNvSpPr>
          <p:nvPr>
            <p:custDataLst>
              <p:tags r:id="rId296"/>
            </p:custDataLst>
          </p:nvPr>
        </p:nvSpPr>
        <p:spPr bwMode="auto">
          <a:xfrm>
            <a:off x="4198943" y="1722838"/>
            <a:ext cx="17462" cy="42863"/>
          </a:xfrm>
          <a:custGeom>
            <a:avLst/>
            <a:gdLst/>
            <a:ahLst/>
            <a:cxnLst>
              <a:cxn ang="0">
                <a:pos x="7" y="31"/>
              </a:cxn>
              <a:cxn ang="0">
                <a:pos x="10" y="30"/>
              </a:cxn>
              <a:cxn ang="0">
                <a:pos x="14" y="26"/>
              </a:cxn>
              <a:cxn ang="0">
                <a:pos x="20" y="20"/>
              </a:cxn>
              <a:cxn ang="0">
                <a:pos x="25" y="15"/>
              </a:cxn>
              <a:cxn ang="0">
                <a:pos x="35" y="4"/>
              </a:cxn>
              <a:cxn ang="0">
                <a:pos x="40" y="0"/>
              </a:cxn>
              <a:cxn ang="0">
                <a:pos x="37" y="26"/>
              </a:cxn>
              <a:cxn ang="0">
                <a:pos x="35" y="53"/>
              </a:cxn>
              <a:cxn ang="0">
                <a:pos x="34" y="65"/>
              </a:cxn>
              <a:cxn ang="0">
                <a:pos x="34" y="77"/>
              </a:cxn>
              <a:cxn ang="0">
                <a:pos x="35" y="82"/>
              </a:cxn>
              <a:cxn ang="0">
                <a:pos x="36" y="86"/>
              </a:cxn>
              <a:cxn ang="0">
                <a:pos x="37" y="90"/>
              </a:cxn>
              <a:cxn ang="0">
                <a:pos x="40" y="93"/>
              </a:cxn>
              <a:cxn ang="0">
                <a:pos x="26" y="93"/>
              </a:cxn>
              <a:cxn ang="0">
                <a:pos x="13" y="93"/>
              </a:cxn>
              <a:cxn ang="0">
                <a:pos x="11" y="92"/>
              </a:cxn>
              <a:cxn ang="0">
                <a:pos x="8" y="91"/>
              </a:cxn>
              <a:cxn ang="0">
                <a:pos x="6" y="88"/>
              </a:cxn>
              <a:cxn ang="0">
                <a:pos x="4" y="86"/>
              </a:cxn>
              <a:cxn ang="0">
                <a:pos x="1" y="80"/>
              </a:cxn>
              <a:cxn ang="0">
                <a:pos x="0" y="73"/>
              </a:cxn>
              <a:cxn ang="0">
                <a:pos x="1" y="64"/>
              </a:cxn>
              <a:cxn ang="0">
                <a:pos x="3" y="50"/>
              </a:cxn>
              <a:cxn ang="0">
                <a:pos x="6" y="37"/>
              </a:cxn>
              <a:cxn ang="0">
                <a:pos x="7" y="31"/>
              </a:cxn>
            </a:cxnLst>
            <a:rect l="0" t="0" r="r" b="b"/>
            <a:pathLst>
              <a:path w="40" h="93">
                <a:moveTo>
                  <a:pt x="7" y="31"/>
                </a:moveTo>
                <a:lnTo>
                  <a:pt x="10" y="30"/>
                </a:lnTo>
                <a:lnTo>
                  <a:pt x="14" y="26"/>
                </a:lnTo>
                <a:lnTo>
                  <a:pt x="20" y="20"/>
                </a:lnTo>
                <a:lnTo>
                  <a:pt x="25" y="15"/>
                </a:lnTo>
                <a:lnTo>
                  <a:pt x="35" y="4"/>
                </a:lnTo>
                <a:lnTo>
                  <a:pt x="40" y="0"/>
                </a:lnTo>
                <a:lnTo>
                  <a:pt x="37" y="26"/>
                </a:lnTo>
                <a:lnTo>
                  <a:pt x="35" y="53"/>
                </a:lnTo>
                <a:lnTo>
                  <a:pt x="34" y="65"/>
                </a:lnTo>
                <a:lnTo>
                  <a:pt x="34" y="77"/>
                </a:lnTo>
                <a:lnTo>
                  <a:pt x="35" y="82"/>
                </a:lnTo>
                <a:lnTo>
                  <a:pt x="36" y="86"/>
                </a:lnTo>
                <a:lnTo>
                  <a:pt x="37" y="90"/>
                </a:lnTo>
                <a:lnTo>
                  <a:pt x="40" y="93"/>
                </a:lnTo>
                <a:lnTo>
                  <a:pt x="26" y="93"/>
                </a:lnTo>
                <a:lnTo>
                  <a:pt x="13" y="93"/>
                </a:lnTo>
                <a:lnTo>
                  <a:pt x="11" y="92"/>
                </a:lnTo>
                <a:lnTo>
                  <a:pt x="8" y="91"/>
                </a:lnTo>
                <a:lnTo>
                  <a:pt x="6" y="88"/>
                </a:lnTo>
                <a:lnTo>
                  <a:pt x="4" y="86"/>
                </a:lnTo>
                <a:lnTo>
                  <a:pt x="1" y="80"/>
                </a:lnTo>
                <a:lnTo>
                  <a:pt x="0" y="73"/>
                </a:lnTo>
                <a:lnTo>
                  <a:pt x="1" y="64"/>
                </a:lnTo>
                <a:lnTo>
                  <a:pt x="3" y="50"/>
                </a:lnTo>
                <a:lnTo>
                  <a:pt x="6" y="37"/>
                </a:lnTo>
                <a:lnTo>
                  <a:pt x="7" y="31"/>
                </a:lnTo>
              </a:path>
            </a:pathLst>
          </a:custGeom>
          <a:solidFill>
            <a:srgbClr val="00B0F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507" name="Freeform 459"/>
          <p:cNvSpPr>
            <a:spLocks/>
          </p:cNvSpPr>
          <p:nvPr>
            <p:custDataLst>
              <p:tags r:id="rId297"/>
            </p:custDataLst>
          </p:nvPr>
        </p:nvSpPr>
        <p:spPr bwMode="auto">
          <a:xfrm>
            <a:off x="3838582" y="1535910"/>
            <a:ext cx="295275" cy="204788"/>
          </a:xfrm>
          <a:custGeom>
            <a:avLst/>
            <a:gdLst/>
            <a:ahLst/>
            <a:cxnLst>
              <a:cxn ang="0">
                <a:pos x="149" y="445"/>
              </a:cxn>
              <a:cxn ang="0">
                <a:pos x="151" y="431"/>
              </a:cxn>
              <a:cxn ang="0">
                <a:pos x="146" y="400"/>
              </a:cxn>
              <a:cxn ang="0">
                <a:pos x="151" y="353"/>
              </a:cxn>
              <a:cxn ang="0">
                <a:pos x="146" y="298"/>
              </a:cxn>
              <a:cxn ang="0">
                <a:pos x="134" y="251"/>
              </a:cxn>
              <a:cxn ang="0">
                <a:pos x="109" y="241"/>
              </a:cxn>
              <a:cxn ang="0">
                <a:pos x="20" y="192"/>
              </a:cxn>
              <a:cxn ang="0">
                <a:pos x="24" y="171"/>
              </a:cxn>
              <a:cxn ang="0">
                <a:pos x="36" y="159"/>
              </a:cxn>
              <a:cxn ang="0">
                <a:pos x="48" y="148"/>
              </a:cxn>
              <a:cxn ang="0">
                <a:pos x="100" y="155"/>
              </a:cxn>
              <a:cxn ang="0">
                <a:pos x="125" y="152"/>
              </a:cxn>
              <a:cxn ang="0">
                <a:pos x="147" y="157"/>
              </a:cxn>
              <a:cxn ang="0">
                <a:pos x="165" y="94"/>
              </a:cxn>
              <a:cxn ang="0">
                <a:pos x="185" y="109"/>
              </a:cxn>
              <a:cxn ang="0">
                <a:pos x="207" y="110"/>
              </a:cxn>
              <a:cxn ang="0">
                <a:pos x="236" y="99"/>
              </a:cxn>
              <a:cxn ang="0">
                <a:pos x="264" y="80"/>
              </a:cxn>
              <a:cxn ang="0">
                <a:pos x="289" y="57"/>
              </a:cxn>
              <a:cxn ang="0">
                <a:pos x="308" y="32"/>
              </a:cxn>
              <a:cxn ang="0">
                <a:pos x="318" y="12"/>
              </a:cxn>
              <a:cxn ang="0">
                <a:pos x="370" y="4"/>
              </a:cxn>
              <a:cxn ang="0">
                <a:pos x="404" y="32"/>
              </a:cxn>
              <a:cxn ang="0">
                <a:pos x="457" y="61"/>
              </a:cxn>
              <a:cxn ang="0">
                <a:pos x="511" y="90"/>
              </a:cxn>
              <a:cxn ang="0">
                <a:pos x="552" y="107"/>
              </a:cxn>
              <a:cxn ang="0">
                <a:pos x="578" y="116"/>
              </a:cxn>
              <a:cxn ang="0">
                <a:pos x="623" y="121"/>
              </a:cxn>
              <a:cxn ang="0">
                <a:pos x="658" y="136"/>
              </a:cxn>
              <a:cxn ang="0">
                <a:pos x="645" y="166"/>
              </a:cxn>
              <a:cxn ang="0">
                <a:pos x="620" y="236"/>
              </a:cxn>
              <a:cxn ang="0">
                <a:pos x="598" y="272"/>
              </a:cxn>
              <a:cxn ang="0">
                <a:pos x="585" y="286"/>
              </a:cxn>
              <a:cxn ang="0">
                <a:pos x="599" y="298"/>
              </a:cxn>
              <a:cxn ang="0">
                <a:pos x="618" y="307"/>
              </a:cxn>
              <a:cxn ang="0">
                <a:pos x="623" y="334"/>
              </a:cxn>
              <a:cxn ang="0">
                <a:pos x="620" y="347"/>
              </a:cxn>
              <a:cxn ang="0">
                <a:pos x="618" y="372"/>
              </a:cxn>
              <a:cxn ang="0">
                <a:pos x="622" y="399"/>
              </a:cxn>
              <a:cxn ang="0">
                <a:pos x="632" y="423"/>
              </a:cxn>
              <a:cxn ang="0">
                <a:pos x="608" y="457"/>
              </a:cxn>
              <a:cxn ang="0">
                <a:pos x="569" y="484"/>
              </a:cxn>
              <a:cxn ang="0">
                <a:pos x="542" y="489"/>
              </a:cxn>
              <a:cxn ang="0">
                <a:pos x="509" y="481"/>
              </a:cxn>
              <a:cxn ang="0">
                <a:pos x="477" y="460"/>
              </a:cxn>
              <a:cxn ang="0">
                <a:pos x="463" y="456"/>
              </a:cxn>
              <a:cxn ang="0">
                <a:pos x="443" y="457"/>
              </a:cxn>
              <a:cxn ang="0">
                <a:pos x="423" y="465"/>
              </a:cxn>
              <a:cxn ang="0">
                <a:pos x="406" y="477"/>
              </a:cxn>
              <a:cxn ang="0">
                <a:pos x="388" y="503"/>
              </a:cxn>
              <a:cxn ang="0">
                <a:pos x="385" y="517"/>
              </a:cxn>
              <a:cxn ang="0">
                <a:pos x="333" y="515"/>
              </a:cxn>
              <a:cxn ang="0">
                <a:pos x="317" y="507"/>
              </a:cxn>
              <a:cxn ang="0">
                <a:pos x="307" y="500"/>
              </a:cxn>
              <a:cxn ang="0">
                <a:pos x="296" y="508"/>
              </a:cxn>
              <a:cxn ang="0">
                <a:pos x="287" y="516"/>
              </a:cxn>
              <a:cxn ang="0">
                <a:pos x="268" y="516"/>
              </a:cxn>
              <a:cxn ang="0">
                <a:pos x="227" y="506"/>
              </a:cxn>
              <a:cxn ang="0">
                <a:pos x="185" y="487"/>
              </a:cxn>
              <a:cxn ang="0">
                <a:pos x="160" y="469"/>
              </a:cxn>
              <a:cxn ang="0">
                <a:pos x="146" y="450"/>
              </a:cxn>
            </a:cxnLst>
            <a:rect l="0" t="0" r="r" b="b"/>
            <a:pathLst>
              <a:path w="664" h="518">
                <a:moveTo>
                  <a:pt x="146" y="450"/>
                </a:moveTo>
                <a:lnTo>
                  <a:pt x="148" y="447"/>
                </a:lnTo>
                <a:lnTo>
                  <a:pt x="149" y="445"/>
                </a:lnTo>
                <a:lnTo>
                  <a:pt x="150" y="441"/>
                </a:lnTo>
                <a:lnTo>
                  <a:pt x="151" y="438"/>
                </a:lnTo>
                <a:lnTo>
                  <a:pt x="151" y="431"/>
                </a:lnTo>
                <a:lnTo>
                  <a:pt x="150" y="424"/>
                </a:lnTo>
                <a:lnTo>
                  <a:pt x="147" y="411"/>
                </a:lnTo>
                <a:lnTo>
                  <a:pt x="146" y="400"/>
                </a:lnTo>
                <a:lnTo>
                  <a:pt x="147" y="378"/>
                </a:lnTo>
                <a:lnTo>
                  <a:pt x="149" y="364"/>
                </a:lnTo>
                <a:lnTo>
                  <a:pt x="151" y="353"/>
                </a:lnTo>
                <a:lnTo>
                  <a:pt x="152" y="339"/>
                </a:lnTo>
                <a:lnTo>
                  <a:pt x="150" y="320"/>
                </a:lnTo>
                <a:lnTo>
                  <a:pt x="146" y="298"/>
                </a:lnTo>
                <a:lnTo>
                  <a:pt x="141" y="273"/>
                </a:lnTo>
                <a:lnTo>
                  <a:pt x="139" y="252"/>
                </a:lnTo>
                <a:lnTo>
                  <a:pt x="134" y="251"/>
                </a:lnTo>
                <a:lnTo>
                  <a:pt x="127" y="249"/>
                </a:lnTo>
                <a:lnTo>
                  <a:pt x="119" y="246"/>
                </a:lnTo>
                <a:lnTo>
                  <a:pt x="109" y="241"/>
                </a:lnTo>
                <a:lnTo>
                  <a:pt x="87" y="231"/>
                </a:lnTo>
                <a:lnTo>
                  <a:pt x="64" y="217"/>
                </a:lnTo>
                <a:lnTo>
                  <a:pt x="20" y="192"/>
                </a:lnTo>
                <a:lnTo>
                  <a:pt x="0" y="178"/>
                </a:lnTo>
                <a:lnTo>
                  <a:pt x="19" y="172"/>
                </a:lnTo>
                <a:lnTo>
                  <a:pt x="24" y="171"/>
                </a:lnTo>
                <a:lnTo>
                  <a:pt x="28" y="168"/>
                </a:lnTo>
                <a:lnTo>
                  <a:pt x="31" y="165"/>
                </a:lnTo>
                <a:lnTo>
                  <a:pt x="36" y="159"/>
                </a:lnTo>
                <a:lnTo>
                  <a:pt x="39" y="155"/>
                </a:lnTo>
                <a:lnTo>
                  <a:pt x="44" y="151"/>
                </a:lnTo>
                <a:lnTo>
                  <a:pt x="48" y="148"/>
                </a:lnTo>
                <a:lnTo>
                  <a:pt x="52" y="147"/>
                </a:lnTo>
                <a:lnTo>
                  <a:pt x="92" y="159"/>
                </a:lnTo>
                <a:lnTo>
                  <a:pt x="100" y="155"/>
                </a:lnTo>
                <a:lnTo>
                  <a:pt x="108" y="153"/>
                </a:lnTo>
                <a:lnTo>
                  <a:pt x="116" y="152"/>
                </a:lnTo>
                <a:lnTo>
                  <a:pt x="125" y="152"/>
                </a:lnTo>
                <a:lnTo>
                  <a:pt x="132" y="153"/>
                </a:lnTo>
                <a:lnTo>
                  <a:pt x="140" y="155"/>
                </a:lnTo>
                <a:lnTo>
                  <a:pt x="147" y="157"/>
                </a:lnTo>
                <a:lnTo>
                  <a:pt x="152" y="159"/>
                </a:lnTo>
                <a:lnTo>
                  <a:pt x="152" y="86"/>
                </a:lnTo>
                <a:lnTo>
                  <a:pt x="165" y="94"/>
                </a:lnTo>
                <a:lnTo>
                  <a:pt x="175" y="102"/>
                </a:lnTo>
                <a:lnTo>
                  <a:pt x="181" y="105"/>
                </a:lnTo>
                <a:lnTo>
                  <a:pt x="185" y="109"/>
                </a:lnTo>
                <a:lnTo>
                  <a:pt x="192" y="110"/>
                </a:lnTo>
                <a:lnTo>
                  <a:pt x="198" y="111"/>
                </a:lnTo>
                <a:lnTo>
                  <a:pt x="207" y="110"/>
                </a:lnTo>
                <a:lnTo>
                  <a:pt x="217" y="107"/>
                </a:lnTo>
                <a:lnTo>
                  <a:pt x="226" y="103"/>
                </a:lnTo>
                <a:lnTo>
                  <a:pt x="236" y="99"/>
                </a:lnTo>
                <a:lnTo>
                  <a:pt x="246" y="93"/>
                </a:lnTo>
                <a:lnTo>
                  <a:pt x="255" y="87"/>
                </a:lnTo>
                <a:lnTo>
                  <a:pt x="264" y="80"/>
                </a:lnTo>
                <a:lnTo>
                  <a:pt x="273" y="73"/>
                </a:lnTo>
                <a:lnTo>
                  <a:pt x="282" y="65"/>
                </a:lnTo>
                <a:lnTo>
                  <a:pt x="289" y="57"/>
                </a:lnTo>
                <a:lnTo>
                  <a:pt x="297" y="48"/>
                </a:lnTo>
                <a:lnTo>
                  <a:pt x="303" y="40"/>
                </a:lnTo>
                <a:lnTo>
                  <a:pt x="308" y="32"/>
                </a:lnTo>
                <a:lnTo>
                  <a:pt x="313" y="25"/>
                </a:lnTo>
                <a:lnTo>
                  <a:pt x="316" y="18"/>
                </a:lnTo>
                <a:lnTo>
                  <a:pt x="318" y="12"/>
                </a:lnTo>
                <a:lnTo>
                  <a:pt x="337" y="11"/>
                </a:lnTo>
                <a:lnTo>
                  <a:pt x="354" y="8"/>
                </a:lnTo>
                <a:lnTo>
                  <a:pt x="370" y="4"/>
                </a:lnTo>
                <a:lnTo>
                  <a:pt x="385" y="0"/>
                </a:lnTo>
                <a:lnTo>
                  <a:pt x="385" y="24"/>
                </a:lnTo>
                <a:lnTo>
                  <a:pt x="404" y="32"/>
                </a:lnTo>
                <a:lnTo>
                  <a:pt x="422" y="40"/>
                </a:lnTo>
                <a:lnTo>
                  <a:pt x="440" y="50"/>
                </a:lnTo>
                <a:lnTo>
                  <a:pt x="457" y="61"/>
                </a:lnTo>
                <a:lnTo>
                  <a:pt x="475" y="72"/>
                </a:lnTo>
                <a:lnTo>
                  <a:pt x="493" y="81"/>
                </a:lnTo>
                <a:lnTo>
                  <a:pt x="511" y="90"/>
                </a:lnTo>
                <a:lnTo>
                  <a:pt x="531" y="98"/>
                </a:lnTo>
                <a:lnTo>
                  <a:pt x="538" y="101"/>
                </a:lnTo>
                <a:lnTo>
                  <a:pt x="552" y="107"/>
                </a:lnTo>
                <a:lnTo>
                  <a:pt x="561" y="111"/>
                </a:lnTo>
                <a:lnTo>
                  <a:pt x="569" y="114"/>
                </a:lnTo>
                <a:lnTo>
                  <a:pt x="578" y="116"/>
                </a:lnTo>
                <a:lnTo>
                  <a:pt x="584" y="117"/>
                </a:lnTo>
                <a:lnTo>
                  <a:pt x="604" y="118"/>
                </a:lnTo>
                <a:lnTo>
                  <a:pt x="623" y="121"/>
                </a:lnTo>
                <a:lnTo>
                  <a:pt x="644" y="124"/>
                </a:lnTo>
                <a:lnTo>
                  <a:pt x="664" y="129"/>
                </a:lnTo>
                <a:lnTo>
                  <a:pt x="658" y="136"/>
                </a:lnTo>
                <a:lnTo>
                  <a:pt x="654" y="145"/>
                </a:lnTo>
                <a:lnTo>
                  <a:pt x="650" y="155"/>
                </a:lnTo>
                <a:lnTo>
                  <a:pt x="645" y="166"/>
                </a:lnTo>
                <a:lnTo>
                  <a:pt x="638" y="189"/>
                </a:lnTo>
                <a:lnTo>
                  <a:pt x="629" y="212"/>
                </a:lnTo>
                <a:lnTo>
                  <a:pt x="620" y="236"/>
                </a:lnTo>
                <a:lnTo>
                  <a:pt x="609" y="256"/>
                </a:lnTo>
                <a:lnTo>
                  <a:pt x="604" y="265"/>
                </a:lnTo>
                <a:lnTo>
                  <a:pt x="598" y="272"/>
                </a:lnTo>
                <a:lnTo>
                  <a:pt x="591" y="279"/>
                </a:lnTo>
                <a:lnTo>
                  <a:pt x="584" y="283"/>
                </a:lnTo>
                <a:lnTo>
                  <a:pt x="585" y="286"/>
                </a:lnTo>
                <a:lnTo>
                  <a:pt x="588" y="290"/>
                </a:lnTo>
                <a:lnTo>
                  <a:pt x="593" y="294"/>
                </a:lnTo>
                <a:lnTo>
                  <a:pt x="599" y="298"/>
                </a:lnTo>
                <a:lnTo>
                  <a:pt x="606" y="301"/>
                </a:lnTo>
                <a:lnTo>
                  <a:pt x="612" y="304"/>
                </a:lnTo>
                <a:lnTo>
                  <a:pt x="618" y="307"/>
                </a:lnTo>
                <a:lnTo>
                  <a:pt x="623" y="307"/>
                </a:lnTo>
                <a:lnTo>
                  <a:pt x="623" y="326"/>
                </a:lnTo>
                <a:lnTo>
                  <a:pt x="623" y="334"/>
                </a:lnTo>
                <a:lnTo>
                  <a:pt x="622" y="340"/>
                </a:lnTo>
                <a:lnTo>
                  <a:pt x="622" y="344"/>
                </a:lnTo>
                <a:lnTo>
                  <a:pt x="620" y="347"/>
                </a:lnTo>
                <a:lnTo>
                  <a:pt x="618" y="353"/>
                </a:lnTo>
                <a:lnTo>
                  <a:pt x="617" y="363"/>
                </a:lnTo>
                <a:lnTo>
                  <a:pt x="618" y="372"/>
                </a:lnTo>
                <a:lnTo>
                  <a:pt x="618" y="381"/>
                </a:lnTo>
                <a:lnTo>
                  <a:pt x="620" y="391"/>
                </a:lnTo>
                <a:lnTo>
                  <a:pt x="622" y="399"/>
                </a:lnTo>
                <a:lnTo>
                  <a:pt x="624" y="408"/>
                </a:lnTo>
                <a:lnTo>
                  <a:pt x="629" y="416"/>
                </a:lnTo>
                <a:lnTo>
                  <a:pt x="632" y="423"/>
                </a:lnTo>
                <a:lnTo>
                  <a:pt x="638" y="430"/>
                </a:lnTo>
                <a:lnTo>
                  <a:pt x="622" y="444"/>
                </a:lnTo>
                <a:lnTo>
                  <a:pt x="608" y="457"/>
                </a:lnTo>
                <a:lnTo>
                  <a:pt x="593" y="469"/>
                </a:lnTo>
                <a:lnTo>
                  <a:pt x="577" y="480"/>
                </a:lnTo>
                <a:lnTo>
                  <a:pt x="569" y="484"/>
                </a:lnTo>
                <a:lnTo>
                  <a:pt x="561" y="487"/>
                </a:lnTo>
                <a:lnTo>
                  <a:pt x="551" y="489"/>
                </a:lnTo>
                <a:lnTo>
                  <a:pt x="542" y="489"/>
                </a:lnTo>
                <a:lnTo>
                  <a:pt x="532" y="488"/>
                </a:lnTo>
                <a:lnTo>
                  <a:pt x="521" y="485"/>
                </a:lnTo>
                <a:lnTo>
                  <a:pt x="509" y="481"/>
                </a:lnTo>
                <a:lnTo>
                  <a:pt x="497" y="474"/>
                </a:lnTo>
                <a:lnTo>
                  <a:pt x="487" y="466"/>
                </a:lnTo>
                <a:lnTo>
                  <a:pt x="477" y="460"/>
                </a:lnTo>
                <a:lnTo>
                  <a:pt x="473" y="458"/>
                </a:lnTo>
                <a:lnTo>
                  <a:pt x="467" y="457"/>
                </a:lnTo>
                <a:lnTo>
                  <a:pt x="463" y="456"/>
                </a:lnTo>
                <a:lnTo>
                  <a:pt x="457" y="456"/>
                </a:lnTo>
                <a:lnTo>
                  <a:pt x="450" y="456"/>
                </a:lnTo>
                <a:lnTo>
                  <a:pt x="443" y="457"/>
                </a:lnTo>
                <a:lnTo>
                  <a:pt x="436" y="459"/>
                </a:lnTo>
                <a:lnTo>
                  <a:pt x="429" y="462"/>
                </a:lnTo>
                <a:lnTo>
                  <a:pt x="423" y="465"/>
                </a:lnTo>
                <a:lnTo>
                  <a:pt x="417" y="468"/>
                </a:lnTo>
                <a:lnTo>
                  <a:pt x="411" y="472"/>
                </a:lnTo>
                <a:lnTo>
                  <a:pt x="406" y="477"/>
                </a:lnTo>
                <a:lnTo>
                  <a:pt x="397" y="486"/>
                </a:lnTo>
                <a:lnTo>
                  <a:pt x="390" y="496"/>
                </a:lnTo>
                <a:lnTo>
                  <a:pt x="388" y="503"/>
                </a:lnTo>
                <a:lnTo>
                  <a:pt x="386" y="508"/>
                </a:lnTo>
                <a:lnTo>
                  <a:pt x="385" y="512"/>
                </a:lnTo>
                <a:lnTo>
                  <a:pt x="385" y="517"/>
                </a:lnTo>
                <a:lnTo>
                  <a:pt x="364" y="518"/>
                </a:lnTo>
                <a:lnTo>
                  <a:pt x="343" y="517"/>
                </a:lnTo>
                <a:lnTo>
                  <a:pt x="333" y="515"/>
                </a:lnTo>
                <a:lnTo>
                  <a:pt x="325" y="512"/>
                </a:lnTo>
                <a:lnTo>
                  <a:pt x="321" y="510"/>
                </a:lnTo>
                <a:lnTo>
                  <a:pt x="317" y="507"/>
                </a:lnTo>
                <a:lnTo>
                  <a:pt x="314" y="503"/>
                </a:lnTo>
                <a:lnTo>
                  <a:pt x="311" y="499"/>
                </a:lnTo>
                <a:lnTo>
                  <a:pt x="307" y="500"/>
                </a:lnTo>
                <a:lnTo>
                  <a:pt x="303" y="502"/>
                </a:lnTo>
                <a:lnTo>
                  <a:pt x="299" y="505"/>
                </a:lnTo>
                <a:lnTo>
                  <a:pt x="296" y="508"/>
                </a:lnTo>
                <a:lnTo>
                  <a:pt x="293" y="511"/>
                </a:lnTo>
                <a:lnTo>
                  <a:pt x="289" y="514"/>
                </a:lnTo>
                <a:lnTo>
                  <a:pt x="287" y="516"/>
                </a:lnTo>
                <a:lnTo>
                  <a:pt x="285" y="517"/>
                </a:lnTo>
                <a:lnTo>
                  <a:pt x="277" y="517"/>
                </a:lnTo>
                <a:lnTo>
                  <a:pt x="268" y="516"/>
                </a:lnTo>
                <a:lnTo>
                  <a:pt x="259" y="514"/>
                </a:lnTo>
                <a:lnTo>
                  <a:pt x="248" y="512"/>
                </a:lnTo>
                <a:lnTo>
                  <a:pt x="227" y="506"/>
                </a:lnTo>
                <a:lnTo>
                  <a:pt x="205" y="496"/>
                </a:lnTo>
                <a:lnTo>
                  <a:pt x="195" y="492"/>
                </a:lnTo>
                <a:lnTo>
                  <a:pt x="185" y="487"/>
                </a:lnTo>
                <a:lnTo>
                  <a:pt x="175" y="481"/>
                </a:lnTo>
                <a:lnTo>
                  <a:pt x="168" y="475"/>
                </a:lnTo>
                <a:lnTo>
                  <a:pt x="160" y="469"/>
                </a:lnTo>
                <a:lnTo>
                  <a:pt x="153" y="463"/>
                </a:lnTo>
                <a:lnTo>
                  <a:pt x="149" y="456"/>
                </a:lnTo>
                <a:lnTo>
                  <a:pt x="146" y="450"/>
                </a:lnTo>
              </a:path>
            </a:pathLst>
          </a:custGeom>
          <a:solidFill>
            <a:srgbClr val="007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508" name="Freeform 460"/>
          <p:cNvSpPr>
            <a:spLocks/>
          </p:cNvSpPr>
          <p:nvPr>
            <p:custDataLst>
              <p:tags r:id="rId298"/>
            </p:custDataLst>
          </p:nvPr>
        </p:nvSpPr>
        <p:spPr bwMode="auto">
          <a:xfrm>
            <a:off x="4919663" y="1712124"/>
            <a:ext cx="150812" cy="61913"/>
          </a:xfrm>
          <a:custGeom>
            <a:avLst/>
            <a:gdLst/>
            <a:ahLst/>
            <a:cxnLst>
              <a:cxn ang="0">
                <a:pos x="332" y="91"/>
              </a:cxn>
              <a:cxn ang="0">
                <a:pos x="352" y="153"/>
              </a:cxn>
              <a:cxn ang="0">
                <a:pos x="326" y="141"/>
              </a:cxn>
              <a:cxn ang="0">
                <a:pos x="299" y="129"/>
              </a:cxn>
              <a:cxn ang="0">
                <a:pos x="266" y="141"/>
              </a:cxn>
              <a:cxn ang="0">
                <a:pos x="232" y="141"/>
              </a:cxn>
              <a:cxn ang="0">
                <a:pos x="227" y="135"/>
              </a:cxn>
              <a:cxn ang="0">
                <a:pos x="226" y="135"/>
              </a:cxn>
              <a:cxn ang="0">
                <a:pos x="219" y="129"/>
              </a:cxn>
              <a:cxn ang="0">
                <a:pos x="213" y="125"/>
              </a:cxn>
              <a:cxn ang="0">
                <a:pos x="205" y="121"/>
              </a:cxn>
              <a:cxn ang="0">
                <a:pos x="197" y="118"/>
              </a:cxn>
              <a:cxn ang="0">
                <a:pos x="181" y="113"/>
              </a:cxn>
              <a:cxn ang="0">
                <a:pos x="163" y="110"/>
              </a:cxn>
              <a:cxn ang="0">
                <a:pos x="126" y="107"/>
              </a:cxn>
              <a:cxn ang="0">
                <a:pos x="86" y="104"/>
              </a:cxn>
              <a:cxn ang="0">
                <a:pos x="85" y="94"/>
              </a:cxn>
              <a:cxn ang="0">
                <a:pos x="82" y="84"/>
              </a:cxn>
              <a:cxn ang="0">
                <a:pos x="80" y="75"/>
              </a:cxn>
              <a:cxn ang="0">
                <a:pos x="75" y="67"/>
              </a:cxn>
              <a:cxn ang="0">
                <a:pos x="71" y="59"/>
              </a:cxn>
              <a:cxn ang="0">
                <a:pos x="67" y="52"/>
              </a:cxn>
              <a:cxn ang="0">
                <a:pos x="61" y="44"/>
              </a:cxn>
              <a:cxn ang="0">
                <a:pos x="56" y="37"/>
              </a:cxn>
              <a:cxn ang="0">
                <a:pos x="44" y="26"/>
              </a:cxn>
              <a:cxn ang="0">
                <a:pos x="29" y="16"/>
              </a:cxn>
              <a:cxn ang="0">
                <a:pos x="15" y="7"/>
              </a:cxn>
              <a:cxn ang="0">
                <a:pos x="0" y="0"/>
              </a:cxn>
              <a:cxn ang="0">
                <a:pos x="7" y="0"/>
              </a:cxn>
              <a:cxn ang="0">
                <a:pos x="60" y="18"/>
              </a:cxn>
              <a:cxn ang="0">
                <a:pos x="106" y="30"/>
              </a:cxn>
              <a:cxn ang="0">
                <a:pos x="134" y="18"/>
              </a:cxn>
              <a:cxn ang="0">
                <a:pos x="180" y="36"/>
              </a:cxn>
              <a:cxn ang="0">
                <a:pos x="206" y="55"/>
              </a:cxn>
              <a:cxn ang="0">
                <a:pos x="246" y="49"/>
              </a:cxn>
              <a:cxn ang="0">
                <a:pos x="286" y="61"/>
              </a:cxn>
              <a:cxn ang="0">
                <a:pos x="313" y="79"/>
              </a:cxn>
              <a:cxn ang="0">
                <a:pos x="332" y="91"/>
              </a:cxn>
            </a:cxnLst>
            <a:rect l="0" t="0" r="r" b="b"/>
            <a:pathLst>
              <a:path w="352" h="153">
                <a:moveTo>
                  <a:pt x="332" y="91"/>
                </a:moveTo>
                <a:lnTo>
                  <a:pt x="352" y="153"/>
                </a:lnTo>
                <a:lnTo>
                  <a:pt x="326" y="141"/>
                </a:lnTo>
                <a:lnTo>
                  <a:pt x="299" y="129"/>
                </a:lnTo>
                <a:lnTo>
                  <a:pt x="266" y="141"/>
                </a:lnTo>
                <a:lnTo>
                  <a:pt x="232" y="141"/>
                </a:lnTo>
                <a:lnTo>
                  <a:pt x="227" y="135"/>
                </a:lnTo>
                <a:lnTo>
                  <a:pt x="226" y="135"/>
                </a:lnTo>
                <a:lnTo>
                  <a:pt x="219" y="129"/>
                </a:lnTo>
                <a:lnTo>
                  <a:pt x="213" y="125"/>
                </a:lnTo>
                <a:lnTo>
                  <a:pt x="205" y="121"/>
                </a:lnTo>
                <a:lnTo>
                  <a:pt x="197" y="118"/>
                </a:lnTo>
                <a:lnTo>
                  <a:pt x="181" y="113"/>
                </a:lnTo>
                <a:lnTo>
                  <a:pt x="163" y="110"/>
                </a:lnTo>
                <a:lnTo>
                  <a:pt x="126" y="107"/>
                </a:lnTo>
                <a:lnTo>
                  <a:pt x="86" y="104"/>
                </a:lnTo>
                <a:lnTo>
                  <a:pt x="85" y="94"/>
                </a:lnTo>
                <a:lnTo>
                  <a:pt x="82" y="84"/>
                </a:lnTo>
                <a:lnTo>
                  <a:pt x="80" y="75"/>
                </a:lnTo>
                <a:lnTo>
                  <a:pt x="75" y="67"/>
                </a:lnTo>
                <a:lnTo>
                  <a:pt x="71" y="59"/>
                </a:lnTo>
                <a:lnTo>
                  <a:pt x="67" y="52"/>
                </a:lnTo>
                <a:lnTo>
                  <a:pt x="61" y="44"/>
                </a:lnTo>
                <a:lnTo>
                  <a:pt x="56" y="37"/>
                </a:lnTo>
                <a:lnTo>
                  <a:pt x="44" y="26"/>
                </a:lnTo>
                <a:lnTo>
                  <a:pt x="29" y="16"/>
                </a:lnTo>
                <a:lnTo>
                  <a:pt x="15" y="7"/>
                </a:lnTo>
                <a:lnTo>
                  <a:pt x="0" y="0"/>
                </a:lnTo>
                <a:lnTo>
                  <a:pt x="7" y="0"/>
                </a:lnTo>
                <a:lnTo>
                  <a:pt x="60" y="18"/>
                </a:lnTo>
                <a:lnTo>
                  <a:pt x="106" y="30"/>
                </a:lnTo>
                <a:lnTo>
                  <a:pt x="134" y="18"/>
                </a:lnTo>
                <a:lnTo>
                  <a:pt x="180" y="36"/>
                </a:lnTo>
                <a:lnTo>
                  <a:pt x="206" y="55"/>
                </a:lnTo>
                <a:lnTo>
                  <a:pt x="246" y="49"/>
                </a:lnTo>
                <a:lnTo>
                  <a:pt x="286" y="61"/>
                </a:lnTo>
                <a:lnTo>
                  <a:pt x="313" y="79"/>
                </a:lnTo>
                <a:lnTo>
                  <a:pt x="332" y="9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509" name="Freeform 461"/>
          <p:cNvSpPr>
            <a:spLocks/>
          </p:cNvSpPr>
          <p:nvPr>
            <p:custDataLst>
              <p:tags r:id="rId299"/>
            </p:custDataLst>
          </p:nvPr>
        </p:nvSpPr>
        <p:spPr bwMode="auto">
          <a:xfrm>
            <a:off x="4468818" y="1757367"/>
            <a:ext cx="147637" cy="129779"/>
          </a:xfrm>
          <a:custGeom>
            <a:avLst/>
            <a:gdLst/>
            <a:ahLst/>
            <a:cxnLst>
              <a:cxn ang="0">
                <a:pos x="230" y="40"/>
              </a:cxn>
              <a:cxn ang="0">
                <a:pos x="193" y="56"/>
              </a:cxn>
              <a:cxn ang="0">
                <a:pos x="182" y="67"/>
              </a:cxn>
              <a:cxn ang="0">
                <a:pos x="181" y="81"/>
              </a:cxn>
              <a:cxn ang="0">
                <a:pos x="184" y="94"/>
              </a:cxn>
              <a:cxn ang="0">
                <a:pos x="177" y="102"/>
              </a:cxn>
              <a:cxn ang="0">
                <a:pos x="168" y="105"/>
              </a:cxn>
              <a:cxn ang="0">
                <a:pos x="160" y="98"/>
              </a:cxn>
              <a:cxn ang="0">
                <a:pos x="149" y="85"/>
              </a:cxn>
              <a:cxn ang="0">
                <a:pos x="126" y="74"/>
              </a:cxn>
              <a:cxn ang="0">
                <a:pos x="127" y="96"/>
              </a:cxn>
              <a:cxn ang="0">
                <a:pos x="139" y="116"/>
              </a:cxn>
              <a:cxn ang="0">
                <a:pos x="154" y="129"/>
              </a:cxn>
              <a:cxn ang="0">
                <a:pos x="159" y="130"/>
              </a:cxn>
              <a:cxn ang="0">
                <a:pos x="159" y="177"/>
              </a:cxn>
              <a:cxn ang="0">
                <a:pos x="159" y="237"/>
              </a:cxn>
              <a:cxn ang="0">
                <a:pos x="156" y="251"/>
              </a:cxn>
              <a:cxn ang="0">
                <a:pos x="147" y="259"/>
              </a:cxn>
              <a:cxn ang="0">
                <a:pos x="145" y="264"/>
              </a:cxn>
              <a:cxn ang="0">
                <a:pos x="162" y="276"/>
              </a:cxn>
              <a:cxn ang="0">
                <a:pos x="167" y="286"/>
              </a:cxn>
              <a:cxn ang="0">
                <a:pos x="155" y="295"/>
              </a:cxn>
              <a:cxn ang="0">
                <a:pos x="140" y="297"/>
              </a:cxn>
              <a:cxn ang="0">
                <a:pos x="130" y="307"/>
              </a:cxn>
              <a:cxn ang="0">
                <a:pos x="126" y="321"/>
              </a:cxn>
              <a:cxn ang="0">
                <a:pos x="121" y="300"/>
              </a:cxn>
              <a:cxn ang="0">
                <a:pos x="124" y="288"/>
              </a:cxn>
              <a:cxn ang="0">
                <a:pos x="109" y="286"/>
              </a:cxn>
              <a:cxn ang="0">
                <a:pos x="93" y="292"/>
              </a:cxn>
              <a:cxn ang="0">
                <a:pos x="79" y="296"/>
              </a:cxn>
              <a:cxn ang="0">
                <a:pos x="73" y="242"/>
              </a:cxn>
              <a:cxn ang="0">
                <a:pos x="79" y="216"/>
              </a:cxn>
              <a:cxn ang="0">
                <a:pos x="48" y="211"/>
              </a:cxn>
              <a:cxn ang="0">
                <a:pos x="28" y="198"/>
              </a:cxn>
              <a:cxn ang="0">
                <a:pos x="13" y="173"/>
              </a:cxn>
              <a:cxn ang="0">
                <a:pos x="0" y="130"/>
              </a:cxn>
              <a:cxn ang="0">
                <a:pos x="28" y="111"/>
              </a:cxn>
              <a:cxn ang="0">
                <a:pos x="50" y="81"/>
              </a:cxn>
              <a:cxn ang="0">
                <a:pos x="73" y="55"/>
              </a:cxn>
              <a:cxn ang="0">
                <a:pos x="115" y="41"/>
              </a:cxn>
              <a:cxn ang="0">
                <a:pos x="180" y="14"/>
              </a:cxn>
              <a:cxn ang="0">
                <a:pos x="218" y="7"/>
              </a:cxn>
              <a:cxn ang="0">
                <a:pos x="249" y="14"/>
              </a:cxn>
              <a:cxn ang="0">
                <a:pos x="271" y="27"/>
              </a:cxn>
              <a:cxn ang="0">
                <a:pos x="292" y="30"/>
              </a:cxn>
              <a:cxn ang="0">
                <a:pos x="307" y="20"/>
              </a:cxn>
              <a:cxn ang="0">
                <a:pos x="327" y="6"/>
              </a:cxn>
              <a:cxn ang="0">
                <a:pos x="330" y="32"/>
              </a:cxn>
            </a:cxnLst>
            <a:rect l="0" t="0" r="r" b="b"/>
            <a:pathLst>
              <a:path w="331" h="327">
                <a:moveTo>
                  <a:pt x="331" y="56"/>
                </a:moveTo>
                <a:lnTo>
                  <a:pt x="245" y="37"/>
                </a:lnTo>
                <a:lnTo>
                  <a:pt x="230" y="40"/>
                </a:lnTo>
                <a:lnTo>
                  <a:pt x="216" y="44"/>
                </a:lnTo>
                <a:lnTo>
                  <a:pt x="204" y="50"/>
                </a:lnTo>
                <a:lnTo>
                  <a:pt x="193" y="56"/>
                </a:lnTo>
                <a:lnTo>
                  <a:pt x="189" y="59"/>
                </a:lnTo>
                <a:lnTo>
                  <a:pt x="185" y="63"/>
                </a:lnTo>
                <a:lnTo>
                  <a:pt x="182" y="67"/>
                </a:lnTo>
                <a:lnTo>
                  <a:pt x="181" y="72"/>
                </a:lnTo>
                <a:lnTo>
                  <a:pt x="180" y="77"/>
                </a:lnTo>
                <a:lnTo>
                  <a:pt x="181" y="81"/>
                </a:lnTo>
                <a:lnTo>
                  <a:pt x="182" y="87"/>
                </a:lnTo>
                <a:lnTo>
                  <a:pt x="185" y="92"/>
                </a:lnTo>
                <a:lnTo>
                  <a:pt x="184" y="94"/>
                </a:lnTo>
                <a:lnTo>
                  <a:pt x="181" y="98"/>
                </a:lnTo>
                <a:lnTo>
                  <a:pt x="179" y="101"/>
                </a:lnTo>
                <a:lnTo>
                  <a:pt x="177" y="102"/>
                </a:lnTo>
                <a:lnTo>
                  <a:pt x="174" y="105"/>
                </a:lnTo>
                <a:lnTo>
                  <a:pt x="172" y="105"/>
                </a:lnTo>
                <a:lnTo>
                  <a:pt x="168" y="105"/>
                </a:lnTo>
                <a:lnTo>
                  <a:pt x="165" y="102"/>
                </a:lnTo>
                <a:lnTo>
                  <a:pt x="162" y="100"/>
                </a:lnTo>
                <a:lnTo>
                  <a:pt x="160" y="98"/>
                </a:lnTo>
                <a:lnTo>
                  <a:pt x="159" y="92"/>
                </a:lnTo>
                <a:lnTo>
                  <a:pt x="159" y="86"/>
                </a:lnTo>
                <a:lnTo>
                  <a:pt x="149" y="85"/>
                </a:lnTo>
                <a:lnTo>
                  <a:pt x="139" y="82"/>
                </a:lnTo>
                <a:lnTo>
                  <a:pt x="132" y="79"/>
                </a:lnTo>
                <a:lnTo>
                  <a:pt x="126" y="74"/>
                </a:lnTo>
                <a:lnTo>
                  <a:pt x="126" y="83"/>
                </a:lnTo>
                <a:lnTo>
                  <a:pt x="126" y="92"/>
                </a:lnTo>
                <a:lnTo>
                  <a:pt x="127" y="96"/>
                </a:lnTo>
                <a:lnTo>
                  <a:pt x="129" y="101"/>
                </a:lnTo>
                <a:lnTo>
                  <a:pt x="135" y="109"/>
                </a:lnTo>
                <a:lnTo>
                  <a:pt x="139" y="116"/>
                </a:lnTo>
                <a:lnTo>
                  <a:pt x="146" y="122"/>
                </a:lnTo>
                <a:lnTo>
                  <a:pt x="151" y="127"/>
                </a:lnTo>
                <a:lnTo>
                  <a:pt x="154" y="129"/>
                </a:lnTo>
                <a:lnTo>
                  <a:pt x="156" y="130"/>
                </a:lnTo>
                <a:lnTo>
                  <a:pt x="157" y="130"/>
                </a:lnTo>
                <a:lnTo>
                  <a:pt x="159" y="130"/>
                </a:lnTo>
                <a:lnTo>
                  <a:pt x="159" y="147"/>
                </a:lnTo>
                <a:lnTo>
                  <a:pt x="159" y="163"/>
                </a:lnTo>
                <a:lnTo>
                  <a:pt x="159" y="177"/>
                </a:lnTo>
                <a:lnTo>
                  <a:pt x="159" y="191"/>
                </a:lnTo>
                <a:lnTo>
                  <a:pt x="159" y="213"/>
                </a:lnTo>
                <a:lnTo>
                  <a:pt x="159" y="237"/>
                </a:lnTo>
                <a:lnTo>
                  <a:pt x="158" y="242"/>
                </a:lnTo>
                <a:lnTo>
                  <a:pt x="157" y="247"/>
                </a:lnTo>
                <a:lnTo>
                  <a:pt x="156" y="251"/>
                </a:lnTo>
                <a:lnTo>
                  <a:pt x="154" y="254"/>
                </a:lnTo>
                <a:lnTo>
                  <a:pt x="150" y="257"/>
                </a:lnTo>
                <a:lnTo>
                  <a:pt x="147" y="259"/>
                </a:lnTo>
                <a:lnTo>
                  <a:pt x="144" y="259"/>
                </a:lnTo>
                <a:lnTo>
                  <a:pt x="139" y="259"/>
                </a:lnTo>
                <a:lnTo>
                  <a:pt x="145" y="264"/>
                </a:lnTo>
                <a:lnTo>
                  <a:pt x="154" y="270"/>
                </a:lnTo>
                <a:lnTo>
                  <a:pt x="158" y="274"/>
                </a:lnTo>
                <a:lnTo>
                  <a:pt x="162" y="276"/>
                </a:lnTo>
                <a:lnTo>
                  <a:pt x="167" y="277"/>
                </a:lnTo>
                <a:lnTo>
                  <a:pt x="172" y="278"/>
                </a:lnTo>
                <a:lnTo>
                  <a:pt x="167" y="286"/>
                </a:lnTo>
                <a:lnTo>
                  <a:pt x="161" y="291"/>
                </a:lnTo>
                <a:lnTo>
                  <a:pt x="158" y="293"/>
                </a:lnTo>
                <a:lnTo>
                  <a:pt x="155" y="295"/>
                </a:lnTo>
                <a:lnTo>
                  <a:pt x="150" y="296"/>
                </a:lnTo>
                <a:lnTo>
                  <a:pt x="146" y="296"/>
                </a:lnTo>
                <a:lnTo>
                  <a:pt x="140" y="297"/>
                </a:lnTo>
                <a:lnTo>
                  <a:pt x="137" y="299"/>
                </a:lnTo>
                <a:lnTo>
                  <a:pt x="134" y="302"/>
                </a:lnTo>
                <a:lnTo>
                  <a:pt x="130" y="307"/>
                </a:lnTo>
                <a:lnTo>
                  <a:pt x="128" y="311"/>
                </a:lnTo>
                <a:lnTo>
                  <a:pt x="127" y="316"/>
                </a:lnTo>
                <a:lnTo>
                  <a:pt x="126" y="321"/>
                </a:lnTo>
                <a:lnTo>
                  <a:pt x="126" y="327"/>
                </a:lnTo>
                <a:lnTo>
                  <a:pt x="122" y="311"/>
                </a:lnTo>
                <a:lnTo>
                  <a:pt x="121" y="300"/>
                </a:lnTo>
                <a:lnTo>
                  <a:pt x="121" y="296"/>
                </a:lnTo>
                <a:lnTo>
                  <a:pt x="122" y="292"/>
                </a:lnTo>
                <a:lnTo>
                  <a:pt x="124" y="288"/>
                </a:lnTo>
                <a:lnTo>
                  <a:pt x="126" y="284"/>
                </a:lnTo>
                <a:lnTo>
                  <a:pt x="116" y="284"/>
                </a:lnTo>
                <a:lnTo>
                  <a:pt x="109" y="286"/>
                </a:lnTo>
                <a:lnTo>
                  <a:pt x="103" y="288"/>
                </a:lnTo>
                <a:lnTo>
                  <a:pt x="98" y="290"/>
                </a:lnTo>
                <a:lnTo>
                  <a:pt x="93" y="292"/>
                </a:lnTo>
                <a:lnTo>
                  <a:pt x="89" y="294"/>
                </a:lnTo>
                <a:lnTo>
                  <a:pt x="83" y="295"/>
                </a:lnTo>
                <a:lnTo>
                  <a:pt x="79" y="296"/>
                </a:lnTo>
                <a:lnTo>
                  <a:pt x="78" y="272"/>
                </a:lnTo>
                <a:lnTo>
                  <a:pt x="74" y="251"/>
                </a:lnTo>
                <a:lnTo>
                  <a:pt x="73" y="242"/>
                </a:lnTo>
                <a:lnTo>
                  <a:pt x="73" y="234"/>
                </a:lnTo>
                <a:lnTo>
                  <a:pt x="76" y="225"/>
                </a:lnTo>
                <a:lnTo>
                  <a:pt x="79" y="216"/>
                </a:lnTo>
                <a:lnTo>
                  <a:pt x="68" y="216"/>
                </a:lnTo>
                <a:lnTo>
                  <a:pt x="57" y="213"/>
                </a:lnTo>
                <a:lnTo>
                  <a:pt x="48" y="211"/>
                </a:lnTo>
                <a:lnTo>
                  <a:pt x="40" y="207"/>
                </a:lnTo>
                <a:lnTo>
                  <a:pt x="34" y="203"/>
                </a:lnTo>
                <a:lnTo>
                  <a:pt x="28" y="198"/>
                </a:lnTo>
                <a:lnTo>
                  <a:pt x="23" y="193"/>
                </a:lnTo>
                <a:lnTo>
                  <a:pt x="20" y="187"/>
                </a:lnTo>
                <a:lnTo>
                  <a:pt x="13" y="173"/>
                </a:lnTo>
                <a:lnTo>
                  <a:pt x="9" y="158"/>
                </a:lnTo>
                <a:lnTo>
                  <a:pt x="4" y="144"/>
                </a:lnTo>
                <a:lnTo>
                  <a:pt x="0" y="130"/>
                </a:lnTo>
                <a:lnTo>
                  <a:pt x="10" y="124"/>
                </a:lnTo>
                <a:lnTo>
                  <a:pt x="19" y="118"/>
                </a:lnTo>
                <a:lnTo>
                  <a:pt x="28" y="111"/>
                </a:lnTo>
                <a:lnTo>
                  <a:pt x="37" y="101"/>
                </a:lnTo>
                <a:lnTo>
                  <a:pt x="45" y="92"/>
                </a:lnTo>
                <a:lnTo>
                  <a:pt x="50" y="81"/>
                </a:lnTo>
                <a:lnTo>
                  <a:pt x="56" y="69"/>
                </a:lnTo>
                <a:lnTo>
                  <a:pt x="59" y="56"/>
                </a:lnTo>
                <a:lnTo>
                  <a:pt x="73" y="55"/>
                </a:lnTo>
                <a:lnTo>
                  <a:pt x="88" y="52"/>
                </a:lnTo>
                <a:lnTo>
                  <a:pt x="102" y="47"/>
                </a:lnTo>
                <a:lnTo>
                  <a:pt x="115" y="41"/>
                </a:lnTo>
                <a:lnTo>
                  <a:pt x="140" y="29"/>
                </a:lnTo>
                <a:lnTo>
                  <a:pt x="166" y="19"/>
                </a:lnTo>
                <a:lnTo>
                  <a:pt x="180" y="14"/>
                </a:lnTo>
                <a:lnTo>
                  <a:pt x="192" y="10"/>
                </a:lnTo>
                <a:lnTo>
                  <a:pt x="205" y="8"/>
                </a:lnTo>
                <a:lnTo>
                  <a:pt x="218" y="7"/>
                </a:lnTo>
                <a:lnTo>
                  <a:pt x="230" y="8"/>
                </a:lnTo>
                <a:lnTo>
                  <a:pt x="240" y="10"/>
                </a:lnTo>
                <a:lnTo>
                  <a:pt x="249" y="14"/>
                </a:lnTo>
                <a:lnTo>
                  <a:pt x="257" y="19"/>
                </a:lnTo>
                <a:lnTo>
                  <a:pt x="264" y="23"/>
                </a:lnTo>
                <a:lnTo>
                  <a:pt x="271" y="27"/>
                </a:lnTo>
                <a:lnTo>
                  <a:pt x="278" y="30"/>
                </a:lnTo>
                <a:lnTo>
                  <a:pt x="285" y="31"/>
                </a:lnTo>
                <a:lnTo>
                  <a:pt x="292" y="30"/>
                </a:lnTo>
                <a:lnTo>
                  <a:pt x="297" y="28"/>
                </a:lnTo>
                <a:lnTo>
                  <a:pt x="303" y="24"/>
                </a:lnTo>
                <a:lnTo>
                  <a:pt x="307" y="20"/>
                </a:lnTo>
                <a:lnTo>
                  <a:pt x="316" y="10"/>
                </a:lnTo>
                <a:lnTo>
                  <a:pt x="325" y="0"/>
                </a:lnTo>
                <a:lnTo>
                  <a:pt x="327" y="6"/>
                </a:lnTo>
                <a:lnTo>
                  <a:pt x="329" y="14"/>
                </a:lnTo>
                <a:lnTo>
                  <a:pt x="330" y="23"/>
                </a:lnTo>
                <a:lnTo>
                  <a:pt x="330" y="32"/>
                </a:lnTo>
                <a:lnTo>
                  <a:pt x="331" y="49"/>
                </a:lnTo>
                <a:lnTo>
                  <a:pt x="331" y="56"/>
                </a:lnTo>
              </a:path>
            </a:pathLst>
          </a:custGeom>
          <a:solidFill>
            <a:srgbClr val="007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510" name="Freeform 462"/>
          <p:cNvSpPr>
            <a:spLocks/>
          </p:cNvSpPr>
          <p:nvPr>
            <p:custDataLst>
              <p:tags r:id="rId300"/>
            </p:custDataLst>
          </p:nvPr>
        </p:nvSpPr>
        <p:spPr bwMode="auto">
          <a:xfrm>
            <a:off x="4552950" y="1901433"/>
            <a:ext cx="69850" cy="4286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44" y="2"/>
              </a:cxn>
              <a:cxn ang="0">
                <a:pos x="83" y="6"/>
              </a:cxn>
              <a:cxn ang="0">
                <a:pos x="103" y="8"/>
              </a:cxn>
              <a:cxn ang="0">
                <a:pos x="121" y="7"/>
              </a:cxn>
              <a:cxn ang="0">
                <a:pos x="130" y="6"/>
              </a:cxn>
              <a:cxn ang="0">
                <a:pos x="137" y="5"/>
              </a:cxn>
              <a:cxn ang="0">
                <a:pos x="145" y="3"/>
              </a:cxn>
              <a:cxn ang="0">
                <a:pos x="153" y="0"/>
              </a:cxn>
              <a:cxn ang="0">
                <a:pos x="153" y="9"/>
              </a:cxn>
              <a:cxn ang="0">
                <a:pos x="153" y="25"/>
              </a:cxn>
              <a:cxn ang="0">
                <a:pos x="143" y="31"/>
              </a:cxn>
              <a:cxn ang="0">
                <a:pos x="133" y="36"/>
              </a:cxn>
              <a:cxn ang="0">
                <a:pos x="124" y="40"/>
              </a:cxn>
              <a:cxn ang="0">
                <a:pos x="114" y="44"/>
              </a:cxn>
              <a:cxn ang="0">
                <a:pos x="106" y="46"/>
              </a:cxn>
              <a:cxn ang="0">
                <a:pos x="99" y="48"/>
              </a:cxn>
              <a:cxn ang="0">
                <a:pos x="92" y="49"/>
              </a:cxn>
              <a:cxn ang="0">
                <a:pos x="87" y="49"/>
              </a:cxn>
              <a:cxn ang="0">
                <a:pos x="72" y="48"/>
              </a:cxn>
              <a:cxn ang="0">
                <a:pos x="60" y="46"/>
              </a:cxn>
              <a:cxn ang="0">
                <a:pos x="50" y="43"/>
              </a:cxn>
              <a:cxn ang="0">
                <a:pos x="41" y="38"/>
              </a:cxn>
              <a:cxn ang="0">
                <a:pos x="22" y="29"/>
              </a:cxn>
              <a:cxn ang="0">
                <a:pos x="0" y="19"/>
              </a:cxn>
              <a:cxn ang="0">
                <a:pos x="0" y="0"/>
              </a:cxn>
            </a:cxnLst>
            <a:rect l="0" t="0" r="r" b="b"/>
            <a:pathLst>
              <a:path w="153" h="49">
                <a:moveTo>
                  <a:pt x="0" y="0"/>
                </a:moveTo>
                <a:lnTo>
                  <a:pt x="44" y="2"/>
                </a:lnTo>
                <a:lnTo>
                  <a:pt x="83" y="6"/>
                </a:lnTo>
                <a:lnTo>
                  <a:pt x="103" y="8"/>
                </a:lnTo>
                <a:lnTo>
                  <a:pt x="121" y="7"/>
                </a:lnTo>
                <a:lnTo>
                  <a:pt x="130" y="6"/>
                </a:lnTo>
                <a:lnTo>
                  <a:pt x="137" y="5"/>
                </a:lnTo>
                <a:lnTo>
                  <a:pt x="145" y="3"/>
                </a:lnTo>
                <a:lnTo>
                  <a:pt x="153" y="0"/>
                </a:lnTo>
                <a:lnTo>
                  <a:pt x="153" y="9"/>
                </a:lnTo>
                <a:lnTo>
                  <a:pt x="153" y="25"/>
                </a:lnTo>
                <a:lnTo>
                  <a:pt x="143" y="31"/>
                </a:lnTo>
                <a:lnTo>
                  <a:pt x="133" y="36"/>
                </a:lnTo>
                <a:lnTo>
                  <a:pt x="124" y="40"/>
                </a:lnTo>
                <a:lnTo>
                  <a:pt x="114" y="44"/>
                </a:lnTo>
                <a:lnTo>
                  <a:pt x="106" y="46"/>
                </a:lnTo>
                <a:lnTo>
                  <a:pt x="99" y="48"/>
                </a:lnTo>
                <a:lnTo>
                  <a:pt x="92" y="49"/>
                </a:lnTo>
                <a:lnTo>
                  <a:pt x="87" y="49"/>
                </a:lnTo>
                <a:lnTo>
                  <a:pt x="72" y="48"/>
                </a:lnTo>
                <a:lnTo>
                  <a:pt x="60" y="46"/>
                </a:lnTo>
                <a:lnTo>
                  <a:pt x="50" y="43"/>
                </a:lnTo>
                <a:lnTo>
                  <a:pt x="41" y="38"/>
                </a:lnTo>
                <a:lnTo>
                  <a:pt x="22" y="29"/>
                </a:lnTo>
                <a:lnTo>
                  <a:pt x="0" y="19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511" name="Freeform 463"/>
          <p:cNvSpPr>
            <a:spLocks/>
          </p:cNvSpPr>
          <p:nvPr>
            <p:custDataLst>
              <p:tags r:id="rId301"/>
            </p:custDataLst>
          </p:nvPr>
        </p:nvSpPr>
        <p:spPr bwMode="auto">
          <a:xfrm>
            <a:off x="3632207" y="2450311"/>
            <a:ext cx="187325" cy="119063"/>
          </a:xfrm>
          <a:custGeom>
            <a:avLst/>
            <a:gdLst/>
            <a:ahLst/>
            <a:cxnLst>
              <a:cxn ang="0">
                <a:pos x="194" y="16"/>
              </a:cxn>
              <a:cxn ang="0">
                <a:pos x="216" y="22"/>
              </a:cxn>
              <a:cxn ang="0">
                <a:pos x="230" y="29"/>
              </a:cxn>
              <a:cxn ang="0">
                <a:pos x="253" y="35"/>
              </a:cxn>
              <a:cxn ang="0">
                <a:pos x="279" y="37"/>
              </a:cxn>
              <a:cxn ang="0">
                <a:pos x="300" y="37"/>
              </a:cxn>
              <a:cxn ang="0">
                <a:pos x="319" y="34"/>
              </a:cxn>
              <a:cxn ang="0">
                <a:pos x="329" y="29"/>
              </a:cxn>
              <a:cxn ang="0">
                <a:pos x="365" y="25"/>
              </a:cxn>
              <a:cxn ang="0">
                <a:pos x="372" y="49"/>
              </a:cxn>
              <a:cxn ang="0">
                <a:pos x="383" y="74"/>
              </a:cxn>
              <a:cxn ang="0">
                <a:pos x="391" y="84"/>
              </a:cxn>
              <a:cxn ang="0">
                <a:pos x="400" y="92"/>
              </a:cxn>
              <a:cxn ang="0">
                <a:pos x="412" y="97"/>
              </a:cxn>
              <a:cxn ang="0">
                <a:pos x="425" y="99"/>
              </a:cxn>
              <a:cxn ang="0">
                <a:pos x="425" y="120"/>
              </a:cxn>
              <a:cxn ang="0">
                <a:pos x="425" y="142"/>
              </a:cxn>
              <a:cxn ang="0">
                <a:pos x="416" y="158"/>
              </a:cxn>
              <a:cxn ang="0">
                <a:pos x="412" y="170"/>
              </a:cxn>
              <a:cxn ang="0">
                <a:pos x="412" y="181"/>
              </a:cxn>
              <a:cxn ang="0">
                <a:pos x="415" y="190"/>
              </a:cxn>
              <a:cxn ang="0">
                <a:pos x="423" y="211"/>
              </a:cxn>
              <a:cxn ang="0">
                <a:pos x="426" y="226"/>
              </a:cxn>
              <a:cxn ang="0">
                <a:pos x="425" y="247"/>
              </a:cxn>
              <a:cxn ang="0">
                <a:pos x="426" y="274"/>
              </a:cxn>
              <a:cxn ang="0">
                <a:pos x="423" y="285"/>
              </a:cxn>
              <a:cxn ang="0">
                <a:pos x="412" y="296"/>
              </a:cxn>
              <a:cxn ang="0">
                <a:pos x="380" y="298"/>
              </a:cxn>
              <a:cxn ang="0">
                <a:pos x="370" y="299"/>
              </a:cxn>
              <a:cxn ang="0">
                <a:pos x="360" y="296"/>
              </a:cxn>
              <a:cxn ang="0">
                <a:pos x="351" y="290"/>
              </a:cxn>
              <a:cxn ang="0">
                <a:pos x="338" y="278"/>
              </a:cxn>
              <a:cxn ang="0">
                <a:pos x="324" y="261"/>
              </a:cxn>
              <a:cxn ang="0">
                <a:pos x="311" y="253"/>
              </a:cxn>
              <a:cxn ang="0">
                <a:pos x="294" y="251"/>
              </a:cxn>
              <a:cxn ang="0">
                <a:pos x="278" y="232"/>
              </a:cxn>
              <a:cxn ang="0">
                <a:pos x="274" y="210"/>
              </a:cxn>
              <a:cxn ang="0">
                <a:pos x="269" y="197"/>
              </a:cxn>
              <a:cxn ang="0">
                <a:pos x="261" y="184"/>
              </a:cxn>
              <a:cxn ang="0">
                <a:pos x="251" y="173"/>
              </a:cxn>
              <a:cxn ang="0">
                <a:pos x="238" y="165"/>
              </a:cxn>
              <a:cxn ang="0">
                <a:pos x="222" y="161"/>
              </a:cxn>
              <a:cxn ang="0">
                <a:pos x="204" y="161"/>
              </a:cxn>
              <a:cxn ang="0">
                <a:pos x="188" y="163"/>
              </a:cxn>
              <a:cxn ang="0">
                <a:pos x="173" y="168"/>
              </a:cxn>
              <a:cxn ang="0">
                <a:pos x="160" y="176"/>
              </a:cxn>
              <a:cxn ang="0">
                <a:pos x="141" y="191"/>
              </a:cxn>
              <a:cxn ang="0">
                <a:pos x="118" y="215"/>
              </a:cxn>
              <a:cxn ang="0">
                <a:pos x="105" y="218"/>
              </a:cxn>
              <a:cxn ang="0">
                <a:pos x="100" y="201"/>
              </a:cxn>
              <a:cxn ang="0">
                <a:pos x="90" y="186"/>
              </a:cxn>
              <a:cxn ang="0">
                <a:pos x="76" y="171"/>
              </a:cxn>
              <a:cxn ang="0">
                <a:pos x="50" y="153"/>
              </a:cxn>
              <a:cxn ang="0">
                <a:pos x="24" y="134"/>
              </a:cxn>
              <a:cxn ang="0">
                <a:pos x="8" y="119"/>
              </a:cxn>
              <a:cxn ang="0">
                <a:pos x="15" y="101"/>
              </a:cxn>
              <a:cxn ang="0">
                <a:pos x="46" y="77"/>
              </a:cxn>
              <a:cxn ang="0">
                <a:pos x="75" y="48"/>
              </a:cxn>
              <a:cxn ang="0">
                <a:pos x="98" y="17"/>
              </a:cxn>
              <a:cxn ang="0">
                <a:pos x="179" y="13"/>
              </a:cxn>
            </a:cxnLst>
            <a:rect l="0" t="0" r="r" b="b"/>
            <a:pathLst>
              <a:path w="426" h="299">
                <a:moveTo>
                  <a:pt x="179" y="13"/>
                </a:moveTo>
                <a:lnTo>
                  <a:pt x="194" y="16"/>
                </a:lnTo>
                <a:lnTo>
                  <a:pt x="207" y="19"/>
                </a:lnTo>
                <a:lnTo>
                  <a:pt x="216" y="22"/>
                </a:lnTo>
                <a:lnTo>
                  <a:pt x="223" y="24"/>
                </a:lnTo>
                <a:lnTo>
                  <a:pt x="230" y="29"/>
                </a:lnTo>
                <a:lnTo>
                  <a:pt x="233" y="31"/>
                </a:lnTo>
                <a:lnTo>
                  <a:pt x="253" y="35"/>
                </a:lnTo>
                <a:lnTo>
                  <a:pt x="269" y="37"/>
                </a:lnTo>
                <a:lnTo>
                  <a:pt x="279" y="37"/>
                </a:lnTo>
                <a:lnTo>
                  <a:pt x="285" y="37"/>
                </a:lnTo>
                <a:lnTo>
                  <a:pt x="300" y="37"/>
                </a:lnTo>
                <a:lnTo>
                  <a:pt x="314" y="36"/>
                </a:lnTo>
                <a:lnTo>
                  <a:pt x="319" y="34"/>
                </a:lnTo>
                <a:lnTo>
                  <a:pt x="325" y="32"/>
                </a:lnTo>
                <a:lnTo>
                  <a:pt x="329" y="29"/>
                </a:lnTo>
                <a:lnTo>
                  <a:pt x="331" y="25"/>
                </a:lnTo>
                <a:lnTo>
                  <a:pt x="365" y="25"/>
                </a:lnTo>
                <a:lnTo>
                  <a:pt x="368" y="37"/>
                </a:lnTo>
                <a:lnTo>
                  <a:pt x="372" y="49"/>
                </a:lnTo>
                <a:lnTo>
                  <a:pt x="376" y="62"/>
                </a:lnTo>
                <a:lnTo>
                  <a:pt x="383" y="74"/>
                </a:lnTo>
                <a:lnTo>
                  <a:pt x="386" y="79"/>
                </a:lnTo>
                <a:lnTo>
                  <a:pt x="391" y="84"/>
                </a:lnTo>
                <a:lnTo>
                  <a:pt x="395" y="88"/>
                </a:lnTo>
                <a:lnTo>
                  <a:pt x="400" y="92"/>
                </a:lnTo>
                <a:lnTo>
                  <a:pt x="405" y="95"/>
                </a:lnTo>
                <a:lnTo>
                  <a:pt x="412" y="97"/>
                </a:lnTo>
                <a:lnTo>
                  <a:pt x="418" y="98"/>
                </a:lnTo>
                <a:lnTo>
                  <a:pt x="425" y="99"/>
                </a:lnTo>
                <a:lnTo>
                  <a:pt x="425" y="111"/>
                </a:lnTo>
                <a:lnTo>
                  <a:pt x="425" y="120"/>
                </a:lnTo>
                <a:lnTo>
                  <a:pt x="425" y="130"/>
                </a:lnTo>
                <a:lnTo>
                  <a:pt x="425" y="142"/>
                </a:lnTo>
                <a:lnTo>
                  <a:pt x="419" y="151"/>
                </a:lnTo>
                <a:lnTo>
                  <a:pt x="416" y="158"/>
                </a:lnTo>
                <a:lnTo>
                  <a:pt x="413" y="164"/>
                </a:lnTo>
                <a:lnTo>
                  <a:pt x="412" y="170"/>
                </a:lnTo>
                <a:lnTo>
                  <a:pt x="412" y="175"/>
                </a:lnTo>
                <a:lnTo>
                  <a:pt x="412" y="181"/>
                </a:lnTo>
                <a:lnTo>
                  <a:pt x="414" y="186"/>
                </a:lnTo>
                <a:lnTo>
                  <a:pt x="415" y="190"/>
                </a:lnTo>
                <a:lnTo>
                  <a:pt x="419" y="200"/>
                </a:lnTo>
                <a:lnTo>
                  <a:pt x="423" y="211"/>
                </a:lnTo>
                <a:lnTo>
                  <a:pt x="425" y="218"/>
                </a:lnTo>
                <a:lnTo>
                  <a:pt x="426" y="226"/>
                </a:lnTo>
                <a:lnTo>
                  <a:pt x="426" y="236"/>
                </a:lnTo>
                <a:lnTo>
                  <a:pt x="425" y="247"/>
                </a:lnTo>
                <a:lnTo>
                  <a:pt x="426" y="261"/>
                </a:lnTo>
                <a:lnTo>
                  <a:pt x="426" y="274"/>
                </a:lnTo>
                <a:lnTo>
                  <a:pt x="425" y="280"/>
                </a:lnTo>
                <a:lnTo>
                  <a:pt x="423" y="285"/>
                </a:lnTo>
                <a:lnTo>
                  <a:pt x="418" y="292"/>
                </a:lnTo>
                <a:lnTo>
                  <a:pt x="412" y="296"/>
                </a:lnTo>
                <a:lnTo>
                  <a:pt x="385" y="296"/>
                </a:lnTo>
                <a:lnTo>
                  <a:pt x="380" y="298"/>
                </a:lnTo>
                <a:lnTo>
                  <a:pt x="375" y="299"/>
                </a:lnTo>
                <a:lnTo>
                  <a:pt x="370" y="299"/>
                </a:lnTo>
                <a:lnTo>
                  <a:pt x="365" y="297"/>
                </a:lnTo>
                <a:lnTo>
                  <a:pt x="360" y="296"/>
                </a:lnTo>
                <a:lnTo>
                  <a:pt x="356" y="293"/>
                </a:lnTo>
                <a:lnTo>
                  <a:pt x="351" y="290"/>
                </a:lnTo>
                <a:lnTo>
                  <a:pt x="347" y="286"/>
                </a:lnTo>
                <a:lnTo>
                  <a:pt x="338" y="278"/>
                </a:lnTo>
                <a:lnTo>
                  <a:pt x="330" y="269"/>
                </a:lnTo>
                <a:lnTo>
                  <a:pt x="324" y="261"/>
                </a:lnTo>
                <a:lnTo>
                  <a:pt x="318" y="253"/>
                </a:lnTo>
                <a:lnTo>
                  <a:pt x="311" y="253"/>
                </a:lnTo>
                <a:lnTo>
                  <a:pt x="304" y="252"/>
                </a:lnTo>
                <a:lnTo>
                  <a:pt x="294" y="251"/>
                </a:lnTo>
                <a:lnTo>
                  <a:pt x="279" y="247"/>
                </a:lnTo>
                <a:lnTo>
                  <a:pt x="278" y="232"/>
                </a:lnTo>
                <a:lnTo>
                  <a:pt x="275" y="217"/>
                </a:lnTo>
                <a:lnTo>
                  <a:pt x="274" y="210"/>
                </a:lnTo>
                <a:lnTo>
                  <a:pt x="272" y="203"/>
                </a:lnTo>
                <a:lnTo>
                  <a:pt x="269" y="197"/>
                </a:lnTo>
                <a:lnTo>
                  <a:pt x="266" y="190"/>
                </a:lnTo>
                <a:lnTo>
                  <a:pt x="261" y="184"/>
                </a:lnTo>
                <a:lnTo>
                  <a:pt x="257" y="179"/>
                </a:lnTo>
                <a:lnTo>
                  <a:pt x="251" y="173"/>
                </a:lnTo>
                <a:lnTo>
                  <a:pt x="245" y="168"/>
                </a:lnTo>
                <a:lnTo>
                  <a:pt x="238" y="165"/>
                </a:lnTo>
                <a:lnTo>
                  <a:pt x="230" y="162"/>
                </a:lnTo>
                <a:lnTo>
                  <a:pt x="222" y="161"/>
                </a:lnTo>
                <a:lnTo>
                  <a:pt x="213" y="160"/>
                </a:lnTo>
                <a:lnTo>
                  <a:pt x="204" y="161"/>
                </a:lnTo>
                <a:lnTo>
                  <a:pt x="195" y="162"/>
                </a:lnTo>
                <a:lnTo>
                  <a:pt x="188" y="163"/>
                </a:lnTo>
                <a:lnTo>
                  <a:pt x="181" y="166"/>
                </a:lnTo>
                <a:lnTo>
                  <a:pt x="173" y="168"/>
                </a:lnTo>
                <a:lnTo>
                  <a:pt x="167" y="172"/>
                </a:lnTo>
                <a:lnTo>
                  <a:pt x="160" y="176"/>
                </a:lnTo>
                <a:lnTo>
                  <a:pt x="155" y="181"/>
                </a:lnTo>
                <a:lnTo>
                  <a:pt x="141" y="191"/>
                </a:lnTo>
                <a:lnTo>
                  <a:pt x="131" y="202"/>
                </a:lnTo>
                <a:lnTo>
                  <a:pt x="118" y="215"/>
                </a:lnTo>
                <a:lnTo>
                  <a:pt x="106" y="228"/>
                </a:lnTo>
                <a:lnTo>
                  <a:pt x="105" y="218"/>
                </a:lnTo>
                <a:lnTo>
                  <a:pt x="103" y="209"/>
                </a:lnTo>
                <a:lnTo>
                  <a:pt x="100" y="201"/>
                </a:lnTo>
                <a:lnTo>
                  <a:pt x="95" y="193"/>
                </a:lnTo>
                <a:lnTo>
                  <a:pt x="90" y="186"/>
                </a:lnTo>
                <a:lnTo>
                  <a:pt x="83" y="179"/>
                </a:lnTo>
                <a:lnTo>
                  <a:pt x="76" y="171"/>
                </a:lnTo>
                <a:lnTo>
                  <a:pt x="68" y="165"/>
                </a:lnTo>
                <a:lnTo>
                  <a:pt x="50" y="153"/>
                </a:lnTo>
                <a:lnTo>
                  <a:pt x="33" y="140"/>
                </a:lnTo>
                <a:lnTo>
                  <a:pt x="24" y="134"/>
                </a:lnTo>
                <a:lnTo>
                  <a:pt x="15" y="127"/>
                </a:lnTo>
                <a:lnTo>
                  <a:pt x="8" y="119"/>
                </a:lnTo>
                <a:lnTo>
                  <a:pt x="0" y="111"/>
                </a:lnTo>
                <a:lnTo>
                  <a:pt x="15" y="101"/>
                </a:lnTo>
                <a:lnTo>
                  <a:pt x="31" y="90"/>
                </a:lnTo>
                <a:lnTo>
                  <a:pt x="46" y="77"/>
                </a:lnTo>
                <a:lnTo>
                  <a:pt x="60" y="62"/>
                </a:lnTo>
                <a:lnTo>
                  <a:pt x="75" y="48"/>
                </a:lnTo>
                <a:lnTo>
                  <a:pt x="87" y="33"/>
                </a:lnTo>
                <a:lnTo>
                  <a:pt x="98" y="17"/>
                </a:lnTo>
                <a:lnTo>
                  <a:pt x="106" y="0"/>
                </a:lnTo>
                <a:lnTo>
                  <a:pt x="179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512" name="Freeform 464"/>
          <p:cNvSpPr>
            <a:spLocks/>
          </p:cNvSpPr>
          <p:nvPr>
            <p:custDataLst>
              <p:tags r:id="rId302"/>
            </p:custDataLst>
          </p:nvPr>
        </p:nvSpPr>
        <p:spPr bwMode="auto">
          <a:xfrm>
            <a:off x="5676900" y="1897865"/>
            <a:ext cx="692150" cy="656035"/>
          </a:xfrm>
          <a:custGeom>
            <a:avLst/>
            <a:gdLst/>
            <a:ahLst/>
            <a:cxnLst>
              <a:cxn ang="0">
                <a:pos x="477" y="107"/>
              </a:cxn>
              <a:cxn ang="0">
                <a:pos x="485" y="185"/>
              </a:cxn>
              <a:cxn ang="0">
                <a:pos x="578" y="287"/>
              </a:cxn>
              <a:cxn ang="0">
                <a:pos x="701" y="459"/>
              </a:cxn>
              <a:cxn ang="0">
                <a:pos x="795" y="499"/>
              </a:cxn>
              <a:cxn ang="0">
                <a:pos x="877" y="493"/>
              </a:cxn>
              <a:cxn ang="0">
                <a:pos x="930" y="537"/>
              </a:cxn>
              <a:cxn ang="0">
                <a:pos x="1102" y="567"/>
              </a:cxn>
              <a:cxn ang="0">
                <a:pos x="1121" y="461"/>
              </a:cxn>
              <a:cxn ang="0">
                <a:pos x="1179" y="539"/>
              </a:cxn>
              <a:cxn ang="0">
                <a:pos x="1243" y="561"/>
              </a:cxn>
              <a:cxn ang="0">
                <a:pos x="1299" y="498"/>
              </a:cxn>
              <a:cxn ang="0">
                <a:pos x="1404" y="409"/>
              </a:cxn>
              <a:cxn ang="0">
                <a:pos x="1549" y="428"/>
              </a:cxn>
              <a:cxn ang="0">
                <a:pos x="1579" y="498"/>
              </a:cxn>
              <a:cxn ang="0">
                <a:pos x="1504" y="542"/>
              </a:cxn>
              <a:cxn ang="0">
                <a:pos x="1485" y="679"/>
              </a:cxn>
              <a:cxn ang="0">
                <a:pos x="1429" y="704"/>
              </a:cxn>
              <a:cxn ang="0">
                <a:pos x="1408" y="814"/>
              </a:cxn>
              <a:cxn ang="0">
                <a:pos x="1321" y="754"/>
              </a:cxn>
              <a:cxn ang="0">
                <a:pos x="1323" y="698"/>
              </a:cxn>
              <a:cxn ang="0">
                <a:pos x="1225" y="638"/>
              </a:cxn>
              <a:cxn ang="0">
                <a:pos x="1187" y="588"/>
              </a:cxn>
              <a:cxn ang="0">
                <a:pos x="1131" y="575"/>
              </a:cxn>
              <a:cxn ang="0">
                <a:pos x="1127" y="625"/>
              </a:cxn>
              <a:cxn ang="0">
                <a:pos x="1117" y="683"/>
              </a:cxn>
              <a:cxn ang="0">
                <a:pos x="1160" y="735"/>
              </a:cxn>
              <a:cxn ang="0">
                <a:pos x="1149" y="843"/>
              </a:cxn>
              <a:cxn ang="0">
                <a:pos x="1075" y="864"/>
              </a:cxn>
              <a:cxn ang="0">
                <a:pos x="1049" y="937"/>
              </a:cxn>
              <a:cxn ang="0">
                <a:pos x="954" y="1001"/>
              </a:cxn>
              <a:cxn ang="0">
                <a:pos x="912" y="1050"/>
              </a:cxn>
              <a:cxn ang="0">
                <a:pos x="780" y="1188"/>
              </a:cxn>
              <a:cxn ang="0">
                <a:pos x="723" y="1233"/>
              </a:cxn>
              <a:cxn ang="0">
                <a:pos x="744" y="1344"/>
              </a:cxn>
              <a:cxn ang="0">
                <a:pos x="712" y="1445"/>
              </a:cxn>
              <a:cxn ang="0">
                <a:pos x="722" y="1524"/>
              </a:cxn>
              <a:cxn ang="0">
                <a:pos x="693" y="1576"/>
              </a:cxn>
              <a:cxn ang="0">
                <a:pos x="595" y="1663"/>
              </a:cxn>
              <a:cxn ang="0">
                <a:pos x="516" y="1529"/>
              </a:cxn>
              <a:cxn ang="0">
                <a:pos x="419" y="1334"/>
              </a:cxn>
              <a:cxn ang="0">
                <a:pos x="301" y="1114"/>
              </a:cxn>
              <a:cxn ang="0">
                <a:pos x="259" y="861"/>
              </a:cxn>
              <a:cxn ang="0">
                <a:pos x="230" y="814"/>
              </a:cxn>
              <a:cxn ang="0">
                <a:pos x="164" y="900"/>
              </a:cxn>
              <a:cxn ang="0">
                <a:pos x="90" y="876"/>
              </a:cxn>
              <a:cxn ang="0">
                <a:pos x="51" y="798"/>
              </a:cxn>
              <a:cxn ang="0">
                <a:pos x="30" y="771"/>
              </a:cxn>
              <a:cxn ang="0">
                <a:pos x="32" y="708"/>
              </a:cxn>
              <a:cxn ang="0">
                <a:pos x="159" y="659"/>
              </a:cxn>
              <a:cxn ang="0">
                <a:pos x="92" y="569"/>
              </a:cxn>
              <a:cxn ang="0">
                <a:pos x="59" y="500"/>
              </a:cxn>
              <a:cxn ang="0">
                <a:pos x="162" y="459"/>
              </a:cxn>
              <a:cxn ang="0">
                <a:pos x="270" y="294"/>
              </a:cxn>
              <a:cxn ang="0">
                <a:pos x="274" y="230"/>
              </a:cxn>
              <a:cxn ang="0">
                <a:pos x="227" y="142"/>
              </a:cxn>
              <a:cxn ang="0">
                <a:pos x="322" y="54"/>
              </a:cxn>
            </a:cxnLst>
            <a:rect l="0" t="0" r="r" b="b"/>
            <a:pathLst>
              <a:path w="1594" h="1670">
                <a:moveTo>
                  <a:pt x="385" y="0"/>
                </a:moveTo>
                <a:lnTo>
                  <a:pt x="400" y="16"/>
                </a:lnTo>
                <a:lnTo>
                  <a:pt x="415" y="33"/>
                </a:lnTo>
                <a:lnTo>
                  <a:pt x="427" y="48"/>
                </a:lnTo>
                <a:lnTo>
                  <a:pt x="437" y="63"/>
                </a:lnTo>
                <a:lnTo>
                  <a:pt x="448" y="76"/>
                </a:lnTo>
                <a:lnTo>
                  <a:pt x="459" y="90"/>
                </a:lnTo>
                <a:lnTo>
                  <a:pt x="464" y="96"/>
                </a:lnTo>
                <a:lnTo>
                  <a:pt x="471" y="101"/>
                </a:lnTo>
                <a:lnTo>
                  <a:pt x="477" y="107"/>
                </a:lnTo>
                <a:lnTo>
                  <a:pt x="485" y="111"/>
                </a:lnTo>
                <a:lnTo>
                  <a:pt x="492" y="118"/>
                </a:lnTo>
                <a:lnTo>
                  <a:pt x="499" y="126"/>
                </a:lnTo>
                <a:lnTo>
                  <a:pt x="506" y="134"/>
                </a:lnTo>
                <a:lnTo>
                  <a:pt x="512" y="144"/>
                </a:lnTo>
                <a:lnTo>
                  <a:pt x="519" y="153"/>
                </a:lnTo>
                <a:lnTo>
                  <a:pt x="523" y="163"/>
                </a:lnTo>
                <a:lnTo>
                  <a:pt x="528" y="174"/>
                </a:lnTo>
                <a:lnTo>
                  <a:pt x="531" y="185"/>
                </a:lnTo>
                <a:lnTo>
                  <a:pt x="485" y="185"/>
                </a:lnTo>
                <a:lnTo>
                  <a:pt x="485" y="216"/>
                </a:lnTo>
                <a:lnTo>
                  <a:pt x="490" y="229"/>
                </a:lnTo>
                <a:lnTo>
                  <a:pt x="497" y="240"/>
                </a:lnTo>
                <a:lnTo>
                  <a:pt x="505" y="250"/>
                </a:lnTo>
                <a:lnTo>
                  <a:pt x="514" y="257"/>
                </a:lnTo>
                <a:lnTo>
                  <a:pt x="523" y="264"/>
                </a:lnTo>
                <a:lnTo>
                  <a:pt x="534" y="269"/>
                </a:lnTo>
                <a:lnTo>
                  <a:pt x="544" y="274"/>
                </a:lnTo>
                <a:lnTo>
                  <a:pt x="556" y="278"/>
                </a:lnTo>
                <a:lnTo>
                  <a:pt x="578" y="287"/>
                </a:lnTo>
                <a:lnTo>
                  <a:pt x="600" y="296"/>
                </a:lnTo>
                <a:lnTo>
                  <a:pt x="610" y="302"/>
                </a:lnTo>
                <a:lnTo>
                  <a:pt x="620" y="310"/>
                </a:lnTo>
                <a:lnTo>
                  <a:pt x="629" y="318"/>
                </a:lnTo>
                <a:lnTo>
                  <a:pt x="638" y="327"/>
                </a:lnTo>
                <a:lnTo>
                  <a:pt x="631" y="420"/>
                </a:lnTo>
                <a:lnTo>
                  <a:pt x="643" y="429"/>
                </a:lnTo>
                <a:lnTo>
                  <a:pt x="660" y="440"/>
                </a:lnTo>
                <a:lnTo>
                  <a:pt x="679" y="450"/>
                </a:lnTo>
                <a:lnTo>
                  <a:pt x="701" y="459"/>
                </a:lnTo>
                <a:lnTo>
                  <a:pt x="723" y="468"/>
                </a:lnTo>
                <a:lnTo>
                  <a:pt x="744" y="475"/>
                </a:lnTo>
                <a:lnTo>
                  <a:pt x="753" y="478"/>
                </a:lnTo>
                <a:lnTo>
                  <a:pt x="762" y="480"/>
                </a:lnTo>
                <a:lnTo>
                  <a:pt x="770" y="481"/>
                </a:lnTo>
                <a:lnTo>
                  <a:pt x="777" y="481"/>
                </a:lnTo>
                <a:lnTo>
                  <a:pt x="779" y="488"/>
                </a:lnTo>
                <a:lnTo>
                  <a:pt x="784" y="494"/>
                </a:lnTo>
                <a:lnTo>
                  <a:pt x="789" y="497"/>
                </a:lnTo>
                <a:lnTo>
                  <a:pt x="795" y="499"/>
                </a:lnTo>
                <a:lnTo>
                  <a:pt x="800" y="501"/>
                </a:lnTo>
                <a:lnTo>
                  <a:pt x="807" y="501"/>
                </a:lnTo>
                <a:lnTo>
                  <a:pt x="814" y="500"/>
                </a:lnTo>
                <a:lnTo>
                  <a:pt x="822" y="499"/>
                </a:lnTo>
                <a:lnTo>
                  <a:pt x="836" y="496"/>
                </a:lnTo>
                <a:lnTo>
                  <a:pt x="852" y="492"/>
                </a:lnTo>
                <a:lnTo>
                  <a:pt x="858" y="492"/>
                </a:lnTo>
                <a:lnTo>
                  <a:pt x="865" y="491"/>
                </a:lnTo>
                <a:lnTo>
                  <a:pt x="871" y="492"/>
                </a:lnTo>
                <a:lnTo>
                  <a:pt x="877" y="493"/>
                </a:lnTo>
                <a:lnTo>
                  <a:pt x="886" y="499"/>
                </a:lnTo>
                <a:lnTo>
                  <a:pt x="892" y="504"/>
                </a:lnTo>
                <a:lnTo>
                  <a:pt x="898" y="511"/>
                </a:lnTo>
                <a:lnTo>
                  <a:pt x="903" y="517"/>
                </a:lnTo>
                <a:lnTo>
                  <a:pt x="908" y="523"/>
                </a:lnTo>
                <a:lnTo>
                  <a:pt x="914" y="529"/>
                </a:lnTo>
                <a:lnTo>
                  <a:pt x="918" y="532"/>
                </a:lnTo>
                <a:lnTo>
                  <a:pt x="921" y="534"/>
                </a:lnTo>
                <a:lnTo>
                  <a:pt x="925" y="536"/>
                </a:lnTo>
                <a:lnTo>
                  <a:pt x="930" y="537"/>
                </a:lnTo>
                <a:lnTo>
                  <a:pt x="946" y="540"/>
                </a:lnTo>
                <a:lnTo>
                  <a:pt x="968" y="546"/>
                </a:lnTo>
                <a:lnTo>
                  <a:pt x="993" y="552"/>
                </a:lnTo>
                <a:lnTo>
                  <a:pt x="1021" y="559"/>
                </a:lnTo>
                <a:lnTo>
                  <a:pt x="1047" y="564"/>
                </a:lnTo>
                <a:lnTo>
                  <a:pt x="1071" y="568"/>
                </a:lnTo>
                <a:lnTo>
                  <a:pt x="1082" y="569"/>
                </a:lnTo>
                <a:lnTo>
                  <a:pt x="1090" y="570"/>
                </a:lnTo>
                <a:lnTo>
                  <a:pt x="1098" y="569"/>
                </a:lnTo>
                <a:lnTo>
                  <a:pt x="1102" y="567"/>
                </a:lnTo>
                <a:lnTo>
                  <a:pt x="1098" y="560"/>
                </a:lnTo>
                <a:lnTo>
                  <a:pt x="1093" y="552"/>
                </a:lnTo>
                <a:lnTo>
                  <a:pt x="1090" y="544"/>
                </a:lnTo>
                <a:lnTo>
                  <a:pt x="1088" y="535"/>
                </a:lnTo>
                <a:lnTo>
                  <a:pt x="1083" y="520"/>
                </a:lnTo>
                <a:lnTo>
                  <a:pt x="1082" y="512"/>
                </a:lnTo>
                <a:lnTo>
                  <a:pt x="1082" y="481"/>
                </a:lnTo>
                <a:lnTo>
                  <a:pt x="1082" y="450"/>
                </a:lnTo>
                <a:lnTo>
                  <a:pt x="1115" y="450"/>
                </a:lnTo>
                <a:lnTo>
                  <a:pt x="1121" y="461"/>
                </a:lnTo>
                <a:lnTo>
                  <a:pt x="1125" y="468"/>
                </a:lnTo>
                <a:lnTo>
                  <a:pt x="1131" y="474"/>
                </a:lnTo>
                <a:lnTo>
                  <a:pt x="1136" y="481"/>
                </a:lnTo>
                <a:lnTo>
                  <a:pt x="1135" y="497"/>
                </a:lnTo>
                <a:lnTo>
                  <a:pt x="1132" y="507"/>
                </a:lnTo>
                <a:lnTo>
                  <a:pt x="1130" y="515"/>
                </a:lnTo>
                <a:lnTo>
                  <a:pt x="1128" y="524"/>
                </a:lnTo>
                <a:lnTo>
                  <a:pt x="1149" y="530"/>
                </a:lnTo>
                <a:lnTo>
                  <a:pt x="1169" y="536"/>
                </a:lnTo>
                <a:lnTo>
                  <a:pt x="1179" y="539"/>
                </a:lnTo>
                <a:lnTo>
                  <a:pt x="1189" y="541"/>
                </a:lnTo>
                <a:lnTo>
                  <a:pt x="1199" y="542"/>
                </a:lnTo>
                <a:lnTo>
                  <a:pt x="1209" y="543"/>
                </a:lnTo>
                <a:lnTo>
                  <a:pt x="1210" y="547"/>
                </a:lnTo>
                <a:lnTo>
                  <a:pt x="1212" y="551"/>
                </a:lnTo>
                <a:lnTo>
                  <a:pt x="1215" y="554"/>
                </a:lnTo>
                <a:lnTo>
                  <a:pt x="1220" y="557"/>
                </a:lnTo>
                <a:lnTo>
                  <a:pt x="1228" y="560"/>
                </a:lnTo>
                <a:lnTo>
                  <a:pt x="1235" y="561"/>
                </a:lnTo>
                <a:lnTo>
                  <a:pt x="1243" y="561"/>
                </a:lnTo>
                <a:lnTo>
                  <a:pt x="1249" y="559"/>
                </a:lnTo>
                <a:lnTo>
                  <a:pt x="1256" y="556"/>
                </a:lnTo>
                <a:lnTo>
                  <a:pt x="1261" y="553"/>
                </a:lnTo>
                <a:lnTo>
                  <a:pt x="1267" y="549"/>
                </a:lnTo>
                <a:lnTo>
                  <a:pt x="1272" y="544"/>
                </a:lnTo>
                <a:lnTo>
                  <a:pt x="1277" y="539"/>
                </a:lnTo>
                <a:lnTo>
                  <a:pt x="1281" y="534"/>
                </a:lnTo>
                <a:lnTo>
                  <a:pt x="1289" y="521"/>
                </a:lnTo>
                <a:lnTo>
                  <a:pt x="1294" y="509"/>
                </a:lnTo>
                <a:lnTo>
                  <a:pt x="1299" y="498"/>
                </a:lnTo>
                <a:lnTo>
                  <a:pt x="1302" y="487"/>
                </a:lnTo>
                <a:lnTo>
                  <a:pt x="1312" y="476"/>
                </a:lnTo>
                <a:lnTo>
                  <a:pt x="1322" y="465"/>
                </a:lnTo>
                <a:lnTo>
                  <a:pt x="1333" y="456"/>
                </a:lnTo>
                <a:lnTo>
                  <a:pt x="1344" y="446"/>
                </a:lnTo>
                <a:lnTo>
                  <a:pt x="1356" y="438"/>
                </a:lnTo>
                <a:lnTo>
                  <a:pt x="1367" y="430"/>
                </a:lnTo>
                <a:lnTo>
                  <a:pt x="1379" y="423"/>
                </a:lnTo>
                <a:lnTo>
                  <a:pt x="1391" y="416"/>
                </a:lnTo>
                <a:lnTo>
                  <a:pt x="1404" y="409"/>
                </a:lnTo>
                <a:lnTo>
                  <a:pt x="1417" y="403"/>
                </a:lnTo>
                <a:lnTo>
                  <a:pt x="1430" y="398"/>
                </a:lnTo>
                <a:lnTo>
                  <a:pt x="1444" y="393"/>
                </a:lnTo>
                <a:lnTo>
                  <a:pt x="1472" y="384"/>
                </a:lnTo>
                <a:lnTo>
                  <a:pt x="1501" y="377"/>
                </a:lnTo>
                <a:lnTo>
                  <a:pt x="1507" y="385"/>
                </a:lnTo>
                <a:lnTo>
                  <a:pt x="1515" y="395"/>
                </a:lnTo>
                <a:lnTo>
                  <a:pt x="1526" y="406"/>
                </a:lnTo>
                <a:lnTo>
                  <a:pt x="1537" y="418"/>
                </a:lnTo>
                <a:lnTo>
                  <a:pt x="1549" y="428"/>
                </a:lnTo>
                <a:lnTo>
                  <a:pt x="1562" y="436"/>
                </a:lnTo>
                <a:lnTo>
                  <a:pt x="1568" y="440"/>
                </a:lnTo>
                <a:lnTo>
                  <a:pt x="1574" y="442"/>
                </a:lnTo>
                <a:lnTo>
                  <a:pt x="1581" y="444"/>
                </a:lnTo>
                <a:lnTo>
                  <a:pt x="1587" y="444"/>
                </a:lnTo>
                <a:lnTo>
                  <a:pt x="1594" y="432"/>
                </a:lnTo>
                <a:lnTo>
                  <a:pt x="1590" y="453"/>
                </a:lnTo>
                <a:lnTo>
                  <a:pt x="1585" y="477"/>
                </a:lnTo>
                <a:lnTo>
                  <a:pt x="1583" y="488"/>
                </a:lnTo>
                <a:lnTo>
                  <a:pt x="1579" y="498"/>
                </a:lnTo>
                <a:lnTo>
                  <a:pt x="1576" y="502"/>
                </a:lnTo>
                <a:lnTo>
                  <a:pt x="1574" y="506"/>
                </a:lnTo>
                <a:lnTo>
                  <a:pt x="1571" y="509"/>
                </a:lnTo>
                <a:lnTo>
                  <a:pt x="1568" y="512"/>
                </a:lnTo>
                <a:lnTo>
                  <a:pt x="1554" y="515"/>
                </a:lnTo>
                <a:lnTo>
                  <a:pt x="1531" y="523"/>
                </a:lnTo>
                <a:lnTo>
                  <a:pt x="1520" y="530"/>
                </a:lnTo>
                <a:lnTo>
                  <a:pt x="1511" y="536"/>
                </a:lnTo>
                <a:lnTo>
                  <a:pt x="1506" y="539"/>
                </a:lnTo>
                <a:lnTo>
                  <a:pt x="1504" y="542"/>
                </a:lnTo>
                <a:lnTo>
                  <a:pt x="1502" y="546"/>
                </a:lnTo>
                <a:lnTo>
                  <a:pt x="1501" y="549"/>
                </a:lnTo>
                <a:lnTo>
                  <a:pt x="1502" y="584"/>
                </a:lnTo>
                <a:lnTo>
                  <a:pt x="1501" y="624"/>
                </a:lnTo>
                <a:lnTo>
                  <a:pt x="1498" y="634"/>
                </a:lnTo>
                <a:lnTo>
                  <a:pt x="1497" y="645"/>
                </a:lnTo>
                <a:lnTo>
                  <a:pt x="1495" y="654"/>
                </a:lnTo>
                <a:lnTo>
                  <a:pt x="1493" y="663"/>
                </a:lnTo>
                <a:lnTo>
                  <a:pt x="1490" y="671"/>
                </a:lnTo>
                <a:lnTo>
                  <a:pt x="1485" y="679"/>
                </a:lnTo>
                <a:lnTo>
                  <a:pt x="1480" y="685"/>
                </a:lnTo>
                <a:lnTo>
                  <a:pt x="1474" y="690"/>
                </a:lnTo>
                <a:lnTo>
                  <a:pt x="1471" y="693"/>
                </a:lnTo>
                <a:lnTo>
                  <a:pt x="1464" y="694"/>
                </a:lnTo>
                <a:lnTo>
                  <a:pt x="1457" y="695"/>
                </a:lnTo>
                <a:lnTo>
                  <a:pt x="1449" y="696"/>
                </a:lnTo>
                <a:lnTo>
                  <a:pt x="1441" y="697"/>
                </a:lnTo>
                <a:lnTo>
                  <a:pt x="1434" y="700"/>
                </a:lnTo>
                <a:lnTo>
                  <a:pt x="1431" y="701"/>
                </a:lnTo>
                <a:lnTo>
                  <a:pt x="1429" y="704"/>
                </a:lnTo>
                <a:lnTo>
                  <a:pt x="1428" y="706"/>
                </a:lnTo>
                <a:lnTo>
                  <a:pt x="1428" y="709"/>
                </a:lnTo>
                <a:lnTo>
                  <a:pt x="1427" y="721"/>
                </a:lnTo>
                <a:lnTo>
                  <a:pt x="1427" y="735"/>
                </a:lnTo>
                <a:lnTo>
                  <a:pt x="1425" y="750"/>
                </a:lnTo>
                <a:lnTo>
                  <a:pt x="1423" y="764"/>
                </a:lnTo>
                <a:lnTo>
                  <a:pt x="1420" y="778"/>
                </a:lnTo>
                <a:lnTo>
                  <a:pt x="1417" y="791"/>
                </a:lnTo>
                <a:lnTo>
                  <a:pt x="1413" y="803"/>
                </a:lnTo>
                <a:lnTo>
                  <a:pt x="1408" y="814"/>
                </a:lnTo>
                <a:lnTo>
                  <a:pt x="1361" y="733"/>
                </a:lnTo>
                <a:lnTo>
                  <a:pt x="1359" y="737"/>
                </a:lnTo>
                <a:lnTo>
                  <a:pt x="1354" y="746"/>
                </a:lnTo>
                <a:lnTo>
                  <a:pt x="1349" y="751"/>
                </a:lnTo>
                <a:lnTo>
                  <a:pt x="1345" y="755"/>
                </a:lnTo>
                <a:lnTo>
                  <a:pt x="1340" y="758"/>
                </a:lnTo>
                <a:lnTo>
                  <a:pt x="1335" y="759"/>
                </a:lnTo>
                <a:lnTo>
                  <a:pt x="1329" y="758"/>
                </a:lnTo>
                <a:lnTo>
                  <a:pt x="1325" y="757"/>
                </a:lnTo>
                <a:lnTo>
                  <a:pt x="1321" y="754"/>
                </a:lnTo>
                <a:lnTo>
                  <a:pt x="1316" y="751"/>
                </a:lnTo>
                <a:lnTo>
                  <a:pt x="1313" y="746"/>
                </a:lnTo>
                <a:lnTo>
                  <a:pt x="1311" y="742"/>
                </a:lnTo>
                <a:lnTo>
                  <a:pt x="1308" y="738"/>
                </a:lnTo>
                <a:lnTo>
                  <a:pt x="1308" y="733"/>
                </a:lnTo>
                <a:lnTo>
                  <a:pt x="1308" y="727"/>
                </a:lnTo>
                <a:lnTo>
                  <a:pt x="1311" y="721"/>
                </a:lnTo>
                <a:lnTo>
                  <a:pt x="1313" y="715"/>
                </a:lnTo>
                <a:lnTo>
                  <a:pt x="1315" y="709"/>
                </a:lnTo>
                <a:lnTo>
                  <a:pt x="1323" y="698"/>
                </a:lnTo>
                <a:lnTo>
                  <a:pt x="1332" y="687"/>
                </a:lnTo>
                <a:lnTo>
                  <a:pt x="1340" y="677"/>
                </a:lnTo>
                <a:lnTo>
                  <a:pt x="1348" y="666"/>
                </a:lnTo>
                <a:lnTo>
                  <a:pt x="1350" y="660"/>
                </a:lnTo>
                <a:lnTo>
                  <a:pt x="1352" y="655"/>
                </a:lnTo>
                <a:lnTo>
                  <a:pt x="1355" y="648"/>
                </a:lnTo>
                <a:lnTo>
                  <a:pt x="1355" y="642"/>
                </a:lnTo>
                <a:lnTo>
                  <a:pt x="1235" y="642"/>
                </a:lnTo>
                <a:lnTo>
                  <a:pt x="1231" y="641"/>
                </a:lnTo>
                <a:lnTo>
                  <a:pt x="1225" y="638"/>
                </a:lnTo>
                <a:lnTo>
                  <a:pt x="1221" y="632"/>
                </a:lnTo>
                <a:lnTo>
                  <a:pt x="1217" y="626"/>
                </a:lnTo>
                <a:lnTo>
                  <a:pt x="1214" y="618"/>
                </a:lnTo>
                <a:lnTo>
                  <a:pt x="1211" y="610"/>
                </a:lnTo>
                <a:lnTo>
                  <a:pt x="1210" y="601"/>
                </a:lnTo>
                <a:lnTo>
                  <a:pt x="1209" y="592"/>
                </a:lnTo>
                <a:lnTo>
                  <a:pt x="1203" y="592"/>
                </a:lnTo>
                <a:lnTo>
                  <a:pt x="1198" y="591"/>
                </a:lnTo>
                <a:lnTo>
                  <a:pt x="1192" y="590"/>
                </a:lnTo>
                <a:lnTo>
                  <a:pt x="1187" y="588"/>
                </a:lnTo>
                <a:lnTo>
                  <a:pt x="1182" y="585"/>
                </a:lnTo>
                <a:lnTo>
                  <a:pt x="1179" y="582"/>
                </a:lnTo>
                <a:lnTo>
                  <a:pt x="1177" y="577"/>
                </a:lnTo>
                <a:lnTo>
                  <a:pt x="1176" y="573"/>
                </a:lnTo>
                <a:lnTo>
                  <a:pt x="1167" y="573"/>
                </a:lnTo>
                <a:lnTo>
                  <a:pt x="1159" y="573"/>
                </a:lnTo>
                <a:lnTo>
                  <a:pt x="1151" y="573"/>
                </a:lnTo>
                <a:lnTo>
                  <a:pt x="1143" y="573"/>
                </a:lnTo>
                <a:lnTo>
                  <a:pt x="1136" y="574"/>
                </a:lnTo>
                <a:lnTo>
                  <a:pt x="1131" y="575"/>
                </a:lnTo>
                <a:lnTo>
                  <a:pt x="1124" y="578"/>
                </a:lnTo>
                <a:lnTo>
                  <a:pt x="1117" y="582"/>
                </a:lnTo>
                <a:lnTo>
                  <a:pt x="1112" y="587"/>
                </a:lnTo>
                <a:lnTo>
                  <a:pt x="1106" y="592"/>
                </a:lnTo>
                <a:lnTo>
                  <a:pt x="1103" y="598"/>
                </a:lnTo>
                <a:lnTo>
                  <a:pt x="1102" y="604"/>
                </a:lnTo>
                <a:lnTo>
                  <a:pt x="1104" y="608"/>
                </a:lnTo>
                <a:lnTo>
                  <a:pt x="1110" y="613"/>
                </a:lnTo>
                <a:lnTo>
                  <a:pt x="1117" y="619"/>
                </a:lnTo>
                <a:lnTo>
                  <a:pt x="1127" y="625"/>
                </a:lnTo>
                <a:lnTo>
                  <a:pt x="1137" y="631"/>
                </a:lnTo>
                <a:lnTo>
                  <a:pt x="1147" y="636"/>
                </a:lnTo>
                <a:lnTo>
                  <a:pt x="1156" y="640"/>
                </a:lnTo>
                <a:lnTo>
                  <a:pt x="1162" y="642"/>
                </a:lnTo>
                <a:lnTo>
                  <a:pt x="1149" y="652"/>
                </a:lnTo>
                <a:lnTo>
                  <a:pt x="1134" y="664"/>
                </a:lnTo>
                <a:lnTo>
                  <a:pt x="1127" y="670"/>
                </a:lnTo>
                <a:lnTo>
                  <a:pt x="1121" y="677"/>
                </a:lnTo>
                <a:lnTo>
                  <a:pt x="1119" y="680"/>
                </a:lnTo>
                <a:lnTo>
                  <a:pt x="1117" y="683"/>
                </a:lnTo>
                <a:lnTo>
                  <a:pt x="1116" y="687"/>
                </a:lnTo>
                <a:lnTo>
                  <a:pt x="1115" y="690"/>
                </a:lnTo>
                <a:lnTo>
                  <a:pt x="1116" y="695"/>
                </a:lnTo>
                <a:lnTo>
                  <a:pt x="1117" y="698"/>
                </a:lnTo>
                <a:lnTo>
                  <a:pt x="1120" y="702"/>
                </a:lnTo>
                <a:lnTo>
                  <a:pt x="1122" y="706"/>
                </a:lnTo>
                <a:lnTo>
                  <a:pt x="1130" y="714"/>
                </a:lnTo>
                <a:lnTo>
                  <a:pt x="1139" y="722"/>
                </a:lnTo>
                <a:lnTo>
                  <a:pt x="1149" y="729"/>
                </a:lnTo>
                <a:lnTo>
                  <a:pt x="1160" y="735"/>
                </a:lnTo>
                <a:lnTo>
                  <a:pt x="1166" y="737"/>
                </a:lnTo>
                <a:lnTo>
                  <a:pt x="1171" y="738"/>
                </a:lnTo>
                <a:lnTo>
                  <a:pt x="1177" y="739"/>
                </a:lnTo>
                <a:lnTo>
                  <a:pt x="1182" y="740"/>
                </a:lnTo>
                <a:lnTo>
                  <a:pt x="1209" y="844"/>
                </a:lnTo>
                <a:lnTo>
                  <a:pt x="1194" y="844"/>
                </a:lnTo>
                <a:lnTo>
                  <a:pt x="1180" y="844"/>
                </a:lnTo>
                <a:lnTo>
                  <a:pt x="1167" y="844"/>
                </a:lnTo>
                <a:lnTo>
                  <a:pt x="1156" y="844"/>
                </a:lnTo>
                <a:lnTo>
                  <a:pt x="1149" y="843"/>
                </a:lnTo>
                <a:lnTo>
                  <a:pt x="1142" y="838"/>
                </a:lnTo>
                <a:lnTo>
                  <a:pt x="1137" y="836"/>
                </a:lnTo>
                <a:lnTo>
                  <a:pt x="1132" y="834"/>
                </a:lnTo>
                <a:lnTo>
                  <a:pt x="1127" y="833"/>
                </a:lnTo>
                <a:lnTo>
                  <a:pt x="1122" y="832"/>
                </a:lnTo>
                <a:lnTo>
                  <a:pt x="1117" y="834"/>
                </a:lnTo>
                <a:lnTo>
                  <a:pt x="1109" y="839"/>
                </a:lnTo>
                <a:lnTo>
                  <a:pt x="1099" y="846"/>
                </a:lnTo>
                <a:lnTo>
                  <a:pt x="1087" y="854"/>
                </a:lnTo>
                <a:lnTo>
                  <a:pt x="1075" y="864"/>
                </a:lnTo>
                <a:lnTo>
                  <a:pt x="1065" y="872"/>
                </a:lnTo>
                <a:lnTo>
                  <a:pt x="1058" y="878"/>
                </a:lnTo>
                <a:lnTo>
                  <a:pt x="1056" y="882"/>
                </a:lnTo>
                <a:lnTo>
                  <a:pt x="1076" y="894"/>
                </a:lnTo>
                <a:lnTo>
                  <a:pt x="1075" y="900"/>
                </a:lnTo>
                <a:lnTo>
                  <a:pt x="1072" y="907"/>
                </a:lnTo>
                <a:lnTo>
                  <a:pt x="1069" y="912"/>
                </a:lnTo>
                <a:lnTo>
                  <a:pt x="1066" y="919"/>
                </a:lnTo>
                <a:lnTo>
                  <a:pt x="1058" y="928"/>
                </a:lnTo>
                <a:lnTo>
                  <a:pt x="1049" y="937"/>
                </a:lnTo>
                <a:lnTo>
                  <a:pt x="1039" y="945"/>
                </a:lnTo>
                <a:lnTo>
                  <a:pt x="1027" y="952"/>
                </a:lnTo>
                <a:lnTo>
                  <a:pt x="1016" y="958"/>
                </a:lnTo>
                <a:lnTo>
                  <a:pt x="1004" y="964"/>
                </a:lnTo>
                <a:lnTo>
                  <a:pt x="992" y="972"/>
                </a:lnTo>
                <a:lnTo>
                  <a:pt x="981" y="978"/>
                </a:lnTo>
                <a:lnTo>
                  <a:pt x="971" y="985"/>
                </a:lnTo>
                <a:lnTo>
                  <a:pt x="962" y="993"/>
                </a:lnTo>
                <a:lnTo>
                  <a:pt x="957" y="997"/>
                </a:lnTo>
                <a:lnTo>
                  <a:pt x="954" y="1001"/>
                </a:lnTo>
                <a:lnTo>
                  <a:pt x="951" y="1006"/>
                </a:lnTo>
                <a:lnTo>
                  <a:pt x="948" y="1011"/>
                </a:lnTo>
                <a:lnTo>
                  <a:pt x="946" y="1017"/>
                </a:lnTo>
                <a:lnTo>
                  <a:pt x="944" y="1022"/>
                </a:lnTo>
                <a:lnTo>
                  <a:pt x="943" y="1029"/>
                </a:lnTo>
                <a:lnTo>
                  <a:pt x="943" y="1036"/>
                </a:lnTo>
                <a:lnTo>
                  <a:pt x="934" y="1039"/>
                </a:lnTo>
                <a:lnTo>
                  <a:pt x="926" y="1042"/>
                </a:lnTo>
                <a:lnTo>
                  <a:pt x="919" y="1046"/>
                </a:lnTo>
                <a:lnTo>
                  <a:pt x="912" y="1050"/>
                </a:lnTo>
                <a:lnTo>
                  <a:pt x="898" y="1060"/>
                </a:lnTo>
                <a:lnTo>
                  <a:pt x="886" y="1072"/>
                </a:lnTo>
                <a:lnTo>
                  <a:pt x="864" y="1099"/>
                </a:lnTo>
                <a:lnTo>
                  <a:pt x="843" y="1128"/>
                </a:lnTo>
                <a:lnTo>
                  <a:pt x="832" y="1143"/>
                </a:lnTo>
                <a:lnTo>
                  <a:pt x="821" y="1156"/>
                </a:lnTo>
                <a:lnTo>
                  <a:pt x="809" y="1168"/>
                </a:lnTo>
                <a:lnTo>
                  <a:pt x="796" y="1179"/>
                </a:lnTo>
                <a:lnTo>
                  <a:pt x="788" y="1184"/>
                </a:lnTo>
                <a:lnTo>
                  <a:pt x="780" y="1188"/>
                </a:lnTo>
                <a:lnTo>
                  <a:pt x="773" y="1192"/>
                </a:lnTo>
                <a:lnTo>
                  <a:pt x="764" y="1196"/>
                </a:lnTo>
                <a:lnTo>
                  <a:pt x="754" y="1199"/>
                </a:lnTo>
                <a:lnTo>
                  <a:pt x="745" y="1201"/>
                </a:lnTo>
                <a:lnTo>
                  <a:pt x="734" y="1202"/>
                </a:lnTo>
                <a:lnTo>
                  <a:pt x="723" y="1202"/>
                </a:lnTo>
                <a:lnTo>
                  <a:pt x="723" y="1211"/>
                </a:lnTo>
                <a:lnTo>
                  <a:pt x="723" y="1220"/>
                </a:lnTo>
                <a:lnTo>
                  <a:pt x="723" y="1227"/>
                </a:lnTo>
                <a:lnTo>
                  <a:pt x="723" y="1233"/>
                </a:lnTo>
                <a:lnTo>
                  <a:pt x="723" y="1244"/>
                </a:lnTo>
                <a:lnTo>
                  <a:pt x="723" y="1261"/>
                </a:lnTo>
                <a:lnTo>
                  <a:pt x="723" y="1279"/>
                </a:lnTo>
                <a:lnTo>
                  <a:pt x="725" y="1298"/>
                </a:lnTo>
                <a:lnTo>
                  <a:pt x="727" y="1308"/>
                </a:lnTo>
                <a:lnTo>
                  <a:pt x="729" y="1317"/>
                </a:lnTo>
                <a:lnTo>
                  <a:pt x="731" y="1325"/>
                </a:lnTo>
                <a:lnTo>
                  <a:pt x="735" y="1332"/>
                </a:lnTo>
                <a:lnTo>
                  <a:pt x="739" y="1339"/>
                </a:lnTo>
                <a:lnTo>
                  <a:pt x="744" y="1344"/>
                </a:lnTo>
                <a:lnTo>
                  <a:pt x="750" y="1348"/>
                </a:lnTo>
                <a:lnTo>
                  <a:pt x="757" y="1350"/>
                </a:lnTo>
                <a:lnTo>
                  <a:pt x="751" y="1366"/>
                </a:lnTo>
                <a:lnTo>
                  <a:pt x="744" y="1380"/>
                </a:lnTo>
                <a:lnTo>
                  <a:pt x="736" y="1393"/>
                </a:lnTo>
                <a:lnTo>
                  <a:pt x="729" y="1405"/>
                </a:lnTo>
                <a:lnTo>
                  <a:pt x="721" y="1419"/>
                </a:lnTo>
                <a:lnTo>
                  <a:pt x="716" y="1432"/>
                </a:lnTo>
                <a:lnTo>
                  <a:pt x="713" y="1438"/>
                </a:lnTo>
                <a:lnTo>
                  <a:pt x="712" y="1445"/>
                </a:lnTo>
                <a:lnTo>
                  <a:pt x="711" y="1453"/>
                </a:lnTo>
                <a:lnTo>
                  <a:pt x="710" y="1460"/>
                </a:lnTo>
                <a:lnTo>
                  <a:pt x="711" y="1463"/>
                </a:lnTo>
                <a:lnTo>
                  <a:pt x="712" y="1465"/>
                </a:lnTo>
                <a:lnTo>
                  <a:pt x="714" y="1467"/>
                </a:lnTo>
                <a:lnTo>
                  <a:pt x="718" y="1469"/>
                </a:lnTo>
                <a:lnTo>
                  <a:pt x="724" y="1473"/>
                </a:lnTo>
                <a:lnTo>
                  <a:pt x="730" y="1474"/>
                </a:lnTo>
                <a:lnTo>
                  <a:pt x="730" y="1510"/>
                </a:lnTo>
                <a:lnTo>
                  <a:pt x="722" y="1524"/>
                </a:lnTo>
                <a:lnTo>
                  <a:pt x="716" y="1539"/>
                </a:lnTo>
                <a:lnTo>
                  <a:pt x="711" y="1545"/>
                </a:lnTo>
                <a:lnTo>
                  <a:pt x="706" y="1549"/>
                </a:lnTo>
                <a:lnTo>
                  <a:pt x="702" y="1551"/>
                </a:lnTo>
                <a:lnTo>
                  <a:pt x="699" y="1552"/>
                </a:lnTo>
                <a:lnTo>
                  <a:pt x="695" y="1553"/>
                </a:lnTo>
                <a:lnTo>
                  <a:pt x="690" y="1553"/>
                </a:lnTo>
                <a:lnTo>
                  <a:pt x="690" y="1561"/>
                </a:lnTo>
                <a:lnTo>
                  <a:pt x="691" y="1571"/>
                </a:lnTo>
                <a:lnTo>
                  <a:pt x="693" y="1576"/>
                </a:lnTo>
                <a:lnTo>
                  <a:pt x="694" y="1580"/>
                </a:lnTo>
                <a:lnTo>
                  <a:pt x="695" y="1583"/>
                </a:lnTo>
                <a:lnTo>
                  <a:pt x="697" y="1584"/>
                </a:lnTo>
                <a:lnTo>
                  <a:pt x="671" y="1605"/>
                </a:lnTo>
                <a:lnTo>
                  <a:pt x="649" y="1622"/>
                </a:lnTo>
                <a:lnTo>
                  <a:pt x="639" y="1632"/>
                </a:lnTo>
                <a:lnTo>
                  <a:pt x="630" y="1643"/>
                </a:lnTo>
                <a:lnTo>
                  <a:pt x="620" y="1656"/>
                </a:lnTo>
                <a:lnTo>
                  <a:pt x="611" y="1670"/>
                </a:lnTo>
                <a:lnTo>
                  <a:pt x="595" y="1663"/>
                </a:lnTo>
                <a:lnTo>
                  <a:pt x="584" y="1656"/>
                </a:lnTo>
                <a:lnTo>
                  <a:pt x="575" y="1649"/>
                </a:lnTo>
                <a:lnTo>
                  <a:pt x="568" y="1641"/>
                </a:lnTo>
                <a:lnTo>
                  <a:pt x="563" y="1631"/>
                </a:lnTo>
                <a:lnTo>
                  <a:pt x="560" y="1621"/>
                </a:lnTo>
                <a:lnTo>
                  <a:pt x="555" y="1609"/>
                </a:lnTo>
                <a:lnTo>
                  <a:pt x="551" y="1597"/>
                </a:lnTo>
                <a:lnTo>
                  <a:pt x="542" y="1574"/>
                </a:lnTo>
                <a:lnTo>
                  <a:pt x="530" y="1552"/>
                </a:lnTo>
                <a:lnTo>
                  <a:pt x="516" y="1529"/>
                </a:lnTo>
                <a:lnTo>
                  <a:pt x="501" y="1505"/>
                </a:lnTo>
                <a:lnTo>
                  <a:pt x="486" y="1483"/>
                </a:lnTo>
                <a:lnTo>
                  <a:pt x="473" y="1461"/>
                </a:lnTo>
                <a:lnTo>
                  <a:pt x="461" y="1441"/>
                </a:lnTo>
                <a:lnTo>
                  <a:pt x="451" y="1424"/>
                </a:lnTo>
                <a:lnTo>
                  <a:pt x="442" y="1405"/>
                </a:lnTo>
                <a:lnTo>
                  <a:pt x="436" y="1388"/>
                </a:lnTo>
                <a:lnTo>
                  <a:pt x="430" y="1370"/>
                </a:lnTo>
                <a:lnTo>
                  <a:pt x="425" y="1352"/>
                </a:lnTo>
                <a:lnTo>
                  <a:pt x="419" y="1334"/>
                </a:lnTo>
                <a:lnTo>
                  <a:pt x="414" y="1316"/>
                </a:lnTo>
                <a:lnTo>
                  <a:pt x="407" y="1296"/>
                </a:lnTo>
                <a:lnTo>
                  <a:pt x="398" y="1276"/>
                </a:lnTo>
                <a:lnTo>
                  <a:pt x="376" y="1244"/>
                </a:lnTo>
                <a:lnTo>
                  <a:pt x="352" y="1214"/>
                </a:lnTo>
                <a:lnTo>
                  <a:pt x="341" y="1200"/>
                </a:lnTo>
                <a:lnTo>
                  <a:pt x="330" y="1184"/>
                </a:lnTo>
                <a:lnTo>
                  <a:pt x="320" y="1169"/>
                </a:lnTo>
                <a:lnTo>
                  <a:pt x="312" y="1153"/>
                </a:lnTo>
                <a:lnTo>
                  <a:pt x="301" y="1114"/>
                </a:lnTo>
                <a:lnTo>
                  <a:pt x="292" y="1078"/>
                </a:lnTo>
                <a:lnTo>
                  <a:pt x="284" y="1043"/>
                </a:lnTo>
                <a:lnTo>
                  <a:pt x="280" y="1008"/>
                </a:lnTo>
                <a:lnTo>
                  <a:pt x="275" y="974"/>
                </a:lnTo>
                <a:lnTo>
                  <a:pt x="273" y="938"/>
                </a:lnTo>
                <a:lnTo>
                  <a:pt x="272" y="901"/>
                </a:lnTo>
                <a:lnTo>
                  <a:pt x="272" y="864"/>
                </a:lnTo>
                <a:lnTo>
                  <a:pt x="268" y="863"/>
                </a:lnTo>
                <a:lnTo>
                  <a:pt x="263" y="862"/>
                </a:lnTo>
                <a:lnTo>
                  <a:pt x="259" y="861"/>
                </a:lnTo>
                <a:lnTo>
                  <a:pt x="256" y="857"/>
                </a:lnTo>
                <a:lnTo>
                  <a:pt x="252" y="855"/>
                </a:lnTo>
                <a:lnTo>
                  <a:pt x="250" y="852"/>
                </a:lnTo>
                <a:lnTo>
                  <a:pt x="247" y="848"/>
                </a:lnTo>
                <a:lnTo>
                  <a:pt x="246" y="844"/>
                </a:lnTo>
                <a:lnTo>
                  <a:pt x="242" y="836"/>
                </a:lnTo>
                <a:lnTo>
                  <a:pt x="240" y="827"/>
                </a:lnTo>
                <a:lnTo>
                  <a:pt x="239" y="817"/>
                </a:lnTo>
                <a:lnTo>
                  <a:pt x="239" y="808"/>
                </a:lnTo>
                <a:lnTo>
                  <a:pt x="230" y="814"/>
                </a:lnTo>
                <a:lnTo>
                  <a:pt x="224" y="821"/>
                </a:lnTo>
                <a:lnTo>
                  <a:pt x="217" y="828"/>
                </a:lnTo>
                <a:lnTo>
                  <a:pt x="210" y="836"/>
                </a:lnTo>
                <a:lnTo>
                  <a:pt x="201" y="852"/>
                </a:lnTo>
                <a:lnTo>
                  <a:pt x="192" y="869"/>
                </a:lnTo>
                <a:lnTo>
                  <a:pt x="186" y="876"/>
                </a:lnTo>
                <a:lnTo>
                  <a:pt x="182" y="883"/>
                </a:lnTo>
                <a:lnTo>
                  <a:pt x="176" y="890"/>
                </a:lnTo>
                <a:lnTo>
                  <a:pt x="171" y="895"/>
                </a:lnTo>
                <a:lnTo>
                  <a:pt x="164" y="900"/>
                </a:lnTo>
                <a:lnTo>
                  <a:pt x="157" y="903"/>
                </a:lnTo>
                <a:lnTo>
                  <a:pt x="148" y="905"/>
                </a:lnTo>
                <a:lnTo>
                  <a:pt x="139" y="906"/>
                </a:lnTo>
                <a:lnTo>
                  <a:pt x="134" y="905"/>
                </a:lnTo>
                <a:lnTo>
                  <a:pt x="127" y="903"/>
                </a:lnTo>
                <a:lnTo>
                  <a:pt x="120" y="900"/>
                </a:lnTo>
                <a:lnTo>
                  <a:pt x="113" y="895"/>
                </a:lnTo>
                <a:lnTo>
                  <a:pt x="105" y="889"/>
                </a:lnTo>
                <a:lnTo>
                  <a:pt x="97" y="883"/>
                </a:lnTo>
                <a:lnTo>
                  <a:pt x="90" y="876"/>
                </a:lnTo>
                <a:lnTo>
                  <a:pt x="82" y="868"/>
                </a:lnTo>
                <a:lnTo>
                  <a:pt x="75" y="860"/>
                </a:lnTo>
                <a:lnTo>
                  <a:pt x="69" y="851"/>
                </a:lnTo>
                <a:lnTo>
                  <a:pt x="62" y="842"/>
                </a:lnTo>
                <a:lnTo>
                  <a:pt x="57" y="833"/>
                </a:lnTo>
                <a:lnTo>
                  <a:pt x="52" y="825"/>
                </a:lnTo>
                <a:lnTo>
                  <a:pt x="49" y="817"/>
                </a:lnTo>
                <a:lnTo>
                  <a:pt x="47" y="809"/>
                </a:lnTo>
                <a:lnTo>
                  <a:pt x="46" y="801"/>
                </a:lnTo>
                <a:lnTo>
                  <a:pt x="51" y="798"/>
                </a:lnTo>
                <a:lnTo>
                  <a:pt x="63" y="792"/>
                </a:lnTo>
                <a:lnTo>
                  <a:pt x="77" y="786"/>
                </a:lnTo>
                <a:lnTo>
                  <a:pt x="85" y="783"/>
                </a:lnTo>
                <a:lnTo>
                  <a:pt x="77" y="783"/>
                </a:lnTo>
                <a:lnTo>
                  <a:pt x="67" y="782"/>
                </a:lnTo>
                <a:lnTo>
                  <a:pt x="59" y="780"/>
                </a:lnTo>
                <a:lnTo>
                  <a:pt x="51" y="779"/>
                </a:lnTo>
                <a:lnTo>
                  <a:pt x="44" y="776"/>
                </a:lnTo>
                <a:lnTo>
                  <a:pt x="37" y="774"/>
                </a:lnTo>
                <a:lnTo>
                  <a:pt x="30" y="771"/>
                </a:lnTo>
                <a:lnTo>
                  <a:pt x="25" y="767"/>
                </a:lnTo>
                <a:lnTo>
                  <a:pt x="21" y="763"/>
                </a:lnTo>
                <a:lnTo>
                  <a:pt x="16" y="759"/>
                </a:lnTo>
                <a:lnTo>
                  <a:pt x="12" y="754"/>
                </a:lnTo>
                <a:lnTo>
                  <a:pt x="8" y="750"/>
                </a:lnTo>
                <a:lnTo>
                  <a:pt x="3" y="738"/>
                </a:lnTo>
                <a:lnTo>
                  <a:pt x="0" y="727"/>
                </a:lnTo>
                <a:lnTo>
                  <a:pt x="10" y="719"/>
                </a:lnTo>
                <a:lnTo>
                  <a:pt x="21" y="713"/>
                </a:lnTo>
                <a:lnTo>
                  <a:pt x="32" y="708"/>
                </a:lnTo>
                <a:lnTo>
                  <a:pt x="44" y="704"/>
                </a:lnTo>
                <a:lnTo>
                  <a:pt x="67" y="699"/>
                </a:lnTo>
                <a:lnTo>
                  <a:pt x="90" y="695"/>
                </a:lnTo>
                <a:lnTo>
                  <a:pt x="102" y="693"/>
                </a:lnTo>
                <a:lnTo>
                  <a:pt x="113" y="689"/>
                </a:lnTo>
                <a:lnTo>
                  <a:pt x="123" y="686"/>
                </a:lnTo>
                <a:lnTo>
                  <a:pt x="133" y="681"/>
                </a:lnTo>
                <a:lnTo>
                  <a:pt x="142" y="676"/>
                </a:lnTo>
                <a:lnTo>
                  <a:pt x="151" y="668"/>
                </a:lnTo>
                <a:lnTo>
                  <a:pt x="159" y="659"/>
                </a:lnTo>
                <a:lnTo>
                  <a:pt x="165" y="648"/>
                </a:lnTo>
                <a:lnTo>
                  <a:pt x="161" y="646"/>
                </a:lnTo>
                <a:lnTo>
                  <a:pt x="157" y="643"/>
                </a:lnTo>
                <a:lnTo>
                  <a:pt x="151" y="639"/>
                </a:lnTo>
                <a:lnTo>
                  <a:pt x="145" y="633"/>
                </a:lnTo>
                <a:lnTo>
                  <a:pt x="131" y="621"/>
                </a:lnTo>
                <a:lnTo>
                  <a:pt x="118" y="607"/>
                </a:lnTo>
                <a:lnTo>
                  <a:pt x="106" y="592"/>
                </a:lnTo>
                <a:lnTo>
                  <a:pt x="95" y="576"/>
                </a:lnTo>
                <a:lnTo>
                  <a:pt x="92" y="569"/>
                </a:lnTo>
                <a:lnTo>
                  <a:pt x="89" y="562"/>
                </a:lnTo>
                <a:lnTo>
                  <a:pt x="86" y="555"/>
                </a:lnTo>
                <a:lnTo>
                  <a:pt x="85" y="549"/>
                </a:lnTo>
                <a:lnTo>
                  <a:pt x="81" y="548"/>
                </a:lnTo>
                <a:lnTo>
                  <a:pt x="77" y="547"/>
                </a:lnTo>
                <a:lnTo>
                  <a:pt x="73" y="545"/>
                </a:lnTo>
                <a:lnTo>
                  <a:pt x="70" y="541"/>
                </a:lnTo>
                <a:lnTo>
                  <a:pt x="64" y="534"/>
                </a:lnTo>
                <a:lnTo>
                  <a:pt x="59" y="524"/>
                </a:lnTo>
                <a:lnTo>
                  <a:pt x="59" y="500"/>
                </a:lnTo>
                <a:lnTo>
                  <a:pt x="73" y="499"/>
                </a:lnTo>
                <a:lnTo>
                  <a:pt x="86" y="498"/>
                </a:lnTo>
                <a:lnTo>
                  <a:pt x="98" y="496"/>
                </a:lnTo>
                <a:lnTo>
                  <a:pt x="109" y="492"/>
                </a:lnTo>
                <a:lnTo>
                  <a:pt x="119" y="489"/>
                </a:lnTo>
                <a:lnTo>
                  <a:pt x="129" y="484"/>
                </a:lnTo>
                <a:lnTo>
                  <a:pt x="138" y="479"/>
                </a:lnTo>
                <a:lnTo>
                  <a:pt x="147" y="473"/>
                </a:lnTo>
                <a:lnTo>
                  <a:pt x="154" y="466"/>
                </a:lnTo>
                <a:lnTo>
                  <a:pt x="162" y="459"/>
                </a:lnTo>
                <a:lnTo>
                  <a:pt x="169" y="452"/>
                </a:lnTo>
                <a:lnTo>
                  <a:pt x="175" y="444"/>
                </a:lnTo>
                <a:lnTo>
                  <a:pt x="186" y="428"/>
                </a:lnTo>
                <a:lnTo>
                  <a:pt x="197" y="410"/>
                </a:lnTo>
                <a:lnTo>
                  <a:pt x="216" y="374"/>
                </a:lnTo>
                <a:lnTo>
                  <a:pt x="235" y="338"/>
                </a:lnTo>
                <a:lnTo>
                  <a:pt x="246" y="322"/>
                </a:lnTo>
                <a:lnTo>
                  <a:pt x="257" y="308"/>
                </a:lnTo>
                <a:lnTo>
                  <a:pt x="263" y="300"/>
                </a:lnTo>
                <a:lnTo>
                  <a:pt x="270" y="294"/>
                </a:lnTo>
                <a:lnTo>
                  <a:pt x="277" y="289"/>
                </a:lnTo>
                <a:lnTo>
                  <a:pt x="285" y="284"/>
                </a:lnTo>
                <a:lnTo>
                  <a:pt x="279" y="272"/>
                </a:lnTo>
                <a:lnTo>
                  <a:pt x="274" y="261"/>
                </a:lnTo>
                <a:lnTo>
                  <a:pt x="273" y="256"/>
                </a:lnTo>
                <a:lnTo>
                  <a:pt x="272" y="251"/>
                </a:lnTo>
                <a:lnTo>
                  <a:pt x="272" y="245"/>
                </a:lnTo>
                <a:lnTo>
                  <a:pt x="272" y="240"/>
                </a:lnTo>
                <a:lnTo>
                  <a:pt x="273" y="235"/>
                </a:lnTo>
                <a:lnTo>
                  <a:pt x="274" y="230"/>
                </a:lnTo>
                <a:lnTo>
                  <a:pt x="276" y="226"/>
                </a:lnTo>
                <a:lnTo>
                  <a:pt x="280" y="222"/>
                </a:lnTo>
                <a:lnTo>
                  <a:pt x="283" y="219"/>
                </a:lnTo>
                <a:lnTo>
                  <a:pt x="287" y="216"/>
                </a:lnTo>
                <a:lnTo>
                  <a:pt x="293" y="213"/>
                </a:lnTo>
                <a:lnTo>
                  <a:pt x="298" y="210"/>
                </a:lnTo>
                <a:lnTo>
                  <a:pt x="269" y="183"/>
                </a:lnTo>
                <a:lnTo>
                  <a:pt x="247" y="163"/>
                </a:lnTo>
                <a:lnTo>
                  <a:pt x="237" y="153"/>
                </a:lnTo>
                <a:lnTo>
                  <a:pt x="227" y="142"/>
                </a:lnTo>
                <a:lnTo>
                  <a:pt x="217" y="128"/>
                </a:lnTo>
                <a:lnTo>
                  <a:pt x="205" y="111"/>
                </a:lnTo>
                <a:lnTo>
                  <a:pt x="205" y="68"/>
                </a:lnTo>
                <a:lnTo>
                  <a:pt x="229" y="68"/>
                </a:lnTo>
                <a:lnTo>
                  <a:pt x="256" y="66"/>
                </a:lnTo>
                <a:lnTo>
                  <a:pt x="270" y="65"/>
                </a:lnTo>
                <a:lnTo>
                  <a:pt x="283" y="63"/>
                </a:lnTo>
                <a:lnTo>
                  <a:pt x="297" y="60"/>
                </a:lnTo>
                <a:lnTo>
                  <a:pt x="310" y="57"/>
                </a:lnTo>
                <a:lnTo>
                  <a:pt x="322" y="54"/>
                </a:lnTo>
                <a:lnTo>
                  <a:pt x="335" y="49"/>
                </a:lnTo>
                <a:lnTo>
                  <a:pt x="347" y="44"/>
                </a:lnTo>
                <a:lnTo>
                  <a:pt x="357" y="37"/>
                </a:lnTo>
                <a:lnTo>
                  <a:pt x="366" y="30"/>
                </a:lnTo>
                <a:lnTo>
                  <a:pt x="374" y="21"/>
                </a:lnTo>
                <a:lnTo>
                  <a:pt x="381" y="11"/>
                </a:lnTo>
                <a:lnTo>
                  <a:pt x="385" y="0"/>
                </a:lnTo>
              </a:path>
            </a:pathLst>
          </a:custGeom>
          <a:solidFill>
            <a:srgbClr val="007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513" name="Freeform 465"/>
          <p:cNvSpPr>
            <a:spLocks/>
          </p:cNvSpPr>
          <p:nvPr>
            <p:custDataLst>
              <p:tags r:id="rId303"/>
            </p:custDataLst>
          </p:nvPr>
        </p:nvSpPr>
        <p:spPr bwMode="auto">
          <a:xfrm>
            <a:off x="3798888" y="2494368"/>
            <a:ext cx="158750" cy="154781"/>
          </a:xfrm>
          <a:custGeom>
            <a:avLst/>
            <a:gdLst/>
            <a:ahLst/>
            <a:cxnLst>
              <a:cxn ang="0">
                <a:pos x="53" y="382"/>
              </a:cxn>
              <a:cxn ang="0">
                <a:pos x="53" y="358"/>
              </a:cxn>
              <a:cxn ang="0">
                <a:pos x="53" y="333"/>
              </a:cxn>
              <a:cxn ang="0">
                <a:pos x="50" y="312"/>
              </a:cxn>
              <a:cxn ang="0">
                <a:pos x="43" y="293"/>
              </a:cxn>
              <a:cxn ang="0">
                <a:pos x="35" y="277"/>
              </a:cxn>
              <a:cxn ang="0">
                <a:pos x="13" y="245"/>
              </a:cxn>
              <a:cxn ang="0">
                <a:pos x="0" y="185"/>
              </a:cxn>
              <a:cxn ang="0">
                <a:pos x="33" y="181"/>
              </a:cxn>
              <a:cxn ang="0">
                <a:pos x="40" y="169"/>
              </a:cxn>
              <a:cxn ang="0">
                <a:pos x="41" y="150"/>
              </a:cxn>
              <a:cxn ang="0">
                <a:pos x="38" y="107"/>
              </a:cxn>
              <a:cxn ang="0">
                <a:pos x="31" y="65"/>
              </a:cxn>
              <a:cxn ang="0">
                <a:pos x="32" y="47"/>
              </a:cxn>
              <a:cxn ang="0">
                <a:pos x="36" y="36"/>
              </a:cxn>
              <a:cxn ang="0">
                <a:pos x="120" y="31"/>
              </a:cxn>
              <a:cxn ang="0">
                <a:pos x="122" y="22"/>
              </a:cxn>
              <a:cxn ang="0">
                <a:pos x="128" y="14"/>
              </a:cxn>
              <a:cxn ang="0">
                <a:pos x="140" y="0"/>
              </a:cxn>
              <a:cxn ang="0">
                <a:pos x="142" y="18"/>
              </a:cxn>
              <a:cxn ang="0">
                <a:pos x="142" y="26"/>
              </a:cxn>
              <a:cxn ang="0">
                <a:pos x="140" y="31"/>
              </a:cxn>
              <a:cxn ang="0">
                <a:pos x="168" y="31"/>
              </a:cxn>
              <a:cxn ang="0">
                <a:pos x="186" y="31"/>
              </a:cxn>
              <a:cxn ang="0">
                <a:pos x="214" y="38"/>
              </a:cxn>
              <a:cxn ang="0">
                <a:pos x="233" y="49"/>
              </a:cxn>
              <a:cxn ang="0">
                <a:pos x="246" y="58"/>
              </a:cxn>
              <a:cxn ang="0">
                <a:pos x="259" y="61"/>
              </a:cxn>
              <a:cxn ang="0">
                <a:pos x="268" y="59"/>
              </a:cxn>
              <a:cxn ang="0">
                <a:pos x="275" y="54"/>
              </a:cxn>
              <a:cxn ang="0">
                <a:pos x="286" y="37"/>
              </a:cxn>
              <a:cxn ang="0">
                <a:pos x="312" y="52"/>
              </a:cxn>
              <a:cxn ang="0">
                <a:pos x="325" y="59"/>
              </a:cxn>
              <a:cxn ang="0">
                <a:pos x="338" y="61"/>
              </a:cxn>
              <a:cxn ang="0">
                <a:pos x="353" y="161"/>
              </a:cxn>
              <a:cxn ang="0">
                <a:pos x="338" y="185"/>
              </a:cxn>
              <a:cxn ang="0">
                <a:pos x="323" y="206"/>
              </a:cxn>
              <a:cxn ang="0">
                <a:pos x="315" y="224"/>
              </a:cxn>
              <a:cxn ang="0">
                <a:pos x="313" y="239"/>
              </a:cxn>
              <a:cxn ang="0">
                <a:pos x="313" y="255"/>
              </a:cxn>
              <a:cxn ang="0">
                <a:pos x="321" y="273"/>
              </a:cxn>
              <a:cxn ang="0">
                <a:pos x="331" y="293"/>
              </a:cxn>
              <a:cxn ang="0">
                <a:pos x="337" y="309"/>
              </a:cxn>
              <a:cxn ang="0">
                <a:pos x="337" y="321"/>
              </a:cxn>
              <a:cxn ang="0">
                <a:pos x="330" y="337"/>
              </a:cxn>
              <a:cxn ang="0">
                <a:pos x="326" y="351"/>
              </a:cxn>
              <a:cxn ang="0">
                <a:pos x="319" y="358"/>
              </a:cxn>
              <a:cxn ang="0">
                <a:pos x="308" y="356"/>
              </a:cxn>
              <a:cxn ang="0">
                <a:pos x="298" y="350"/>
              </a:cxn>
              <a:cxn ang="0">
                <a:pos x="287" y="340"/>
              </a:cxn>
              <a:cxn ang="0">
                <a:pos x="277" y="335"/>
              </a:cxn>
              <a:cxn ang="0">
                <a:pos x="266" y="333"/>
              </a:cxn>
              <a:cxn ang="0">
                <a:pos x="246" y="333"/>
              </a:cxn>
              <a:cxn ang="0">
                <a:pos x="221" y="336"/>
              </a:cxn>
              <a:cxn ang="0">
                <a:pos x="181" y="343"/>
              </a:cxn>
              <a:cxn ang="0">
                <a:pos x="131" y="359"/>
              </a:cxn>
              <a:cxn ang="0">
                <a:pos x="86" y="375"/>
              </a:cxn>
              <a:cxn ang="0">
                <a:pos x="53" y="394"/>
              </a:cxn>
            </a:cxnLst>
            <a:rect l="0" t="0" r="r" b="b"/>
            <a:pathLst>
              <a:path w="359" h="394">
                <a:moveTo>
                  <a:pt x="53" y="394"/>
                </a:moveTo>
                <a:lnTo>
                  <a:pt x="53" y="382"/>
                </a:lnTo>
                <a:lnTo>
                  <a:pt x="53" y="370"/>
                </a:lnTo>
                <a:lnTo>
                  <a:pt x="53" y="358"/>
                </a:lnTo>
                <a:lnTo>
                  <a:pt x="53" y="346"/>
                </a:lnTo>
                <a:lnTo>
                  <a:pt x="53" y="333"/>
                </a:lnTo>
                <a:lnTo>
                  <a:pt x="52" y="322"/>
                </a:lnTo>
                <a:lnTo>
                  <a:pt x="50" y="312"/>
                </a:lnTo>
                <a:lnTo>
                  <a:pt x="46" y="302"/>
                </a:lnTo>
                <a:lnTo>
                  <a:pt x="43" y="293"/>
                </a:lnTo>
                <a:lnTo>
                  <a:pt x="40" y="284"/>
                </a:lnTo>
                <a:lnTo>
                  <a:pt x="35" y="277"/>
                </a:lnTo>
                <a:lnTo>
                  <a:pt x="32" y="270"/>
                </a:lnTo>
                <a:lnTo>
                  <a:pt x="13" y="245"/>
                </a:lnTo>
                <a:lnTo>
                  <a:pt x="0" y="222"/>
                </a:lnTo>
                <a:lnTo>
                  <a:pt x="0" y="185"/>
                </a:lnTo>
                <a:lnTo>
                  <a:pt x="27" y="185"/>
                </a:lnTo>
                <a:lnTo>
                  <a:pt x="33" y="181"/>
                </a:lnTo>
                <a:lnTo>
                  <a:pt x="38" y="174"/>
                </a:lnTo>
                <a:lnTo>
                  <a:pt x="40" y="169"/>
                </a:lnTo>
                <a:lnTo>
                  <a:pt x="41" y="163"/>
                </a:lnTo>
                <a:lnTo>
                  <a:pt x="41" y="150"/>
                </a:lnTo>
                <a:lnTo>
                  <a:pt x="40" y="136"/>
                </a:lnTo>
                <a:lnTo>
                  <a:pt x="38" y="107"/>
                </a:lnTo>
                <a:lnTo>
                  <a:pt x="32" y="79"/>
                </a:lnTo>
                <a:lnTo>
                  <a:pt x="31" y="65"/>
                </a:lnTo>
                <a:lnTo>
                  <a:pt x="31" y="52"/>
                </a:lnTo>
                <a:lnTo>
                  <a:pt x="32" y="47"/>
                </a:lnTo>
                <a:lnTo>
                  <a:pt x="34" y="41"/>
                </a:lnTo>
                <a:lnTo>
                  <a:pt x="36" y="36"/>
                </a:lnTo>
                <a:lnTo>
                  <a:pt x="40" y="31"/>
                </a:lnTo>
                <a:lnTo>
                  <a:pt x="120" y="31"/>
                </a:lnTo>
                <a:lnTo>
                  <a:pt x="120" y="27"/>
                </a:lnTo>
                <a:lnTo>
                  <a:pt x="122" y="22"/>
                </a:lnTo>
                <a:lnTo>
                  <a:pt x="124" y="18"/>
                </a:lnTo>
                <a:lnTo>
                  <a:pt x="128" y="14"/>
                </a:lnTo>
                <a:lnTo>
                  <a:pt x="133" y="6"/>
                </a:lnTo>
                <a:lnTo>
                  <a:pt x="140" y="0"/>
                </a:lnTo>
                <a:lnTo>
                  <a:pt x="141" y="9"/>
                </a:lnTo>
                <a:lnTo>
                  <a:pt x="142" y="18"/>
                </a:lnTo>
                <a:lnTo>
                  <a:pt x="143" y="22"/>
                </a:lnTo>
                <a:lnTo>
                  <a:pt x="142" y="26"/>
                </a:lnTo>
                <a:lnTo>
                  <a:pt x="142" y="29"/>
                </a:lnTo>
                <a:lnTo>
                  <a:pt x="140" y="31"/>
                </a:lnTo>
                <a:lnTo>
                  <a:pt x="153" y="31"/>
                </a:lnTo>
                <a:lnTo>
                  <a:pt x="168" y="31"/>
                </a:lnTo>
                <a:lnTo>
                  <a:pt x="180" y="31"/>
                </a:lnTo>
                <a:lnTo>
                  <a:pt x="186" y="31"/>
                </a:lnTo>
                <a:lnTo>
                  <a:pt x="202" y="34"/>
                </a:lnTo>
                <a:lnTo>
                  <a:pt x="214" y="38"/>
                </a:lnTo>
                <a:lnTo>
                  <a:pt x="224" y="43"/>
                </a:lnTo>
                <a:lnTo>
                  <a:pt x="233" y="49"/>
                </a:lnTo>
                <a:lnTo>
                  <a:pt x="240" y="53"/>
                </a:lnTo>
                <a:lnTo>
                  <a:pt x="246" y="58"/>
                </a:lnTo>
                <a:lnTo>
                  <a:pt x="252" y="60"/>
                </a:lnTo>
                <a:lnTo>
                  <a:pt x="259" y="61"/>
                </a:lnTo>
                <a:lnTo>
                  <a:pt x="264" y="61"/>
                </a:lnTo>
                <a:lnTo>
                  <a:pt x="268" y="59"/>
                </a:lnTo>
                <a:lnTo>
                  <a:pt x="271" y="57"/>
                </a:lnTo>
                <a:lnTo>
                  <a:pt x="275" y="54"/>
                </a:lnTo>
                <a:lnTo>
                  <a:pt x="280" y="46"/>
                </a:lnTo>
                <a:lnTo>
                  <a:pt x="286" y="37"/>
                </a:lnTo>
                <a:lnTo>
                  <a:pt x="300" y="44"/>
                </a:lnTo>
                <a:lnTo>
                  <a:pt x="312" y="52"/>
                </a:lnTo>
                <a:lnTo>
                  <a:pt x="319" y="55"/>
                </a:lnTo>
                <a:lnTo>
                  <a:pt x="325" y="59"/>
                </a:lnTo>
                <a:lnTo>
                  <a:pt x="332" y="61"/>
                </a:lnTo>
                <a:lnTo>
                  <a:pt x="338" y="61"/>
                </a:lnTo>
                <a:lnTo>
                  <a:pt x="359" y="148"/>
                </a:lnTo>
                <a:lnTo>
                  <a:pt x="353" y="161"/>
                </a:lnTo>
                <a:lnTo>
                  <a:pt x="346" y="173"/>
                </a:lnTo>
                <a:lnTo>
                  <a:pt x="338" y="185"/>
                </a:lnTo>
                <a:lnTo>
                  <a:pt x="331" y="195"/>
                </a:lnTo>
                <a:lnTo>
                  <a:pt x="323" y="206"/>
                </a:lnTo>
                <a:lnTo>
                  <a:pt x="318" y="218"/>
                </a:lnTo>
                <a:lnTo>
                  <a:pt x="315" y="224"/>
                </a:lnTo>
                <a:lnTo>
                  <a:pt x="314" y="231"/>
                </a:lnTo>
                <a:lnTo>
                  <a:pt x="313" y="239"/>
                </a:lnTo>
                <a:lnTo>
                  <a:pt x="312" y="247"/>
                </a:lnTo>
                <a:lnTo>
                  <a:pt x="313" y="255"/>
                </a:lnTo>
                <a:lnTo>
                  <a:pt x="316" y="263"/>
                </a:lnTo>
                <a:lnTo>
                  <a:pt x="321" y="273"/>
                </a:lnTo>
                <a:lnTo>
                  <a:pt x="325" y="283"/>
                </a:lnTo>
                <a:lnTo>
                  <a:pt x="331" y="293"/>
                </a:lnTo>
                <a:lnTo>
                  <a:pt x="335" y="302"/>
                </a:lnTo>
                <a:lnTo>
                  <a:pt x="337" y="309"/>
                </a:lnTo>
                <a:lnTo>
                  <a:pt x="338" y="315"/>
                </a:lnTo>
                <a:lnTo>
                  <a:pt x="337" y="321"/>
                </a:lnTo>
                <a:lnTo>
                  <a:pt x="332" y="331"/>
                </a:lnTo>
                <a:lnTo>
                  <a:pt x="330" y="337"/>
                </a:lnTo>
                <a:lnTo>
                  <a:pt x="327" y="343"/>
                </a:lnTo>
                <a:lnTo>
                  <a:pt x="326" y="351"/>
                </a:lnTo>
                <a:lnTo>
                  <a:pt x="325" y="358"/>
                </a:lnTo>
                <a:lnTo>
                  <a:pt x="319" y="358"/>
                </a:lnTo>
                <a:lnTo>
                  <a:pt x="313" y="357"/>
                </a:lnTo>
                <a:lnTo>
                  <a:pt x="308" y="356"/>
                </a:lnTo>
                <a:lnTo>
                  <a:pt x="304" y="354"/>
                </a:lnTo>
                <a:lnTo>
                  <a:pt x="298" y="350"/>
                </a:lnTo>
                <a:lnTo>
                  <a:pt x="292" y="346"/>
                </a:lnTo>
                <a:lnTo>
                  <a:pt x="287" y="340"/>
                </a:lnTo>
                <a:lnTo>
                  <a:pt x="280" y="336"/>
                </a:lnTo>
                <a:lnTo>
                  <a:pt x="277" y="335"/>
                </a:lnTo>
                <a:lnTo>
                  <a:pt x="271" y="334"/>
                </a:lnTo>
                <a:lnTo>
                  <a:pt x="266" y="333"/>
                </a:lnTo>
                <a:lnTo>
                  <a:pt x="259" y="333"/>
                </a:lnTo>
                <a:lnTo>
                  <a:pt x="246" y="333"/>
                </a:lnTo>
                <a:lnTo>
                  <a:pt x="234" y="334"/>
                </a:lnTo>
                <a:lnTo>
                  <a:pt x="221" y="336"/>
                </a:lnTo>
                <a:lnTo>
                  <a:pt x="208" y="338"/>
                </a:lnTo>
                <a:lnTo>
                  <a:pt x="181" y="343"/>
                </a:lnTo>
                <a:lnTo>
                  <a:pt x="155" y="351"/>
                </a:lnTo>
                <a:lnTo>
                  <a:pt x="131" y="359"/>
                </a:lnTo>
                <a:lnTo>
                  <a:pt x="107" y="367"/>
                </a:lnTo>
                <a:lnTo>
                  <a:pt x="86" y="375"/>
                </a:lnTo>
                <a:lnTo>
                  <a:pt x="66" y="382"/>
                </a:lnTo>
                <a:lnTo>
                  <a:pt x="53" y="39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514" name="Freeform 466"/>
          <p:cNvSpPr>
            <a:spLocks/>
          </p:cNvSpPr>
          <p:nvPr>
            <p:custDataLst>
              <p:tags r:id="rId304"/>
            </p:custDataLst>
          </p:nvPr>
        </p:nvSpPr>
        <p:spPr bwMode="auto">
          <a:xfrm>
            <a:off x="4867275" y="2640811"/>
            <a:ext cx="192088" cy="203597"/>
          </a:xfrm>
          <a:custGeom>
            <a:avLst/>
            <a:gdLst/>
            <a:ahLst/>
            <a:cxnLst>
              <a:cxn ang="0">
                <a:pos x="410" y="105"/>
              </a:cxn>
              <a:cxn ang="0">
                <a:pos x="405" y="98"/>
              </a:cxn>
              <a:cxn ang="0">
                <a:pos x="408" y="92"/>
              </a:cxn>
              <a:cxn ang="0">
                <a:pos x="422" y="77"/>
              </a:cxn>
              <a:cxn ang="0">
                <a:pos x="441" y="60"/>
              </a:cxn>
              <a:cxn ang="0">
                <a:pos x="447" y="50"/>
              </a:cxn>
              <a:cxn ang="0">
                <a:pos x="449" y="37"/>
              </a:cxn>
              <a:cxn ang="0">
                <a:pos x="432" y="34"/>
              </a:cxn>
              <a:cxn ang="0">
                <a:pos x="422" y="27"/>
              </a:cxn>
              <a:cxn ang="0">
                <a:pos x="411" y="21"/>
              </a:cxn>
              <a:cxn ang="0">
                <a:pos x="390" y="18"/>
              </a:cxn>
              <a:cxn ang="0">
                <a:pos x="377" y="20"/>
              </a:cxn>
              <a:cxn ang="0">
                <a:pos x="368" y="24"/>
              </a:cxn>
              <a:cxn ang="0">
                <a:pos x="355" y="37"/>
              </a:cxn>
              <a:cxn ang="0">
                <a:pos x="340" y="50"/>
              </a:cxn>
              <a:cxn ang="0">
                <a:pos x="326" y="54"/>
              </a:cxn>
              <a:cxn ang="0">
                <a:pos x="310" y="55"/>
              </a:cxn>
              <a:cxn ang="0">
                <a:pos x="287" y="54"/>
              </a:cxn>
              <a:cxn ang="0">
                <a:pos x="267" y="50"/>
              </a:cxn>
              <a:cxn ang="0">
                <a:pos x="235" y="36"/>
              </a:cxn>
              <a:cxn ang="0">
                <a:pos x="206" y="19"/>
              </a:cxn>
              <a:cxn ang="0">
                <a:pos x="189" y="12"/>
              </a:cxn>
              <a:cxn ang="0">
                <a:pos x="170" y="6"/>
              </a:cxn>
              <a:cxn ang="0">
                <a:pos x="134" y="8"/>
              </a:cxn>
              <a:cxn ang="0">
                <a:pos x="119" y="6"/>
              </a:cxn>
              <a:cxn ang="0">
                <a:pos x="103" y="0"/>
              </a:cxn>
              <a:cxn ang="0">
                <a:pos x="52" y="0"/>
              </a:cxn>
              <a:cxn ang="0">
                <a:pos x="5" y="0"/>
              </a:cxn>
              <a:cxn ang="0">
                <a:pos x="5" y="18"/>
              </a:cxn>
              <a:cxn ang="0">
                <a:pos x="5" y="37"/>
              </a:cxn>
              <a:cxn ang="0">
                <a:pos x="15" y="60"/>
              </a:cxn>
              <a:cxn ang="0">
                <a:pos x="23" y="91"/>
              </a:cxn>
              <a:cxn ang="0">
                <a:pos x="31" y="128"/>
              </a:cxn>
              <a:cxn ang="0">
                <a:pos x="38" y="172"/>
              </a:cxn>
              <a:cxn ang="0">
                <a:pos x="37" y="206"/>
              </a:cxn>
              <a:cxn ang="0">
                <a:pos x="29" y="230"/>
              </a:cxn>
              <a:cxn ang="0">
                <a:pos x="7" y="269"/>
              </a:cxn>
              <a:cxn ang="0">
                <a:pos x="10" y="321"/>
              </a:cxn>
              <a:cxn ang="0">
                <a:pos x="28" y="339"/>
              </a:cxn>
              <a:cxn ang="0">
                <a:pos x="84" y="367"/>
              </a:cxn>
              <a:cxn ang="0">
                <a:pos x="136" y="396"/>
              </a:cxn>
              <a:cxn ang="0">
                <a:pos x="170" y="420"/>
              </a:cxn>
              <a:cxn ang="0">
                <a:pos x="189" y="436"/>
              </a:cxn>
              <a:cxn ang="0">
                <a:pos x="198" y="451"/>
              </a:cxn>
              <a:cxn ang="0">
                <a:pos x="201" y="464"/>
              </a:cxn>
              <a:cxn ang="0">
                <a:pos x="209" y="479"/>
              </a:cxn>
              <a:cxn ang="0">
                <a:pos x="220" y="492"/>
              </a:cxn>
              <a:cxn ang="0">
                <a:pos x="233" y="503"/>
              </a:cxn>
              <a:cxn ang="0">
                <a:pos x="247" y="512"/>
              </a:cxn>
              <a:cxn ang="0">
                <a:pos x="264" y="519"/>
              </a:cxn>
              <a:cxn ang="0">
                <a:pos x="281" y="523"/>
              </a:cxn>
              <a:cxn ang="0">
                <a:pos x="304" y="502"/>
              </a:cxn>
              <a:cxn ang="0">
                <a:pos x="335" y="462"/>
              </a:cxn>
              <a:cxn ang="0">
                <a:pos x="365" y="427"/>
              </a:cxn>
              <a:cxn ang="0">
                <a:pos x="394" y="390"/>
              </a:cxn>
            </a:cxnLst>
            <a:rect l="0" t="0" r="r" b="b"/>
            <a:pathLst>
              <a:path w="449" h="523">
                <a:moveTo>
                  <a:pt x="410" y="370"/>
                </a:moveTo>
                <a:lnTo>
                  <a:pt x="410" y="105"/>
                </a:lnTo>
                <a:lnTo>
                  <a:pt x="407" y="102"/>
                </a:lnTo>
                <a:lnTo>
                  <a:pt x="405" y="98"/>
                </a:lnTo>
                <a:lnTo>
                  <a:pt x="405" y="95"/>
                </a:lnTo>
                <a:lnTo>
                  <a:pt x="408" y="92"/>
                </a:lnTo>
                <a:lnTo>
                  <a:pt x="413" y="84"/>
                </a:lnTo>
                <a:lnTo>
                  <a:pt x="422" y="77"/>
                </a:lnTo>
                <a:lnTo>
                  <a:pt x="432" y="70"/>
                </a:lnTo>
                <a:lnTo>
                  <a:pt x="441" y="60"/>
                </a:lnTo>
                <a:lnTo>
                  <a:pt x="444" y="55"/>
                </a:lnTo>
                <a:lnTo>
                  <a:pt x="447" y="50"/>
                </a:lnTo>
                <a:lnTo>
                  <a:pt x="448" y="44"/>
                </a:lnTo>
                <a:lnTo>
                  <a:pt x="449" y="37"/>
                </a:lnTo>
                <a:lnTo>
                  <a:pt x="438" y="37"/>
                </a:lnTo>
                <a:lnTo>
                  <a:pt x="432" y="34"/>
                </a:lnTo>
                <a:lnTo>
                  <a:pt x="426" y="32"/>
                </a:lnTo>
                <a:lnTo>
                  <a:pt x="422" y="27"/>
                </a:lnTo>
                <a:lnTo>
                  <a:pt x="418" y="24"/>
                </a:lnTo>
                <a:lnTo>
                  <a:pt x="411" y="21"/>
                </a:lnTo>
                <a:lnTo>
                  <a:pt x="402" y="19"/>
                </a:lnTo>
                <a:lnTo>
                  <a:pt x="390" y="18"/>
                </a:lnTo>
                <a:lnTo>
                  <a:pt x="382" y="19"/>
                </a:lnTo>
                <a:lnTo>
                  <a:pt x="377" y="20"/>
                </a:lnTo>
                <a:lnTo>
                  <a:pt x="371" y="22"/>
                </a:lnTo>
                <a:lnTo>
                  <a:pt x="368" y="24"/>
                </a:lnTo>
                <a:lnTo>
                  <a:pt x="360" y="31"/>
                </a:lnTo>
                <a:lnTo>
                  <a:pt x="355" y="37"/>
                </a:lnTo>
                <a:lnTo>
                  <a:pt x="348" y="44"/>
                </a:lnTo>
                <a:lnTo>
                  <a:pt x="340" y="50"/>
                </a:lnTo>
                <a:lnTo>
                  <a:pt x="333" y="52"/>
                </a:lnTo>
                <a:lnTo>
                  <a:pt x="326" y="54"/>
                </a:lnTo>
                <a:lnTo>
                  <a:pt x="319" y="55"/>
                </a:lnTo>
                <a:lnTo>
                  <a:pt x="310" y="55"/>
                </a:lnTo>
                <a:lnTo>
                  <a:pt x="298" y="55"/>
                </a:lnTo>
                <a:lnTo>
                  <a:pt x="287" y="54"/>
                </a:lnTo>
                <a:lnTo>
                  <a:pt x="277" y="52"/>
                </a:lnTo>
                <a:lnTo>
                  <a:pt x="267" y="50"/>
                </a:lnTo>
                <a:lnTo>
                  <a:pt x="251" y="43"/>
                </a:lnTo>
                <a:lnTo>
                  <a:pt x="235" y="36"/>
                </a:lnTo>
                <a:lnTo>
                  <a:pt x="220" y="27"/>
                </a:lnTo>
                <a:lnTo>
                  <a:pt x="206" y="19"/>
                </a:lnTo>
                <a:lnTo>
                  <a:pt x="197" y="15"/>
                </a:lnTo>
                <a:lnTo>
                  <a:pt x="189" y="12"/>
                </a:lnTo>
                <a:lnTo>
                  <a:pt x="180" y="9"/>
                </a:lnTo>
                <a:lnTo>
                  <a:pt x="170" y="6"/>
                </a:lnTo>
                <a:lnTo>
                  <a:pt x="152" y="7"/>
                </a:lnTo>
                <a:lnTo>
                  <a:pt x="134" y="8"/>
                </a:lnTo>
                <a:lnTo>
                  <a:pt x="127" y="7"/>
                </a:lnTo>
                <a:lnTo>
                  <a:pt x="119" y="6"/>
                </a:lnTo>
                <a:lnTo>
                  <a:pt x="111" y="4"/>
                </a:lnTo>
                <a:lnTo>
                  <a:pt x="103" y="0"/>
                </a:lnTo>
                <a:lnTo>
                  <a:pt x="80" y="0"/>
                </a:lnTo>
                <a:lnTo>
                  <a:pt x="52" y="0"/>
                </a:lnTo>
                <a:lnTo>
                  <a:pt x="24" y="0"/>
                </a:lnTo>
                <a:lnTo>
                  <a:pt x="5" y="0"/>
                </a:lnTo>
                <a:lnTo>
                  <a:pt x="5" y="7"/>
                </a:lnTo>
                <a:lnTo>
                  <a:pt x="5" y="18"/>
                </a:lnTo>
                <a:lnTo>
                  <a:pt x="5" y="29"/>
                </a:lnTo>
                <a:lnTo>
                  <a:pt x="5" y="37"/>
                </a:lnTo>
                <a:lnTo>
                  <a:pt x="9" y="47"/>
                </a:lnTo>
                <a:lnTo>
                  <a:pt x="15" y="60"/>
                </a:lnTo>
                <a:lnTo>
                  <a:pt x="19" y="74"/>
                </a:lnTo>
                <a:lnTo>
                  <a:pt x="23" y="91"/>
                </a:lnTo>
                <a:lnTo>
                  <a:pt x="28" y="109"/>
                </a:lnTo>
                <a:lnTo>
                  <a:pt x="31" y="128"/>
                </a:lnTo>
                <a:lnTo>
                  <a:pt x="34" y="150"/>
                </a:lnTo>
                <a:lnTo>
                  <a:pt x="38" y="172"/>
                </a:lnTo>
                <a:lnTo>
                  <a:pt x="38" y="190"/>
                </a:lnTo>
                <a:lnTo>
                  <a:pt x="37" y="206"/>
                </a:lnTo>
                <a:lnTo>
                  <a:pt x="33" y="219"/>
                </a:lnTo>
                <a:lnTo>
                  <a:pt x="29" y="230"/>
                </a:lnTo>
                <a:lnTo>
                  <a:pt x="18" y="249"/>
                </a:lnTo>
                <a:lnTo>
                  <a:pt x="7" y="269"/>
                </a:lnTo>
                <a:lnTo>
                  <a:pt x="17" y="284"/>
                </a:lnTo>
                <a:lnTo>
                  <a:pt x="10" y="321"/>
                </a:lnTo>
                <a:lnTo>
                  <a:pt x="0" y="328"/>
                </a:lnTo>
                <a:lnTo>
                  <a:pt x="28" y="339"/>
                </a:lnTo>
                <a:lnTo>
                  <a:pt x="55" y="352"/>
                </a:lnTo>
                <a:lnTo>
                  <a:pt x="84" y="367"/>
                </a:lnTo>
                <a:lnTo>
                  <a:pt x="111" y="381"/>
                </a:lnTo>
                <a:lnTo>
                  <a:pt x="136" y="396"/>
                </a:lnTo>
                <a:lnTo>
                  <a:pt x="159" y="411"/>
                </a:lnTo>
                <a:lnTo>
                  <a:pt x="170" y="420"/>
                </a:lnTo>
                <a:lnTo>
                  <a:pt x="180" y="428"/>
                </a:lnTo>
                <a:lnTo>
                  <a:pt x="189" y="436"/>
                </a:lnTo>
                <a:lnTo>
                  <a:pt x="197" y="444"/>
                </a:lnTo>
                <a:lnTo>
                  <a:pt x="198" y="451"/>
                </a:lnTo>
                <a:lnTo>
                  <a:pt x="199" y="457"/>
                </a:lnTo>
                <a:lnTo>
                  <a:pt x="201" y="464"/>
                </a:lnTo>
                <a:lnTo>
                  <a:pt x="205" y="471"/>
                </a:lnTo>
                <a:lnTo>
                  <a:pt x="209" y="479"/>
                </a:lnTo>
                <a:lnTo>
                  <a:pt x="214" y="486"/>
                </a:lnTo>
                <a:lnTo>
                  <a:pt x="220" y="492"/>
                </a:lnTo>
                <a:lnTo>
                  <a:pt x="226" y="498"/>
                </a:lnTo>
                <a:lnTo>
                  <a:pt x="233" y="503"/>
                </a:lnTo>
                <a:lnTo>
                  <a:pt x="240" y="508"/>
                </a:lnTo>
                <a:lnTo>
                  <a:pt x="247" y="512"/>
                </a:lnTo>
                <a:lnTo>
                  <a:pt x="256" y="516"/>
                </a:lnTo>
                <a:lnTo>
                  <a:pt x="264" y="519"/>
                </a:lnTo>
                <a:lnTo>
                  <a:pt x="273" y="521"/>
                </a:lnTo>
                <a:lnTo>
                  <a:pt x="281" y="523"/>
                </a:lnTo>
                <a:lnTo>
                  <a:pt x="290" y="523"/>
                </a:lnTo>
                <a:lnTo>
                  <a:pt x="304" y="502"/>
                </a:lnTo>
                <a:lnTo>
                  <a:pt x="320" y="482"/>
                </a:lnTo>
                <a:lnTo>
                  <a:pt x="335" y="462"/>
                </a:lnTo>
                <a:lnTo>
                  <a:pt x="349" y="444"/>
                </a:lnTo>
                <a:lnTo>
                  <a:pt x="365" y="427"/>
                </a:lnTo>
                <a:lnTo>
                  <a:pt x="379" y="408"/>
                </a:lnTo>
                <a:lnTo>
                  <a:pt x="394" y="390"/>
                </a:lnTo>
                <a:lnTo>
                  <a:pt x="410" y="37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515" name="Freeform 467"/>
          <p:cNvSpPr>
            <a:spLocks/>
          </p:cNvSpPr>
          <p:nvPr>
            <p:custDataLst>
              <p:tags r:id="rId305"/>
            </p:custDataLst>
          </p:nvPr>
        </p:nvSpPr>
        <p:spPr bwMode="auto">
          <a:xfrm>
            <a:off x="4849814" y="1955016"/>
            <a:ext cx="101600" cy="97631"/>
          </a:xfrm>
          <a:custGeom>
            <a:avLst/>
            <a:gdLst/>
            <a:ahLst/>
            <a:cxnLst>
              <a:cxn ang="0">
                <a:pos x="12" y="228"/>
              </a:cxn>
              <a:cxn ang="0">
                <a:pos x="36" y="240"/>
              </a:cxn>
              <a:cxn ang="0">
                <a:pos x="53" y="245"/>
              </a:cxn>
              <a:cxn ang="0">
                <a:pos x="68" y="245"/>
              </a:cxn>
              <a:cxn ang="0">
                <a:pos x="85" y="241"/>
              </a:cxn>
              <a:cxn ang="0">
                <a:pos x="110" y="228"/>
              </a:cxn>
              <a:cxn ang="0">
                <a:pos x="141" y="205"/>
              </a:cxn>
              <a:cxn ang="0">
                <a:pos x="161" y="184"/>
              </a:cxn>
              <a:cxn ang="0">
                <a:pos x="159" y="173"/>
              </a:cxn>
              <a:cxn ang="0">
                <a:pos x="149" y="160"/>
              </a:cxn>
              <a:cxn ang="0">
                <a:pos x="143" y="145"/>
              </a:cxn>
              <a:cxn ang="0">
                <a:pos x="141" y="130"/>
              </a:cxn>
              <a:cxn ang="0">
                <a:pos x="141" y="116"/>
              </a:cxn>
              <a:cxn ang="0">
                <a:pos x="146" y="105"/>
              </a:cxn>
              <a:cxn ang="0">
                <a:pos x="156" y="94"/>
              </a:cxn>
              <a:cxn ang="0">
                <a:pos x="168" y="86"/>
              </a:cxn>
              <a:cxn ang="0">
                <a:pos x="204" y="71"/>
              </a:cxn>
              <a:cxn ang="0">
                <a:pos x="225" y="49"/>
              </a:cxn>
              <a:cxn ang="0">
                <a:pos x="221" y="30"/>
              </a:cxn>
              <a:cxn ang="0">
                <a:pos x="214" y="17"/>
              </a:cxn>
              <a:cxn ang="0">
                <a:pos x="212" y="6"/>
              </a:cxn>
              <a:cxn ang="0">
                <a:pos x="202" y="1"/>
              </a:cxn>
              <a:cxn ang="0">
                <a:pos x="181" y="7"/>
              </a:cxn>
              <a:cxn ang="0">
                <a:pos x="154" y="20"/>
              </a:cxn>
              <a:cxn ang="0">
                <a:pos x="121" y="38"/>
              </a:cxn>
              <a:cxn ang="0">
                <a:pos x="100" y="51"/>
              </a:cxn>
              <a:cxn ang="0">
                <a:pos x="87" y="55"/>
              </a:cxn>
              <a:cxn ang="0">
                <a:pos x="75" y="54"/>
              </a:cxn>
              <a:cxn ang="0">
                <a:pos x="59" y="47"/>
              </a:cxn>
              <a:cxn ang="0">
                <a:pos x="36" y="31"/>
              </a:cxn>
              <a:cxn ang="0">
                <a:pos x="24" y="39"/>
              </a:cxn>
              <a:cxn ang="0">
                <a:pos x="18" y="95"/>
              </a:cxn>
              <a:cxn ang="0">
                <a:pos x="10" y="163"/>
              </a:cxn>
              <a:cxn ang="0">
                <a:pos x="3" y="212"/>
              </a:cxn>
            </a:cxnLst>
            <a:rect l="0" t="0" r="r" b="b"/>
            <a:pathLst>
              <a:path w="226" h="246">
                <a:moveTo>
                  <a:pt x="0" y="221"/>
                </a:moveTo>
                <a:lnTo>
                  <a:pt x="12" y="228"/>
                </a:lnTo>
                <a:lnTo>
                  <a:pt x="27" y="236"/>
                </a:lnTo>
                <a:lnTo>
                  <a:pt x="36" y="240"/>
                </a:lnTo>
                <a:lnTo>
                  <a:pt x="44" y="243"/>
                </a:lnTo>
                <a:lnTo>
                  <a:pt x="53" y="245"/>
                </a:lnTo>
                <a:lnTo>
                  <a:pt x="60" y="246"/>
                </a:lnTo>
                <a:lnTo>
                  <a:pt x="68" y="245"/>
                </a:lnTo>
                <a:lnTo>
                  <a:pt x="76" y="243"/>
                </a:lnTo>
                <a:lnTo>
                  <a:pt x="85" y="241"/>
                </a:lnTo>
                <a:lnTo>
                  <a:pt x="92" y="237"/>
                </a:lnTo>
                <a:lnTo>
                  <a:pt x="110" y="228"/>
                </a:lnTo>
                <a:lnTo>
                  <a:pt x="126" y="217"/>
                </a:lnTo>
                <a:lnTo>
                  <a:pt x="141" y="205"/>
                </a:lnTo>
                <a:lnTo>
                  <a:pt x="153" y="194"/>
                </a:lnTo>
                <a:lnTo>
                  <a:pt x="161" y="184"/>
                </a:lnTo>
                <a:lnTo>
                  <a:pt x="167" y="178"/>
                </a:lnTo>
                <a:lnTo>
                  <a:pt x="159" y="173"/>
                </a:lnTo>
                <a:lnTo>
                  <a:pt x="154" y="167"/>
                </a:lnTo>
                <a:lnTo>
                  <a:pt x="149" y="160"/>
                </a:lnTo>
                <a:lnTo>
                  <a:pt x="146" y="152"/>
                </a:lnTo>
                <a:lnTo>
                  <a:pt x="143" y="145"/>
                </a:lnTo>
                <a:lnTo>
                  <a:pt x="142" y="137"/>
                </a:lnTo>
                <a:lnTo>
                  <a:pt x="141" y="130"/>
                </a:lnTo>
                <a:lnTo>
                  <a:pt x="139" y="123"/>
                </a:lnTo>
                <a:lnTo>
                  <a:pt x="141" y="116"/>
                </a:lnTo>
                <a:lnTo>
                  <a:pt x="143" y="110"/>
                </a:lnTo>
                <a:lnTo>
                  <a:pt x="146" y="105"/>
                </a:lnTo>
                <a:lnTo>
                  <a:pt x="150" y="100"/>
                </a:lnTo>
                <a:lnTo>
                  <a:pt x="156" y="94"/>
                </a:lnTo>
                <a:lnTo>
                  <a:pt x="161" y="90"/>
                </a:lnTo>
                <a:lnTo>
                  <a:pt x="168" y="86"/>
                </a:lnTo>
                <a:lnTo>
                  <a:pt x="176" y="82"/>
                </a:lnTo>
                <a:lnTo>
                  <a:pt x="204" y="71"/>
                </a:lnTo>
                <a:lnTo>
                  <a:pt x="226" y="61"/>
                </a:lnTo>
                <a:lnTo>
                  <a:pt x="225" y="49"/>
                </a:lnTo>
                <a:lnTo>
                  <a:pt x="223" y="38"/>
                </a:lnTo>
                <a:lnTo>
                  <a:pt x="221" y="30"/>
                </a:lnTo>
                <a:lnTo>
                  <a:pt x="217" y="23"/>
                </a:lnTo>
                <a:lnTo>
                  <a:pt x="214" y="17"/>
                </a:lnTo>
                <a:lnTo>
                  <a:pt x="212" y="12"/>
                </a:lnTo>
                <a:lnTo>
                  <a:pt x="212" y="6"/>
                </a:lnTo>
                <a:lnTo>
                  <a:pt x="213" y="0"/>
                </a:lnTo>
                <a:lnTo>
                  <a:pt x="202" y="1"/>
                </a:lnTo>
                <a:lnTo>
                  <a:pt x="191" y="4"/>
                </a:lnTo>
                <a:lnTo>
                  <a:pt x="181" y="7"/>
                </a:lnTo>
                <a:lnTo>
                  <a:pt x="171" y="11"/>
                </a:lnTo>
                <a:lnTo>
                  <a:pt x="154" y="20"/>
                </a:lnTo>
                <a:lnTo>
                  <a:pt x="136" y="29"/>
                </a:lnTo>
                <a:lnTo>
                  <a:pt x="121" y="38"/>
                </a:lnTo>
                <a:lnTo>
                  <a:pt x="107" y="47"/>
                </a:lnTo>
                <a:lnTo>
                  <a:pt x="100" y="51"/>
                </a:lnTo>
                <a:lnTo>
                  <a:pt x="93" y="53"/>
                </a:lnTo>
                <a:lnTo>
                  <a:pt x="87" y="55"/>
                </a:lnTo>
                <a:lnTo>
                  <a:pt x="80" y="55"/>
                </a:lnTo>
                <a:lnTo>
                  <a:pt x="75" y="54"/>
                </a:lnTo>
                <a:lnTo>
                  <a:pt x="67" y="51"/>
                </a:lnTo>
                <a:lnTo>
                  <a:pt x="59" y="47"/>
                </a:lnTo>
                <a:lnTo>
                  <a:pt x="51" y="41"/>
                </a:lnTo>
                <a:lnTo>
                  <a:pt x="36" y="31"/>
                </a:lnTo>
                <a:lnTo>
                  <a:pt x="27" y="24"/>
                </a:lnTo>
                <a:lnTo>
                  <a:pt x="24" y="39"/>
                </a:lnTo>
                <a:lnTo>
                  <a:pt x="21" y="64"/>
                </a:lnTo>
                <a:lnTo>
                  <a:pt x="18" y="95"/>
                </a:lnTo>
                <a:lnTo>
                  <a:pt x="13" y="129"/>
                </a:lnTo>
                <a:lnTo>
                  <a:pt x="10" y="163"/>
                </a:lnTo>
                <a:lnTo>
                  <a:pt x="7" y="191"/>
                </a:lnTo>
                <a:lnTo>
                  <a:pt x="3" y="212"/>
                </a:lnTo>
                <a:lnTo>
                  <a:pt x="0" y="22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516" name="Freeform 468"/>
          <p:cNvSpPr>
            <a:spLocks/>
          </p:cNvSpPr>
          <p:nvPr>
            <p:custDataLst>
              <p:tags r:id="rId306"/>
            </p:custDataLst>
          </p:nvPr>
        </p:nvSpPr>
        <p:spPr bwMode="auto">
          <a:xfrm>
            <a:off x="5148270" y="2032401"/>
            <a:ext cx="22225" cy="41672"/>
          </a:xfrm>
          <a:custGeom>
            <a:avLst/>
            <a:gdLst/>
            <a:ahLst/>
            <a:cxnLst>
              <a:cxn ang="0">
                <a:pos x="27" y="0"/>
              </a:cxn>
              <a:cxn ang="0">
                <a:pos x="29" y="2"/>
              </a:cxn>
              <a:cxn ang="0">
                <a:pos x="32" y="3"/>
              </a:cxn>
              <a:cxn ang="0">
                <a:pos x="36" y="3"/>
              </a:cxn>
              <a:cxn ang="0">
                <a:pos x="40" y="2"/>
              </a:cxn>
              <a:cxn ang="0">
                <a:pos x="47" y="1"/>
              </a:cxn>
              <a:cxn ang="0">
                <a:pos x="53" y="0"/>
              </a:cxn>
              <a:cxn ang="0">
                <a:pos x="53" y="26"/>
              </a:cxn>
              <a:cxn ang="0">
                <a:pos x="54" y="47"/>
              </a:cxn>
              <a:cxn ang="0">
                <a:pos x="54" y="57"/>
              </a:cxn>
              <a:cxn ang="0">
                <a:pos x="56" y="65"/>
              </a:cxn>
              <a:cxn ang="0">
                <a:pos x="58" y="73"/>
              </a:cxn>
              <a:cxn ang="0">
                <a:pos x="60" y="81"/>
              </a:cxn>
              <a:cxn ang="0">
                <a:pos x="20" y="81"/>
              </a:cxn>
              <a:cxn ang="0">
                <a:pos x="14" y="80"/>
              </a:cxn>
              <a:cxn ang="0">
                <a:pos x="7" y="77"/>
              </a:cxn>
              <a:cxn ang="0">
                <a:pos x="5" y="74"/>
              </a:cxn>
              <a:cxn ang="0">
                <a:pos x="2" y="72"/>
              </a:cxn>
              <a:cxn ang="0">
                <a:pos x="1" y="70"/>
              </a:cxn>
              <a:cxn ang="0">
                <a:pos x="0" y="68"/>
              </a:cxn>
              <a:cxn ang="0">
                <a:pos x="7" y="12"/>
              </a:cxn>
              <a:cxn ang="0">
                <a:pos x="20" y="6"/>
              </a:cxn>
              <a:cxn ang="0">
                <a:pos x="34" y="0"/>
              </a:cxn>
              <a:cxn ang="0">
                <a:pos x="27" y="0"/>
              </a:cxn>
            </a:cxnLst>
            <a:rect l="0" t="0" r="r" b="b"/>
            <a:pathLst>
              <a:path w="60" h="81">
                <a:moveTo>
                  <a:pt x="27" y="0"/>
                </a:moveTo>
                <a:lnTo>
                  <a:pt x="29" y="2"/>
                </a:lnTo>
                <a:lnTo>
                  <a:pt x="32" y="3"/>
                </a:lnTo>
                <a:lnTo>
                  <a:pt x="36" y="3"/>
                </a:lnTo>
                <a:lnTo>
                  <a:pt x="40" y="2"/>
                </a:lnTo>
                <a:lnTo>
                  <a:pt x="47" y="1"/>
                </a:lnTo>
                <a:lnTo>
                  <a:pt x="53" y="0"/>
                </a:lnTo>
                <a:lnTo>
                  <a:pt x="53" y="26"/>
                </a:lnTo>
                <a:lnTo>
                  <a:pt x="54" y="47"/>
                </a:lnTo>
                <a:lnTo>
                  <a:pt x="54" y="57"/>
                </a:lnTo>
                <a:lnTo>
                  <a:pt x="56" y="65"/>
                </a:lnTo>
                <a:lnTo>
                  <a:pt x="58" y="73"/>
                </a:lnTo>
                <a:lnTo>
                  <a:pt x="60" y="81"/>
                </a:lnTo>
                <a:lnTo>
                  <a:pt x="20" y="81"/>
                </a:lnTo>
                <a:lnTo>
                  <a:pt x="14" y="80"/>
                </a:lnTo>
                <a:lnTo>
                  <a:pt x="7" y="77"/>
                </a:lnTo>
                <a:lnTo>
                  <a:pt x="5" y="74"/>
                </a:lnTo>
                <a:lnTo>
                  <a:pt x="2" y="72"/>
                </a:lnTo>
                <a:lnTo>
                  <a:pt x="1" y="70"/>
                </a:lnTo>
                <a:lnTo>
                  <a:pt x="0" y="68"/>
                </a:lnTo>
                <a:lnTo>
                  <a:pt x="7" y="12"/>
                </a:lnTo>
                <a:lnTo>
                  <a:pt x="20" y="6"/>
                </a:lnTo>
                <a:lnTo>
                  <a:pt x="34" y="0"/>
                </a:lnTo>
                <a:lnTo>
                  <a:pt x="2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517" name="Freeform 469"/>
          <p:cNvSpPr>
            <a:spLocks/>
          </p:cNvSpPr>
          <p:nvPr>
            <p:custDataLst>
              <p:tags r:id="rId307"/>
            </p:custDataLst>
          </p:nvPr>
        </p:nvSpPr>
        <p:spPr bwMode="auto">
          <a:xfrm>
            <a:off x="4435482" y="1383507"/>
            <a:ext cx="161925" cy="50006"/>
          </a:xfrm>
          <a:custGeom>
            <a:avLst/>
            <a:gdLst/>
            <a:ahLst/>
            <a:cxnLst>
              <a:cxn ang="0">
                <a:pos x="250" y="117"/>
              </a:cxn>
              <a:cxn ang="0">
                <a:pos x="258" y="119"/>
              </a:cxn>
              <a:cxn ang="0">
                <a:pos x="277" y="123"/>
              </a:cxn>
              <a:cxn ang="0">
                <a:pos x="295" y="127"/>
              </a:cxn>
              <a:cxn ang="0">
                <a:pos x="303" y="129"/>
              </a:cxn>
              <a:cxn ang="0">
                <a:pos x="370" y="97"/>
              </a:cxn>
              <a:cxn ang="0">
                <a:pos x="358" y="75"/>
              </a:cxn>
              <a:cxn ang="0">
                <a:pos x="345" y="48"/>
              </a:cxn>
              <a:cxn ang="0">
                <a:pos x="335" y="27"/>
              </a:cxn>
              <a:cxn ang="0">
                <a:pos x="330" y="18"/>
              </a:cxn>
              <a:cxn ang="0">
                <a:pos x="300" y="15"/>
              </a:cxn>
              <a:cxn ang="0">
                <a:pos x="257" y="9"/>
              </a:cxn>
              <a:cxn ang="0">
                <a:pos x="214" y="2"/>
              </a:cxn>
              <a:cxn ang="0">
                <a:pos x="183" y="0"/>
              </a:cxn>
              <a:cxn ang="0">
                <a:pos x="179" y="0"/>
              </a:cxn>
              <a:cxn ang="0">
                <a:pos x="176" y="1"/>
              </a:cxn>
              <a:cxn ang="0">
                <a:pos x="172" y="2"/>
              </a:cxn>
              <a:cxn ang="0">
                <a:pos x="170" y="3"/>
              </a:cxn>
              <a:cxn ang="0">
                <a:pos x="162" y="7"/>
              </a:cxn>
              <a:cxn ang="0">
                <a:pos x="150" y="12"/>
              </a:cxn>
              <a:cxn ang="0">
                <a:pos x="147" y="21"/>
              </a:cxn>
              <a:cxn ang="0">
                <a:pos x="140" y="35"/>
              </a:cxn>
              <a:cxn ang="0">
                <a:pos x="134" y="48"/>
              </a:cxn>
              <a:cxn ang="0">
                <a:pos x="131" y="55"/>
              </a:cxn>
              <a:cxn ang="0">
                <a:pos x="122" y="54"/>
              </a:cxn>
              <a:cxn ang="0">
                <a:pos x="111" y="49"/>
              </a:cxn>
              <a:cxn ang="0">
                <a:pos x="98" y="44"/>
              </a:cxn>
              <a:cxn ang="0">
                <a:pos x="84" y="38"/>
              </a:cxn>
              <a:cxn ang="0">
                <a:pos x="60" y="26"/>
              </a:cxn>
              <a:cxn ang="0">
                <a:pos x="44" y="18"/>
              </a:cxn>
              <a:cxn ang="0">
                <a:pos x="32" y="25"/>
              </a:cxn>
              <a:cxn ang="0">
                <a:pos x="21" y="33"/>
              </a:cxn>
              <a:cxn ang="0">
                <a:pos x="16" y="37"/>
              </a:cxn>
              <a:cxn ang="0">
                <a:pos x="12" y="41"/>
              </a:cxn>
              <a:cxn ang="0">
                <a:pos x="9" y="46"/>
              </a:cxn>
              <a:cxn ang="0">
                <a:pos x="5" y="52"/>
              </a:cxn>
              <a:cxn ang="0">
                <a:pos x="3" y="57"/>
              </a:cxn>
              <a:cxn ang="0">
                <a:pos x="1" y="63"/>
              </a:cxn>
              <a:cxn ang="0">
                <a:pos x="0" y="69"/>
              </a:cxn>
              <a:cxn ang="0">
                <a:pos x="0" y="75"/>
              </a:cxn>
              <a:cxn ang="0">
                <a:pos x="1" y="82"/>
              </a:cxn>
              <a:cxn ang="0">
                <a:pos x="3" y="88"/>
              </a:cxn>
              <a:cxn ang="0">
                <a:pos x="6" y="96"/>
              </a:cxn>
              <a:cxn ang="0">
                <a:pos x="11" y="103"/>
              </a:cxn>
              <a:cxn ang="0">
                <a:pos x="20" y="101"/>
              </a:cxn>
              <a:cxn ang="0">
                <a:pos x="33" y="99"/>
              </a:cxn>
              <a:cxn ang="0">
                <a:pos x="50" y="97"/>
              </a:cxn>
              <a:cxn ang="0">
                <a:pos x="69" y="95"/>
              </a:cxn>
              <a:cxn ang="0">
                <a:pos x="102" y="92"/>
              </a:cxn>
              <a:cxn ang="0">
                <a:pos x="117" y="91"/>
              </a:cxn>
              <a:cxn ang="0">
                <a:pos x="137" y="92"/>
              </a:cxn>
              <a:cxn ang="0">
                <a:pos x="152" y="94"/>
              </a:cxn>
              <a:cxn ang="0">
                <a:pos x="166" y="97"/>
              </a:cxn>
              <a:cxn ang="0">
                <a:pos x="177" y="100"/>
              </a:cxn>
              <a:cxn ang="0">
                <a:pos x="189" y="104"/>
              </a:cxn>
              <a:cxn ang="0">
                <a:pos x="201" y="108"/>
              </a:cxn>
              <a:cxn ang="0">
                <a:pos x="217" y="110"/>
              </a:cxn>
              <a:cxn ang="0">
                <a:pos x="237" y="111"/>
              </a:cxn>
              <a:cxn ang="0">
                <a:pos x="237" y="117"/>
              </a:cxn>
              <a:cxn ang="0">
                <a:pos x="250" y="117"/>
              </a:cxn>
            </a:cxnLst>
            <a:rect l="0" t="0" r="r" b="b"/>
            <a:pathLst>
              <a:path w="370" h="129">
                <a:moveTo>
                  <a:pt x="250" y="117"/>
                </a:moveTo>
                <a:lnTo>
                  <a:pt x="258" y="119"/>
                </a:lnTo>
                <a:lnTo>
                  <a:pt x="277" y="123"/>
                </a:lnTo>
                <a:lnTo>
                  <a:pt x="295" y="127"/>
                </a:lnTo>
                <a:lnTo>
                  <a:pt x="303" y="129"/>
                </a:lnTo>
                <a:lnTo>
                  <a:pt x="370" y="97"/>
                </a:lnTo>
                <a:lnTo>
                  <a:pt x="358" y="75"/>
                </a:lnTo>
                <a:lnTo>
                  <a:pt x="345" y="48"/>
                </a:lnTo>
                <a:lnTo>
                  <a:pt x="335" y="27"/>
                </a:lnTo>
                <a:lnTo>
                  <a:pt x="330" y="18"/>
                </a:lnTo>
                <a:lnTo>
                  <a:pt x="300" y="15"/>
                </a:lnTo>
                <a:lnTo>
                  <a:pt x="257" y="9"/>
                </a:lnTo>
                <a:lnTo>
                  <a:pt x="214" y="2"/>
                </a:lnTo>
                <a:lnTo>
                  <a:pt x="183" y="0"/>
                </a:lnTo>
                <a:lnTo>
                  <a:pt x="179" y="0"/>
                </a:lnTo>
                <a:lnTo>
                  <a:pt x="176" y="1"/>
                </a:lnTo>
                <a:lnTo>
                  <a:pt x="172" y="2"/>
                </a:lnTo>
                <a:lnTo>
                  <a:pt x="170" y="3"/>
                </a:lnTo>
                <a:lnTo>
                  <a:pt x="162" y="7"/>
                </a:lnTo>
                <a:lnTo>
                  <a:pt x="150" y="12"/>
                </a:lnTo>
                <a:lnTo>
                  <a:pt x="147" y="21"/>
                </a:lnTo>
                <a:lnTo>
                  <a:pt x="140" y="35"/>
                </a:lnTo>
                <a:lnTo>
                  <a:pt x="134" y="48"/>
                </a:lnTo>
                <a:lnTo>
                  <a:pt x="131" y="55"/>
                </a:lnTo>
                <a:lnTo>
                  <a:pt x="122" y="54"/>
                </a:lnTo>
                <a:lnTo>
                  <a:pt x="111" y="49"/>
                </a:lnTo>
                <a:lnTo>
                  <a:pt x="98" y="44"/>
                </a:lnTo>
                <a:lnTo>
                  <a:pt x="84" y="38"/>
                </a:lnTo>
                <a:lnTo>
                  <a:pt x="60" y="26"/>
                </a:lnTo>
                <a:lnTo>
                  <a:pt x="44" y="18"/>
                </a:lnTo>
                <a:lnTo>
                  <a:pt x="32" y="25"/>
                </a:lnTo>
                <a:lnTo>
                  <a:pt x="21" y="33"/>
                </a:lnTo>
                <a:lnTo>
                  <a:pt x="16" y="37"/>
                </a:lnTo>
                <a:lnTo>
                  <a:pt x="12" y="41"/>
                </a:lnTo>
                <a:lnTo>
                  <a:pt x="9" y="46"/>
                </a:lnTo>
                <a:lnTo>
                  <a:pt x="5" y="52"/>
                </a:lnTo>
                <a:lnTo>
                  <a:pt x="3" y="57"/>
                </a:lnTo>
                <a:lnTo>
                  <a:pt x="1" y="63"/>
                </a:lnTo>
                <a:lnTo>
                  <a:pt x="0" y="69"/>
                </a:lnTo>
                <a:lnTo>
                  <a:pt x="0" y="75"/>
                </a:lnTo>
                <a:lnTo>
                  <a:pt x="1" y="82"/>
                </a:lnTo>
                <a:lnTo>
                  <a:pt x="3" y="88"/>
                </a:lnTo>
                <a:lnTo>
                  <a:pt x="6" y="96"/>
                </a:lnTo>
                <a:lnTo>
                  <a:pt x="11" y="103"/>
                </a:lnTo>
                <a:lnTo>
                  <a:pt x="20" y="101"/>
                </a:lnTo>
                <a:lnTo>
                  <a:pt x="33" y="99"/>
                </a:lnTo>
                <a:lnTo>
                  <a:pt x="50" y="97"/>
                </a:lnTo>
                <a:lnTo>
                  <a:pt x="69" y="95"/>
                </a:lnTo>
                <a:lnTo>
                  <a:pt x="102" y="92"/>
                </a:lnTo>
                <a:lnTo>
                  <a:pt x="117" y="91"/>
                </a:lnTo>
                <a:lnTo>
                  <a:pt x="137" y="92"/>
                </a:lnTo>
                <a:lnTo>
                  <a:pt x="152" y="94"/>
                </a:lnTo>
                <a:lnTo>
                  <a:pt x="166" y="97"/>
                </a:lnTo>
                <a:lnTo>
                  <a:pt x="177" y="100"/>
                </a:lnTo>
                <a:lnTo>
                  <a:pt x="189" y="104"/>
                </a:lnTo>
                <a:lnTo>
                  <a:pt x="201" y="108"/>
                </a:lnTo>
                <a:lnTo>
                  <a:pt x="217" y="110"/>
                </a:lnTo>
                <a:lnTo>
                  <a:pt x="237" y="111"/>
                </a:lnTo>
                <a:lnTo>
                  <a:pt x="237" y="117"/>
                </a:lnTo>
                <a:lnTo>
                  <a:pt x="250" y="117"/>
                </a:lnTo>
              </a:path>
            </a:pathLst>
          </a:custGeom>
          <a:solidFill>
            <a:srgbClr val="007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518" name="Freeform 470"/>
          <p:cNvSpPr>
            <a:spLocks/>
          </p:cNvSpPr>
          <p:nvPr>
            <p:custDataLst>
              <p:tags r:id="rId308"/>
            </p:custDataLst>
          </p:nvPr>
        </p:nvSpPr>
        <p:spPr bwMode="auto">
          <a:xfrm>
            <a:off x="4846638" y="1924054"/>
            <a:ext cx="30162" cy="42863"/>
          </a:xfrm>
          <a:custGeom>
            <a:avLst/>
            <a:gdLst/>
            <a:ahLst/>
            <a:cxnLst>
              <a:cxn ang="0">
                <a:pos x="27" y="1"/>
              </a:cxn>
              <a:cxn ang="0">
                <a:pos x="34" y="0"/>
              </a:cxn>
              <a:cxn ang="0">
                <a:pos x="41" y="0"/>
              </a:cxn>
              <a:cxn ang="0">
                <a:pos x="47" y="2"/>
              </a:cxn>
              <a:cxn ang="0">
                <a:pos x="54" y="4"/>
              </a:cxn>
              <a:cxn ang="0">
                <a:pos x="60" y="6"/>
              </a:cxn>
              <a:cxn ang="0">
                <a:pos x="66" y="8"/>
              </a:cxn>
              <a:cxn ang="0">
                <a:pos x="73" y="8"/>
              </a:cxn>
              <a:cxn ang="0">
                <a:pos x="80" y="7"/>
              </a:cxn>
              <a:cxn ang="0">
                <a:pos x="80" y="38"/>
              </a:cxn>
              <a:cxn ang="0">
                <a:pos x="75" y="44"/>
              </a:cxn>
              <a:cxn ang="0">
                <a:pos x="69" y="51"/>
              </a:cxn>
              <a:cxn ang="0">
                <a:pos x="64" y="59"/>
              </a:cxn>
              <a:cxn ang="0">
                <a:pos x="58" y="68"/>
              </a:cxn>
              <a:cxn ang="0">
                <a:pos x="51" y="84"/>
              </a:cxn>
              <a:cxn ang="0">
                <a:pos x="47" y="94"/>
              </a:cxn>
              <a:cxn ang="0">
                <a:pos x="43" y="93"/>
              </a:cxn>
              <a:cxn ang="0">
                <a:pos x="40" y="92"/>
              </a:cxn>
              <a:cxn ang="0">
                <a:pos x="37" y="91"/>
              </a:cxn>
              <a:cxn ang="0">
                <a:pos x="34" y="89"/>
              </a:cxn>
              <a:cxn ang="0">
                <a:pos x="29" y="84"/>
              </a:cxn>
              <a:cxn ang="0">
                <a:pos x="23" y="78"/>
              </a:cxn>
              <a:cxn ang="0">
                <a:pos x="19" y="72"/>
              </a:cxn>
              <a:cxn ang="0">
                <a:pos x="13" y="65"/>
              </a:cxn>
              <a:cxn ang="0">
                <a:pos x="7" y="60"/>
              </a:cxn>
              <a:cxn ang="0">
                <a:pos x="0" y="56"/>
              </a:cxn>
              <a:cxn ang="0">
                <a:pos x="8" y="41"/>
              </a:cxn>
              <a:cxn ang="0">
                <a:pos x="13" y="29"/>
              </a:cxn>
              <a:cxn ang="0">
                <a:pos x="19" y="17"/>
              </a:cxn>
              <a:cxn ang="0">
                <a:pos x="27" y="1"/>
              </a:cxn>
            </a:cxnLst>
            <a:rect l="0" t="0" r="r" b="b"/>
            <a:pathLst>
              <a:path w="80" h="94">
                <a:moveTo>
                  <a:pt x="27" y="1"/>
                </a:moveTo>
                <a:lnTo>
                  <a:pt x="34" y="0"/>
                </a:lnTo>
                <a:lnTo>
                  <a:pt x="41" y="0"/>
                </a:lnTo>
                <a:lnTo>
                  <a:pt x="47" y="2"/>
                </a:lnTo>
                <a:lnTo>
                  <a:pt x="54" y="4"/>
                </a:lnTo>
                <a:lnTo>
                  <a:pt x="60" y="6"/>
                </a:lnTo>
                <a:lnTo>
                  <a:pt x="66" y="8"/>
                </a:lnTo>
                <a:lnTo>
                  <a:pt x="73" y="8"/>
                </a:lnTo>
                <a:lnTo>
                  <a:pt x="80" y="7"/>
                </a:lnTo>
                <a:lnTo>
                  <a:pt x="80" y="38"/>
                </a:lnTo>
                <a:lnTo>
                  <a:pt x="75" y="44"/>
                </a:lnTo>
                <a:lnTo>
                  <a:pt x="69" y="51"/>
                </a:lnTo>
                <a:lnTo>
                  <a:pt x="64" y="59"/>
                </a:lnTo>
                <a:lnTo>
                  <a:pt x="58" y="68"/>
                </a:lnTo>
                <a:lnTo>
                  <a:pt x="51" y="84"/>
                </a:lnTo>
                <a:lnTo>
                  <a:pt x="47" y="94"/>
                </a:lnTo>
                <a:lnTo>
                  <a:pt x="43" y="93"/>
                </a:lnTo>
                <a:lnTo>
                  <a:pt x="40" y="92"/>
                </a:lnTo>
                <a:lnTo>
                  <a:pt x="37" y="91"/>
                </a:lnTo>
                <a:lnTo>
                  <a:pt x="34" y="89"/>
                </a:lnTo>
                <a:lnTo>
                  <a:pt x="29" y="84"/>
                </a:lnTo>
                <a:lnTo>
                  <a:pt x="23" y="78"/>
                </a:lnTo>
                <a:lnTo>
                  <a:pt x="19" y="72"/>
                </a:lnTo>
                <a:lnTo>
                  <a:pt x="13" y="65"/>
                </a:lnTo>
                <a:lnTo>
                  <a:pt x="7" y="60"/>
                </a:lnTo>
                <a:lnTo>
                  <a:pt x="0" y="56"/>
                </a:lnTo>
                <a:lnTo>
                  <a:pt x="8" y="41"/>
                </a:lnTo>
                <a:lnTo>
                  <a:pt x="13" y="29"/>
                </a:lnTo>
                <a:lnTo>
                  <a:pt x="19" y="17"/>
                </a:lnTo>
                <a:lnTo>
                  <a:pt x="27" y="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519" name="Freeform 471"/>
          <p:cNvSpPr>
            <a:spLocks/>
          </p:cNvSpPr>
          <p:nvPr>
            <p:custDataLst>
              <p:tags r:id="rId309"/>
            </p:custDataLst>
          </p:nvPr>
        </p:nvSpPr>
        <p:spPr bwMode="auto">
          <a:xfrm>
            <a:off x="4662490" y="3432577"/>
            <a:ext cx="61912" cy="42863"/>
          </a:xfrm>
          <a:custGeom>
            <a:avLst/>
            <a:gdLst/>
            <a:ahLst/>
            <a:cxnLst>
              <a:cxn ang="0">
                <a:pos x="3" y="55"/>
              </a:cxn>
              <a:cxn ang="0">
                <a:pos x="11" y="54"/>
              </a:cxn>
              <a:cxn ang="0">
                <a:pos x="18" y="53"/>
              </a:cxn>
              <a:cxn ang="0">
                <a:pos x="24" y="50"/>
              </a:cxn>
              <a:cxn ang="0">
                <a:pos x="31" y="47"/>
              </a:cxn>
              <a:cxn ang="0">
                <a:pos x="42" y="38"/>
              </a:cxn>
              <a:cxn ang="0">
                <a:pos x="52" y="28"/>
              </a:cxn>
              <a:cxn ang="0">
                <a:pos x="61" y="18"/>
              </a:cxn>
              <a:cxn ang="0">
                <a:pos x="71" y="8"/>
              </a:cxn>
              <a:cxn ang="0">
                <a:pos x="76" y="5"/>
              </a:cxn>
              <a:cxn ang="0">
                <a:pos x="82" y="2"/>
              </a:cxn>
              <a:cxn ang="0">
                <a:pos x="88" y="0"/>
              </a:cxn>
              <a:cxn ang="0">
                <a:pos x="96" y="0"/>
              </a:cxn>
              <a:cxn ang="0">
                <a:pos x="102" y="0"/>
              </a:cxn>
              <a:cxn ang="0">
                <a:pos x="110" y="3"/>
              </a:cxn>
              <a:cxn ang="0">
                <a:pos x="117" y="6"/>
              </a:cxn>
              <a:cxn ang="0">
                <a:pos x="123" y="11"/>
              </a:cxn>
              <a:cxn ang="0">
                <a:pos x="128" y="16"/>
              </a:cxn>
              <a:cxn ang="0">
                <a:pos x="132" y="24"/>
              </a:cxn>
              <a:cxn ang="0">
                <a:pos x="134" y="30"/>
              </a:cxn>
              <a:cxn ang="0">
                <a:pos x="135" y="37"/>
              </a:cxn>
              <a:cxn ang="0">
                <a:pos x="134" y="40"/>
              </a:cxn>
              <a:cxn ang="0">
                <a:pos x="132" y="43"/>
              </a:cxn>
              <a:cxn ang="0">
                <a:pos x="129" y="47"/>
              </a:cxn>
              <a:cxn ang="0">
                <a:pos x="124" y="51"/>
              </a:cxn>
              <a:cxn ang="0">
                <a:pos x="113" y="61"/>
              </a:cxn>
              <a:cxn ang="0">
                <a:pos x="100" y="72"/>
              </a:cxn>
              <a:cxn ang="0">
                <a:pos x="87" y="82"/>
              </a:cxn>
              <a:cxn ang="0">
                <a:pos x="74" y="91"/>
              </a:cxn>
              <a:cxn ang="0">
                <a:pos x="63" y="96"/>
              </a:cxn>
              <a:cxn ang="0">
                <a:pos x="55" y="98"/>
              </a:cxn>
              <a:cxn ang="0">
                <a:pos x="51" y="97"/>
              </a:cxn>
              <a:cxn ang="0">
                <a:pos x="43" y="92"/>
              </a:cxn>
              <a:cxn ang="0">
                <a:pos x="32" y="85"/>
              </a:cxn>
              <a:cxn ang="0">
                <a:pos x="21" y="77"/>
              </a:cxn>
              <a:cxn ang="0">
                <a:pos x="11" y="68"/>
              </a:cxn>
              <a:cxn ang="0">
                <a:pos x="5" y="62"/>
              </a:cxn>
              <a:cxn ang="0">
                <a:pos x="1" y="59"/>
              </a:cxn>
              <a:cxn ang="0">
                <a:pos x="0" y="57"/>
              </a:cxn>
              <a:cxn ang="0">
                <a:pos x="0" y="56"/>
              </a:cxn>
              <a:cxn ang="0">
                <a:pos x="3" y="55"/>
              </a:cxn>
            </a:cxnLst>
            <a:rect l="0" t="0" r="r" b="b"/>
            <a:pathLst>
              <a:path w="135" h="98">
                <a:moveTo>
                  <a:pt x="3" y="55"/>
                </a:moveTo>
                <a:lnTo>
                  <a:pt x="11" y="54"/>
                </a:lnTo>
                <a:lnTo>
                  <a:pt x="18" y="53"/>
                </a:lnTo>
                <a:lnTo>
                  <a:pt x="24" y="50"/>
                </a:lnTo>
                <a:lnTo>
                  <a:pt x="31" y="47"/>
                </a:lnTo>
                <a:lnTo>
                  <a:pt x="42" y="38"/>
                </a:lnTo>
                <a:lnTo>
                  <a:pt x="52" y="28"/>
                </a:lnTo>
                <a:lnTo>
                  <a:pt x="61" y="18"/>
                </a:lnTo>
                <a:lnTo>
                  <a:pt x="71" y="8"/>
                </a:lnTo>
                <a:lnTo>
                  <a:pt x="76" y="5"/>
                </a:lnTo>
                <a:lnTo>
                  <a:pt x="82" y="2"/>
                </a:lnTo>
                <a:lnTo>
                  <a:pt x="88" y="0"/>
                </a:lnTo>
                <a:lnTo>
                  <a:pt x="96" y="0"/>
                </a:lnTo>
                <a:lnTo>
                  <a:pt x="102" y="0"/>
                </a:lnTo>
                <a:lnTo>
                  <a:pt x="110" y="3"/>
                </a:lnTo>
                <a:lnTo>
                  <a:pt x="117" y="6"/>
                </a:lnTo>
                <a:lnTo>
                  <a:pt x="123" y="11"/>
                </a:lnTo>
                <a:lnTo>
                  <a:pt x="128" y="16"/>
                </a:lnTo>
                <a:lnTo>
                  <a:pt x="132" y="24"/>
                </a:lnTo>
                <a:lnTo>
                  <a:pt x="134" y="30"/>
                </a:lnTo>
                <a:lnTo>
                  <a:pt x="135" y="37"/>
                </a:lnTo>
                <a:lnTo>
                  <a:pt x="134" y="40"/>
                </a:lnTo>
                <a:lnTo>
                  <a:pt x="132" y="43"/>
                </a:lnTo>
                <a:lnTo>
                  <a:pt x="129" y="47"/>
                </a:lnTo>
                <a:lnTo>
                  <a:pt x="124" y="51"/>
                </a:lnTo>
                <a:lnTo>
                  <a:pt x="113" y="61"/>
                </a:lnTo>
                <a:lnTo>
                  <a:pt x="100" y="72"/>
                </a:lnTo>
                <a:lnTo>
                  <a:pt x="87" y="82"/>
                </a:lnTo>
                <a:lnTo>
                  <a:pt x="74" y="91"/>
                </a:lnTo>
                <a:lnTo>
                  <a:pt x="63" y="96"/>
                </a:lnTo>
                <a:lnTo>
                  <a:pt x="55" y="98"/>
                </a:lnTo>
                <a:lnTo>
                  <a:pt x="51" y="97"/>
                </a:lnTo>
                <a:lnTo>
                  <a:pt x="43" y="92"/>
                </a:lnTo>
                <a:lnTo>
                  <a:pt x="32" y="85"/>
                </a:lnTo>
                <a:lnTo>
                  <a:pt x="21" y="77"/>
                </a:lnTo>
                <a:lnTo>
                  <a:pt x="11" y="68"/>
                </a:lnTo>
                <a:lnTo>
                  <a:pt x="5" y="62"/>
                </a:lnTo>
                <a:lnTo>
                  <a:pt x="1" y="59"/>
                </a:lnTo>
                <a:lnTo>
                  <a:pt x="0" y="57"/>
                </a:lnTo>
                <a:lnTo>
                  <a:pt x="0" y="56"/>
                </a:lnTo>
                <a:lnTo>
                  <a:pt x="3" y="5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520" name="Freeform 472"/>
          <p:cNvSpPr>
            <a:spLocks/>
          </p:cNvSpPr>
          <p:nvPr>
            <p:custDataLst>
              <p:tags r:id="rId310"/>
            </p:custDataLst>
          </p:nvPr>
        </p:nvSpPr>
        <p:spPr bwMode="auto">
          <a:xfrm>
            <a:off x="4433888" y="1419228"/>
            <a:ext cx="131762" cy="63104"/>
          </a:xfrm>
          <a:custGeom>
            <a:avLst/>
            <a:gdLst/>
            <a:ahLst/>
            <a:cxnLst>
              <a:cxn ang="0">
                <a:pos x="192" y="155"/>
              </a:cxn>
              <a:cxn ang="0">
                <a:pos x="194" y="151"/>
              </a:cxn>
              <a:cxn ang="0">
                <a:pos x="197" y="148"/>
              </a:cxn>
              <a:cxn ang="0">
                <a:pos x="200" y="145"/>
              </a:cxn>
              <a:cxn ang="0">
                <a:pos x="203" y="142"/>
              </a:cxn>
              <a:cxn ang="0">
                <a:pos x="211" y="137"/>
              </a:cxn>
              <a:cxn ang="0">
                <a:pos x="220" y="132"/>
              </a:cxn>
              <a:cxn ang="0">
                <a:pos x="238" y="123"/>
              </a:cxn>
              <a:cxn ang="0">
                <a:pos x="253" y="117"/>
              </a:cxn>
              <a:cxn ang="0">
                <a:pos x="255" y="109"/>
              </a:cxn>
              <a:cxn ang="0">
                <a:pos x="260" y="97"/>
              </a:cxn>
              <a:cxn ang="0">
                <a:pos x="264" y="91"/>
              </a:cxn>
              <a:cxn ang="0">
                <a:pos x="267" y="86"/>
              </a:cxn>
              <a:cxn ang="0">
                <a:pos x="269" y="82"/>
              </a:cxn>
              <a:cxn ang="0">
                <a:pos x="272" y="81"/>
              </a:cxn>
              <a:cxn ang="0">
                <a:pos x="312" y="44"/>
              </a:cxn>
              <a:cxn ang="0">
                <a:pos x="312" y="39"/>
              </a:cxn>
              <a:cxn ang="0">
                <a:pos x="310" y="35"/>
              </a:cxn>
              <a:cxn ang="0">
                <a:pos x="306" y="32"/>
              </a:cxn>
              <a:cxn ang="0">
                <a:pos x="302" y="30"/>
              </a:cxn>
              <a:cxn ang="0">
                <a:pos x="291" y="28"/>
              </a:cxn>
              <a:cxn ang="0">
                <a:pos x="280" y="27"/>
              </a:cxn>
              <a:cxn ang="0">
                <a:pos x="268" y="27"/>
              </a:cxn>
              <a:cxn ang="0">
                <a:pos x="259" y="27"/>
              </a:cxn>
              <a:cxn ang="0">
                <a:pos x="256" y="26"/>
              </a:cxn>
              <a:cxn ang="0">
                <a:pos x="253" y="25"/>
              </a:cxn>
              <a:cxn ang="0">
                <a:pos x="252" y="23"/>
              </a:cxn>
              <a:cxn ang="0">
                <a:pos x="253" y="20"/>
              </a:cxn>
              <a:cxn ang="0">
                <a:pos x="232" y="19"/>
              </a:cxn>
              <a:cxn ang="0">
                <a:pos x="216" y="17"/>
              </a:cxn>
              <a:cxn ang="0">
                <a:pos x="202" y="13"/>
              </a:cxn>
              <a:cxn ang="0">
                <a:pos x="189" y="9"/>
              </a:cxn>
              <a:cxn ang="0">
                <a:pos x="177" y="6"/>
              </a:cxn>
              <a:cxn ang="0">
                <a:pos x="163" y="3"/>
              </a:cxn>
              <a:cxn ang="0">
                <a:pos x="146" y="1"/>
              </a:cxn>
              <a:cxn ang="0">
                <a:pos x="126" y="0"/>
              </a:cxn>
              <a:cxn ang="0">
                <a:pos x="110" y="1"/>
              </a:cxn>
              <a:cxn ang="0">
                <a:pos x="74" y="4"/>
              </a:cxn>
              <a:cxn ang="0">
                <a:pos x="53" y="6"/>
              </a:cxn>
              <a:cxn ang="0">
                <a:pos x="34" y="8"/>
              </a:cxn>
              <a:cxn ang="0">
                <a:pos x="18" y="10"/>
              </a:cxn>
              <a:cxn ang="0">
                <a:pos x="7" y="12"/>
              </a:cxn>
              <a:cxn ang="0">
                <a:pos x="9" y="17"/>
              </a:cxn>
              <a:cxn ang="0">
                <a:pos x="11" y="19"/>
              </a:cxn>
              <a:cxn ang="0">
                <a:pos x="13" y="19"/>
              </a:cxn>
              <a:cxn ang="0">
                <a:pos x="15" y="20"/>
              </a:cxn>
              <a:cxn ang="0">
                <a:pos x="18" y="20"/>
              </a:cxn>
              <a:cxn ang="0">
                <a:pos x="19" y="20"/>
              </a:cxn>
              <a:cxn ang="0">
                <a:pos x="20" y="22"/>
              </a:cxn>
              <a:cxn ang="0">
                <a:pos x="20" y="26"/>
              </a:cxn>
              <a:cxn ang="0">
                <a:pos x="20" y="30"/>
              </a:cxn>
              <a:cxn ang="0">
                <a:pos x="19" y="35"/>
              </a:cxn>
              <a:cxn ang="0">
                <a:pos x="18" y="39"/>
              </a:cxn>
              <a:cxn ang="0">
                <a:pos x="15" y="42"/>
              </a:cxn>
              <a:cxn ang="0">
                <a:pos x="12" y="45"/>
              </a:cxn>
              <a:cxn ang="0">
                <a:pos x="9" y="48"/>
              </a:cxn>
              <a:cxn ang="0">
                <a:pos x="4" y="49"/>
              </a:cxn>
              <a:cxn ang="0">
                <a:pos x="0" y="50"/>
              </a:cxn>
              <a:cxn ang="0">
                <a:pos x="74" y="68"/>
              </a:cxn>
              <a:cxn ang="0">
                <a:pos x="87" y="111"/>
              </a:cxn>
              <a:cxn ang="0">
                <a:pos x="166" y="123"/>
              </a:cxn>
              <a:cxn ang="0">
                <a:pos x="192" y="155"/>
              </a:cxn>
            </a:cxnLst>
            <a:rect l="0" t="0" r="r" b="b"/>
            <a:pathLst>
              <a:path w="312" h="155">
                <a:moveTo>
                  <a:pt x="192" y="155"/>
                </a:moveTo>
                <a:lnTo>
                  <a:pt x="194" y="151"/>
                </a:lnTo>
                <a:lnTo>
                  <a:pt x="197" y="148"/>
                </a:lnTo>
                <a:lnTo>
                  <a:pt x="200" y="145"/>
                </a:lnTo>
                <a:lnTo>
                  <a:pt x="203" y="142"/>
                </a:lnTo>
                <a:lnTo>
                  <a:pt x="211" y="137"/>
                </a:lnTo>
                <a:lnTo>
                  <a:pt x="220" y="132"/>
                </a:lnTo>
                <a:lnTo>
                  <a:pt x="238" y="123"/>
                </a:lnTo>
                <a:lnTo>
                  <a:pt x="253" y="117"/>
                </a:lnTo>
                <a:lnTo>
                  <a:pt x="255" y="109"/>
                </a:lnTo>
                <a:lnTo>
                  <a:pt x="260" y="97"/>
                </a:lnTo>
                <a:lnTo>
                  <a:pt x="264" y="91"/>
                </a:lnTo>
                <a:lnTo>
                  <a:pt x="267" y="86"/>
                </a:lnTo>
                <a:lnTo>
                  <a:pt x="269" y="82"/>
                </a:lnTo>
                <a:lnTo>
                  <a:pt x="272" y="81"/>
                </a:lnTo>
                <a:lnTo>
                  <a:pt x="312" y="44"/>
                </a:lnTo>
                <a:lnTo>
                  <a:pt x="312" y="39"/>
                </a:lnTo>
                <a:lnTo>
                  <a:pt x="310" y="35"/>
                </a:lnTo>
                <a:lnTo>
                  <a:pt x="306" y="32"/>
                </a:lnTo>
                <a:lnTo>
                  <a:pt x="302" y="30"/>
                </a:lnTo>
                <a:lnTo>
                  <a:pt x="291" y="28"/>
                </a:lnTo>
                <a:lnTo>
                  <a:pt x="280" y="27"/>
                </a:lnTo>
                <a:lnTo>
                  <a:pt x="268" y="27"/>
                </a:lnTo>
                <a:lnTo>
                  <a:pt x="259" y="27"/>
                </a:lnTo>
                <a:lnTo>
                  <a:pt x="256" y="26"/>
                </a:lnTo>
                <a:lnTo>
                  <a:pt x="253" y="25"/>
                </a:lnTo>
                <a:lnTo>
                  <a:pt x="252" y="23"/>
                </a:lnTo>
                <a:lnTo>
                  <a:pt x="253" y="20"/>
                </a:lnTo>
                <a:lnTo>
                  <a:pt x="232" y="19"/>
                </a:lnTo>
                <a:lnTo>
                  <a:pt x="216" y="17"/>
                </a:lnTo>
                <a:lnTo>
                  <a:pt x="202" y="13"/>
                </a:lnTo>
                <a:lnTo>
                  <a:pt x="189" y="9"/>
                </a:lnTo>
                <a:lnTo>
                  <a:pt x="177" y="6"/>
                </a:lnTo>
                <a:lnTo>
                  <a:pt x="163" y="3"/>
                </a:lnTo>
                <a:lnTo>
                  <a:pt x="146" y="1"/>
                </a:lnTo>
                <a:lnTo>
                  <a:pt x="126" y="0"/>
                </a:lnTo>
                <a:lnTo>
                  <a:pt x="110" y="1"/>
                </a:lnTo>
                <a:lnTo>
                  <a:pt x="74" y="4"/>
                </a:lnTo>
                <a:lnTo>
                  <a:pt x="53" y="6"/>
                </a:lnTo>
                <a:lnTo>
                  <a:pt x="34" y="8"/>
                </a:lnTo>
                <a:lnTo>
                  <a:pt x="18" y="10"/>
                </a:lnTo>
                <a:lnTo>
                  <a:pt x="7" y="12"/>
                </a:lnTo>
                <a:lnTo>
                  <a:pt x="9" y="17"/>
                </a:lnTo>
                <a:lnTo>
                  <a:pt x="11" y="19"/>
                </a:lnTo>
                <a:lnTo>
                  <a:pt x="13" y="19"/>
                </a:lnTo>
                <a:lnTo>
                  <a:pt x="15" y="20"/>
                </a:lnTo>
                <a:lnTo>
                  <a:pt x="18" y="20"/>
                </a:lnTo>
                <a:lnTo>
                  <a:pt x="19" y="20"/>
                </a:lnTo>
                <a:lnTo>
                  <a:pt x="20" y="22"/>
                </a:lnTo>
                <a:lnTo>
                  <a:pt x="20" y="26"/>
                </a:lnTo>
                <a:lnTo>
                  <a:pt x="20" y="30"/>
                </a:lnTo>
                <a:lnTo>
                  <a:pt x="19" y="35"/>
                </a:lnTo>
                <a:lnTo>
                  <a:pt x="18" y="39"/>
                </a:lnTo>
                <a:lnTo>
                  <a:pt x="15" y="42"/>
                </a:lnTo>
                <a:lnTo>
                  <a:pt x="12" y="45"/>
                </a:lnTo>
                <a:lnTo>
                  <a:pt x="9" y="48"/>
                </a:lnTo>
                <a:lnTo>
                  <a:pt x="4" y="49"/>
                </a:lnTo>
                <a:lnTo>
                  <a:pt x="0" y="50"/>
                </a:lnTo>
                <a:lnTo>
                  <a:pt x="74" y="68"/>
                </a:lnTo>
                <a:lnTo>
                  <a:pt x="87" y="111"/>
                </a:lnTo>
                <a:lnTo>
                  <a:pt x="166" y="123"/>
                </a:lnTo>
                <a:lnTo>
                  <a:pt x="192" y="155"/>
                </a:lnTo>
              </a:path>
            </a:pathLst>
          </a:custGeom>
          <a:solidFill>
            <a:srgbClr val="007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521" name="Freeform 473"/>
          <p:cNvSpPr>
            <a:spLocks/>
          </p:cNvSpPr>
          <p:nvPr>
            <p:custDataLst>
              <p:tags r:id="rId311"/>
            </p:custDataLst>
          </p:nvPr>
        </p:nvSpPr>
        <p:spPr bwMode="auto">
          <a:xfrm>
            <a:off x="4140200" y="1558535"/>
            <a:ext cx="19050" cy="45244"/>
          </a:xfrm>
          <a:custGeom>
            <a:avLst/>
            <a:gdLst/>
            <a:ahLst/>
            <a:cxnLst>
              <a:cxn ang="0">
                <a:pos x="0" y="25"/>
              </a:cxn>
              <a:cxn ang="0">
                <a:pos x="2" y="18"/>
              </a:cxn>
              <a:cxn ang="0">
                <a:pos x="1" y="14"/>
              </a:cxn>
              <a:cxn ang="0">
                <a:pos x="2" y="13"/>
              </a:cxn>
              <a:cxn ang="0">
                <a:pos x="3" y="13"/>
              </a:cxn>
              <a:cxn ang="0">
                <a:pos x="6" y="12"/>
              </a:cxn>
              <a:cxn ang="0">
                <a:pos x="13" y="12"/>
              </a:cxn>
              <a:cxn ang="0">
                <a:pos x="46" y="0"/>
              </a:cxn>
              <a:cxn ang="0">
                <a:pos x="46" y="50"/>
              </a:cxn>
              <a:cxn ang="0">
                <a:pos x="40" y="49"/>
              </a:cxn>
              <a:cxn ang="0">
                <a:pos x="33" y="45"/>
              </a:cxn>
              <a:cxn ang="0">
                <a:pos x="25" y="41"/>
              </a:cxn>
              <a:cxn ang="0">
                <a:pos x="17" y="37"/>
              </a:cxn>
              <a:cxn ang="0">
                <a:pos x="5" y="28"/>
              </a:cxn>
              <a:cxn ang="0">
                <a:pos x="0" y="25"/>
              </a:cxn>
            </a:cxnLst>
            <a:rect l="0" t="0" r="r" b="b"/>
            <a:pathLst>
              <a:path w="46" h="50">
                <a:moveTo>
                  <a:pt x="0" y="25"/>
                </a:moveTo>
                <a:lnTo>
                  <a:pt x="2" y="18"/>
                </a:lnTo>
                <a:lnTo>
                  <a:pt x="1" y="14"/>
                </a:lnTo>
                <a:lnTo>
                  <a:pt x="2" y="13"/>
                </a:lnTo>
                <a:lnTo>
                  <a:pt x="3" y="13"/>
                </a:lnTo>
                <a:lnTo>
                  <a:pt x="6" y="12"/>
                </a:lnTo>
                <a:lnTo>
                  <a:pt x="13" y="12"/>
                </a:lnTo>
                <a:lnTo>
                  <a:pt x="46" y="0"/>
                </a:lnTo>
                <a:lnTo>
                  <a:pt x="46" y="50"/>
                </a:lnTo>
                <a:lnTo>
                  <a:pt x="40" y="49"/>
                </a:lnTo>
                <a:lnTo>
                  <a:pt x="33" y="45"/>
                </a:lnTo>
                <a:lnTo>
                  <a:pt x="25" y="41"/>
                </a:lnTo>
                <a:lnTo>
                  <a:pt x="17" y="37"/>
                </a:lnTo>
                <a:lnTo>
                  <a:pt x="5" y="28"/>
                </a:lnTo>
                <a:lnTo>
                  <a:pt x="0" y="25"/>
                </a:lnTo>
              </a:path>
            </a:pathLst>
          </a:custGeom>
          <a:solidFill>
            <a:srgbClr val="00B0F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522" name="Freeform 474"/>
          <p:cNvSpPr>
            <a:spLocks/>
          </p:cNvSpPr>
          <p:nvPr>
            <p:custDataLst>
              <p:tags r:id="rId312"/>
            </p:custDataLst>
          </p:nvPr>
        </p:nvSpPr>
        <p:spPr bwMode="auto">
          <a:xfrm>
            <a:off x="4837117" y="2971802"/>
            <a:ext cx="69850" cy="180975"/>
          </a:xfrm>
          <a:custGeom>
            <a:avLst/>
            <a:gdLst/>
            <a:ahLst/>
            <a:cxnLst>
              <a:cxn ang="0">
                <a:pos x="10" y="282"/>
              </a:cxn>
              <a:cxn ang="0">
                <a:pos x="19" y="290"/>
              </a:cxn>
              <a:cxn ang="0">
                <a:pos x="37" y="300"/>
              </a:cxn>
              <a:cxn ang="0">
                <a:pos x="58" y="306"/>
              </a:cxn>
              <a:cxn ang="0">
                <a:pos x="70" y="312"/>
              </a:cxn>
              <a:cxn ang="0">
                <a:pos x="80" y="320"/>
              </a:cxn>
              <a:cxn ang="0">
                <a:pos x="86" y="331"/>
              </a:cxn>
              <a:cxn ang="0">
                <a:pos x="86" y="347"/>
              </a:cxn>
              <a:cxn ang="0">
                <a:pos x="78" y="363"/>
              </a:cxn>
              <a:cxn ang="0">
                <a:pos x="68" y="375"/>
              </a:cxn>
              <a:cxn ang="0">
                <a:pos x="62" y="388"/>
              </a:cxn>
              <a:cxn ang="0">
                <a:pos x="60" y="400"/>
              </a:cxn>
              <a:cxn ang="0">
                <a:pos x="64" y="411"/>
              </a:cxn>
              <a:cxn ang="0">
                <a:pos x="76" y="424"/>
              </a:cxn>
              <a:cxn ang="0">
                <a:pos x="104" y="445"/>
              </a:cxn>
              <a:cxn ang="0">
                <a:pos x="120" y="443"/>
              </a:cxn>
              <a:cxn ang="0">
                <a:pos x="120" y="423"/>
              </a:cxn>
              <a:cxn ang="0">
                <a:pos x="131" y="413"/>
              </a:cxn>
              <a:cxn ang="0">
                <a:pos x="145" y="407"/>
              </a:cxn>
              <a:cxn ang="0">
                <a:pos x="153" y="402"/>
              </a:cxn>
              <a:cxn ang="0">
                <a:pos x="160" y="393"/>
              </a:cxn>
              <a:cxn ang="0">
                <a:pos x="166" y="375"/>
              </a:cxn>
              <a:cxn ang="0">
                <a:pos x="165" y="350"/>
              </a:cxn>
              <a:cxn ang="0">
                <a:pos x="158" y="328"/>
              </a:cxn>
              <a:cxn ang="0">
                <a:pos x="148" y="307"/>
              </a:cxn>
              <a:cxn ang="0">
                <a:pos x="141" y="284"/>
              </a:cxn>
              <a:cxn ang="0">
                <a:pos x="135" y="269"/>
              </a:cxn>
              <a:cxn ang="0">
                <a:pos x="118" y="251"/>
              </a:cxn>
              <a:cxn ang="0">
                <a:pos x="97" y="224"/>
              </a:cxn>
              <a:cxn ang="0">
                <a:pos x="85" y="206"/>
              </a:cxn>
              <a:cxn ang="0">
                <a:pos x="80" y="195"/>
              </a:cxn>
              <a:cxn ang="0">
                <a:pos x="81" y="177"/>
              </a:cxn>
              <a:cxn ang="0">
                <a:pos x="88" y="147"/>
              </a:cxn>
              <a:cxn ang="0">
                <a:pos x="96" y="129"/>
              </a:cxn>
              <a:cxn ang="0">
                <a:pos x="98" y="113"/>
              </a:cxn>
              <a:cxn ang="0">
                <a:pos x="95" y="82"/>
              </a:cxn>
              <a:cxn ang="0">
                <a:pos x="92" y="45"/>
              </a:cxn>
              <a:cxn ang="0">
                <a:pos x="89" y="18"/>
              </a:cxn>
              <a:cxn ang="0">
                <a:pos x="71" y="8"/>
              </a:cxn>
              <a:cxn ang="0">
                <a:pos x="33" y="4"/>
              </a:cxn>
              <a:cxn ang="0">
                <a:pos x="12" y="10"/>
              </a:cxn>
              <a:cxn ang="0">
                <a:pos x="22" y="25"/>
              </a:cxn>
              <a:cxn ang="0">
                <a:pos x="33" y="30"/>
              </a:cxn>
              <a:cxn ang="0">
                <a:pos x="40" y="44"/>
              </a:cxn>
              <a:cxn ang="0">
                <a:pos x="40" y="64"/>
              </a:cxn>
              <a:cxn ang="0">
                <a:pos x="40" y="78"/>
              </a:cxn>
              <a:cxn ang="0">
                <a:pos x="36" y="85"/>
              </a:cxn>
              <a:cxn ang="0">
                <a:pos x="29" y="95"/>
              </a:cxn>
              <a:cxn ang="0">
                <a:pos x="15" y="109"/>
              </a:cxn>
              <a:cxn ang="0">
                <a:pos x="3" y="122"/>
              </a:cxn>
              <a:cxn ang="0">
                <a:pos x="7" y="277"/>
              </a:cxn>
            </a:cxnLst>
            <a:rect l="0" t="0" r="r" b="b"/>
            <a:pathLst>
              <a:path w="166" h="456">
                <a:moveTo>
                  <a:pt x="7" y="277"/>
                </a:moveTo>
                <a:lnTo>
                  <a:pt x="10" y="282"/>
                </a:lnTo>
                <a:lnTo>
                  <a:pt x="14" y="287"/>
                </a:lnTo>
                <a:lnTo>
                  <a:pt x="19" y="290"/>
                </a:lnTo>
                <a:lnTo>
                  <a:pt x="25" y="294"/>
                </a:lnTo>
                <a:lnTo>
                  <a:pt x="37" y="300"/>
                </a:lnTo>
                <a:lnTo>
                  <a:pt x="52" y="304"/>
                </a:lnTo>
                <a:lnTo>
                  <a:pt x="58" y="306"/>
                </a:lnTo>
                <a:lnTo>
                  <a:pt x="65" y="309"/>
                </a:lnTo>
                <a:lnTo>
                  <a:pt x="70" y="312"/>
                </a:lnTo>
                <a:lnTo>
                  <a:pt x="76" y="316"/>
                </a:lnTo>
                <a:lnTo>
                  <a:pt x="80" y="320"/>
                </a:lnTo>
                <a:lnTo>
                  <a:pt x="84" y="325"/>
                </a:lnTo>
                <a:lnTo>
                  <a:pt x="86" y="331"/>
                </a:lnTo>
                <a:lnTo>
                  <a:pt x="87" y="339"/>
                </a:lnTo>
                <a:lnTo>
                  <a:pt x="86" y="347"/>
                </a:lnTo>
                <a:lnTo>
                  <a:pt x="82" y="356"/>
                </a:lnTo>
                <a:lnTo>
                  <a:pt x="78" y="363"/>
                </a:lnTo>
                <a:lnTo>
                  <a:pt x="74" y="369"/>
                </a:lnTo>
                <a:lnTo>
                  <a:pt x="68" y="375"/>
                </a:lnTo>
                <a:lnTo>
                  <a:pt x="64" y="381"/>
                </a:lnTo>
                <a:lnTo>
                  <a:pt x="62" y="388"/>
                </a:lnTo>
                <a:lnTo>
                  <a:pt x="60" y="394"/>
                </a:lnTo>
                <a:lnTo>
                  <a:pt x="60" y="400"/>
                </a:lnTo>
                <a:lnTo>
                  <a:pt x="62" y="405"/>
                </a:lnTo>
                <a:lnTo>
                  <a:pt x="64" y="411"/>
                </a:lnTo>
                <a:lnTo>
                  <a:pt x="67" y="416"/>
                </a:lnTo>
                <a:lnTo>
                  <a:pt x="76" y="424"/>
                </a:lnTo>
                <a:lnTo>
                  <a:pt x="85" y="432"/>
                </a:lnTo>
                <a:lnTo>
                  <a:pt x="104" y="445"/>
                </a:lnTo>
                <a:lnTo>
                  <a:pt x="120" y="456"/>
                </a:lnTo>
                <a:lnTo>
                  <a:pt x="120" y="443"/>
                </a:lnTo>
                <a:lnTo>
                  <a:pt x="120" y="432"/>
                </a:lnTo>
                <a:lnTo>
                  <a:pt x="120" y="423"/>
                </a:lnTo>
                <a:lnTo>
                  <a:pt x="120" y="413"/>
                </a:lnTo>
                <a:lnTo>
                  <a:pt x="131" y="413"/>
                </a:lnTo>
                <a:lnTo>
                  <a:pt x="141" y="410"/>
                </a:lnTo>
                <a:lnTo>
                  <a:pt x="145" y="407"/>
                </a:lnTo>
                <a:lnTo>
                  <a:pt x="149" y="405"/>
                </a:lnTo>
                <a:lnTo>
                  <a:pt x="153" y="402"/>
                </a:lnTo>
                <a:lnTo>
                  <a:pt x="155" y="399"/>
                </a:lnTo>
                <a:lnTo>
                  <a:pt x="160" y="393"/>
                </a:lnTo>
                <a:lnTo>
                  <a:pt x="164" y="384"/>
                </a:lnTo>
                <a:lnTo>
                  <a:pt x="166" y="375"/>
                </a:lnTo>
                <a:lnTo>
                  <a:pt x="166" y="364"/>
                </a:lnTo>
                <a:lnTo>
                  <a:pt x="165" y="350"/>
                </a:lnTo>
                <a:lnTo>
                  <a:pt x="163" y="339"/>
                </a:lnTo>
                <a:lnTo>
                  <a:pt x="158" y="328"/>
                </a:lnTo>
                <a:lnTo>
                  <a:pt x="153" y="318"/>
                </a:lnTo>
                <a:lnTo>
                  <a:pt x="148" y="307"/>
                </a:lnTo>
                <a:lnTo>
                  <a:pt x="144" y="296"/>
                </a:lnTo>
                <a:lnTo>
                  <a:pt x="141" y="284"/>
                </a:lnTo>
                <a:lnTo>
                  <a:pt x="140" y="271"/>
                </a:lnTo>
                <a:lnTo>
                  <a:pt x="135" y="269"/>
                </a:lnTo>
                <a:lnTo>
                  <a:pt x="127" y="261"/>
                </a:lnTo>
                <a:lnTo>
                  <a:pt x="118" y="251"/>
                </a:lnTo>
                <a:lnTo>
                  <a:pt x="108" y="238"/>
                </a:lnTo>
                <a:lnTo>
                  <a:pt x="97" y="224"/>
                </a:lnTo>
                <a:lnTo>
                  <a:pt x="88" y="211"/>
                </a:lnTo>
                <a:lnTo>
                  <a:pt x="85" y="206"/>
                </a:lnTo>
                <a:lnTo>
                  <a:pt x="82" y="200"/>
                </a:lnTo>
                <a:lnTo>
                  <a:pt x="80" y="195"/>
                </a:lnTo>
                <a:lnTo>
                  <a:pt x="80" y="192"/>
                </a:lnTo>
                <a:lnTo>
                  <a:pt x="81" y="177"/>
                </a:lnTo>
                <a:lnTo>
                  <a:pt x="85" y="157"/>
                </a:lnTo>
                <a:lnTo>
                  <a:pt x="88" y="147"/>
                </a:lnTo>
                <a:lnTo>
                  <a:pt x="91" y="138"/>
                </a:lnTo>
                <a:lnTo>
                  <a:pt x="96" y="129"/>
                </a:lnTo>
                <a:lnTo>
                  <a:pt x="100" y="123"/>
                </a:lnTo>
                <a:lnTo>
                  <a:pt x="98" y="113"/>
                </a:lnTo>
                <a:lnTo>
                  <a:pt x="96" y="99"/>
                </a:lnTo>
                <a:lnTo>
                  <a:pt x="95" y="82"/>
                </a:lnTo>
                <a:lnTo>
                  <a:pt x="93" y="63"/>
                </a:lnTo>
                <a:lnTo>
                  <a:pt x="92" y="45"/>
                </a:lnTo>
                <a:lnTo>
                  <a:pt x="90" y="30"/>
                </a:lnTo>
                <a:lnTo>
                  <a:pt x="89" y="18"/>
                </a:lnTo>
                <a:lnTo>
                  <a:pt x="87" y="12"/>
                </a:lnTo>
                <a:lnTo>
                  <a:pt x="71" y="8"/>
                </a:lnTo>
                <a:lnTo>
                  <a:pt x="54" y="6"/>
                </a:lnTo>
                <a:lnTo>
                  <a:pt x="33" y="4"/>
                </a:lnTo>
                <a:lnTo>
                  <a:pt x="7" y="0"/>
                </a:lnTo>
                <a:lnTo>
                  <a:pt x="12" y="10"/>
                </a:lnTo>
                <a:lnTo>
                  <a:pt x="19" y="21"/>
                </a:lnTo>
                <a:lnTo>
                  <a:pt x="22" y="25"/>
                </a:lnTo>
                <a:lnTo>
                  <a:pt x="28" y="28"/>
                </a:lnTo>
                <a:lnTo>
                  <a:pt x="33" y="30"/>
                </a:lnTo>
                <a:lnTo>
                  <a:pt x="40" y="31"/>
                </a:lnTo>
                <a:lnTo>
                  <a:pt x="40" y="44"/>
                </a:lnTo>
                <a:lnTo>
                  <a:pt x="40" y="55"/>
                </a:lnTo>
                <a:lnTo>
                  <a:pt x="40" y="64"/>
                </a:lnTo>
                <a:lnTo>
                  <a:pt x="40" y="74"/>
                </a:lnTo>
                <a:lnTo>
                  <a:pt x="40" y="78"/>
                </a:lnTo>
                <a:lnTo>
                  <a:pt x="39" y="81"/>
                </a:lnTo>
                <a:lnTo>
                  <a:pt x="36" y="85"/>
                </a:lnTo>
                <a:lnTo>
                  <a:pt x="35" y="88"/>
                </a:lnTo>
                <a:lnTo>
                  <a:pt x="29" y="95"/>
                </a:lnTo>
                <a:lnTo>
                  <a:pt x="22" y="102"/>
                </a:lnTo>
                <a:lnTo>
                  <a:pt x="15" y="109"/>
                </a:lnTo>
                <a:lnTo>
                  <a:pt x="9" y="115"/>
                </a:lnTo>
                <a:lnTo>
                  <a:pt x="3" y="122"/>
                </a:lnTo>
                <a:lnTo>
                  <a:pt x="0" y="129"/>
                </a:lnTo>
                <a:lnTo>
                  <a:pt x="7" y="27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523" name="Freeform 475"/>
          <p:cNvSpPr>
            <a:spLocks/>
          </p:cNvSpPr>
          <p:nvPr>
            <p:custDataLst>
              <p:tags r:id="rId313"/>
            </p:custDataLst>
          </p:nvPr>
        </p:nvSpPr>
        <p:spPr bwMode="auto">
          <a:xfrm>
            <a:off x="4329117" y="1900242"/>
            <a:ext cx="14287" cy="42863"/>
          </a:xfrm>
          <a:custGeom>
            <a:avLst/>
            <a:gdLst/>
            <a:ahLst/>
            <a:cxnLst>
              <a:cxn ang="0">
                <a:pos x="27" y="0"/>
              </a:cxn>
              <a:cxn ang="0">
                <a:pos x="27" y="12"/>
              </a:cxn>
              <a:cxn ang="0">
                <a:pos x="27" y="19"/>
              </a:cxn>
              <a:cxn ang="0">
                <a:pos x="9" y="19"/>
              </a:cxn>
              <a:cxn ang="0">
                <a:pos x="0" y="19"/>
              </a:cxn>
              <a:cxn ang="0">
                <a:pos x="9" y="12"/>
              </a:cxn>
              <a:cxn ang="0">
                <a:pos x="27" y="0"/>
              </a:cxn>
            </a:cxnLst>
            <a:rect l="0" t="0" r="r" b="b"/>
            <a:pathLst>
              <a:path w="27" h="19">
                <a:moveTo>
                  <a:pt x="27" y="0"/>
                </a:moveTo>
                <a:lnTo>
                  <a:pt x="27" y="12"/>
                </a:lnTo>
                <a:lnTo>
                  <a:pt x="27" y="19"/>
                </a:lnTo>
                <a:lnTo>
                  <a:pt x="9" y="19"/>
                </a:lnTo>
                <a:lnTo>
                  <a:pt x="0" y="19"/>
                </a:lnTo>
                <a:lnTo>
                  <a:pt x="9" y="12"/>
                </a:lnTo>
                <a:lnTo>
                  <a:pt x="2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524" name="Freeform 476"/>
          <p:cNvSpPr>
            <a:spLocks/>
          </p:cNvSpPr>
          <p:nvPr>
            <p:custDataLst>
              <p:tags r:id="rId314"/>
            </p:custDataLst>
          </p:nvPr>
        </p:nvSpPr>
        <p:spPr bwMode="auto">
          <a:xfrm>
            <a:off x="4648200" y="3115875"/>
            <a:ext cx="188913" cy="163115"/>
          </a:xfrm>
          <a:custGeom>
            <a:avLst/>
            <a:gdLst/>
            <a:ahLst/>
            <a:cxnLst>
              <a:cxn ang="0">
                <a:pos x="284" y="8"/>
              </a:cxn>
              <a:cxn ang="0">
                <a:pos x="320" y="27"/>
              </a:cxn>
              <a:cxn ang="0">
                <a:pos x="363" y="47"/>
              </a:cxn>
              <a:cxn ang="0">
                <a:pos x="395" y="58"/>
              </a:cxn>
              <a:cxn ang="0">
                <a:pos x="416" y="61"/>
              </a:cxn>
              <a:cxn ang="0">
                <a:pos x="425" y="81"/>
              </a:cxn>
              <a:cxn ang="0">
                <a:pos x="429" y="120"/>
              </a:cxn>
              <a:cxn ang="0">
                <a:pos x="434" y="157"/>
              </a:cxn>
              <a:cxn ang="0">
                <a:pos x="438" y="195"/>
              </a:cxn>
              <a:cxn ang="0">
                <a:pos x="438" y="223"/>
              </a:cxn>
              <a:cxn ang="0">
                <a:pos x="435" y="237"/>
              </a:cxn>
              <a:cxn ang="0">
                <a:pos x="425" y="259"/>
              </a:cxn>
              <a:cxn ang="0">
                <a:pos x="407" y="287"/>
              </a:cxn>
              <a:cxn ang="0">
                <a:pos x="391" y="307"/>
              </a:cxn>
              <a:cxn ang="0">
                <a:pos x="381" y="320"/>
              </a:cxn>
              <a:cxn ang="0">
                <a:pos x="374" y="332"/>
              </a:cxn>
              <a:cxn ang="0">
                <a:pos x="372" y="352"/>
              </a:cxn>
              <a:cxn ang="0">
                <a:pos x="359" y="372"/>
              </a:cxn>
              <a:cxn ang="0">
                <a:pos x="321" y="401"/>
              </a:cxn>
              <a:cxn ang="0">
                <a:pos x="205" y="388"/>
              </a:cxn>
              <a:cxn ang="0">
                <a:pos x="182" y="379"/>
              </a:cxn>
              <a:cxn ang="0">
                <a:pos x="165" y="370"/>
              </a:cxn>
              <a:cxn ang="0">
                <a:pos x="150" y="359"/>
              </a:cxn>
              <a:cxn ang="0">
                <a:pos x="139" y="346"/>
              </a:cxn>
              <a:cxn ang="0">
                <a:pos x="124" y="322"/>
              </a:cxn>
              <a:cxn ang="0">
                <a:pos x="108" y="296"/>
              </a:cxn>
              <a:cxn ang="0">
                <a:pos x="94" y="279"/>
              </a:cxn>
              <a:cxn ang="0">
                <a:pos x="72" y="259"/>
              </a:cxn>
              <a:cxn ang="0">
                <a:pos x="44" y="234"/>
              </a:cxn>
              <a:cxn ang="0">
                <a:pos x="24" y="213"/>
              </a:cxn>
              <a:cxn ang="0">
                <a:pos x="13" y="195"/>
              </a:cxn>
              <a:cxn ang="0">
                <a:pos x="4" y="176"/>
              </a:cxn>
              <a:cxn ang="0">
                <a:pos x="0" y="154"/>
              </a:cxn>
              <a:cxn ang="0">
                <a:pos x="18" y="141"/>
              </a:cxn>
              <a:cxn ang="0">
                <a:pos x="40" y="141"/>
              </a:cxn>
              <a:cxn ang="0">
                <a:pos x="53" y="141"/>
              </a:cxn>
              <a:cxn ang="0">
                <a:pos x="63" y="138"/>
              </a:cxn>
              <a:cxn ang="0">
                <a:pos x="77" y="131"/>
              </a:cxn>
              <a:cxn ang="0">
                <a:pos x="99" y="108"/>
              </a:cxn>
              <a:cxn ang="0">
                <a:pos x="117" y="87"/>
              </a:cxn>
              <a:cxn ang="0">
                <a:pos x="130" y="80"/>
              </a:cxn>
              <a:cxn ang="0">
                <a:pos x="150" y="71"/>
              </a:cxn>
              <a:cxn ang="0">
                <a:pos x="179" y="60"/>
              </a:cxn>
              <a:cxn ang="0">
                <a:pos x="203" y="50"/>
              </a:cxn>
              <a:cxn ang="0">
                <a:pos x="211" y="43"/>
              </a:cxn>
              <a:cxn ang="0">
                <a:pos x="210" y="38"/>
              </a:cxn>
              <a:cxn ang="0">
                <a:pos x="211" y="30"/>
              </a:cxn>
              <a:cxn ang="0">
                <a:pos x="213" y="17"/>
              </a:cxn>
              <a:cxn ang="0">
                <a:pos x="217" y="12"/>
              </a:cxn>
              <a:cxn ang="0">
                <a:pos x="225" y="12"/>
              </a:cxn>
              <a:cxn ang="0">
                <a:pos x="232" y="9"/>
              </a:cxn>
              <a:cxn ang="0">
                <a:pos x="236" y="4"/>
              </a:cxn>
              <a:cxn ang="0">
                <a:pos x="244" y="2"/>
              </a:cxn>
              <a:cxn ang="0">
                <a:pos x="251" y="3"/>
              </a:cxn>
              <a:cxn ang="0">
                <a:pos x="264" y="1"/>
              </a:cxn>
            </a:cxnLst>
            <a:rect l="0" t="0" r="r" b="b"/>
            <a:pathLst>
              <a:path w="438" h="406">
                <a:moveTo>
                  <a:pt x="272" y="0"/>
                </a:moveTo>
                <a:lnTo>
                  <a:pt x="284" y="8"/>
                </a:lnTo>
                <a:lnTo>
                  <a:pt x="301" y="17"/>
                </a:lnTo>
                <a:lnTo>
                  <a:pt x="320" y="27"/>
                </a:lnTo>
                <a:lnTo>
                  <a:pt x="341" y="37"/>
                </a:lnTo>
                <a:lnTo>
                  <a:pt x="363" y="47"/>
                </a:lnTo>
                <a:lnTo>
                  <a:pt x="385" y="55"/>
                </a:lnTo>
                <a:lnTo>
                  <a:pt x="395" y="58"/>
                </a:lnTo>
                <a:lnTo>
                  <a:pt x="406" y="60"/>
                </a:lnTo>
                <a:lnTo>
                  <a:pt x="416" y="61"/>
                </a:lnTo>
                <a:lnTo>
                  <a:pt x="425" y="61"/>
                </a:lnTo>
                <a:lnTo>
                  <a:pt x="425" y="81"/>
                </a:lnTo>
                <a:lnTo>
                  <a:pt x="427" y="101"/>
                </a:lnTo>
                <a:lnTo>
                  <a:pt x="429" y="120"/>
                </a:lnTo>
                <a:lnTo>
                  <a:pt x="432" y="138"/>
                </a:lnTo>
                <a:lnTo>
                  <a:pt x="434" y="157"/>
                </a:lnTo>
                <a:lnTo>
                  <a:pt x="436" y="176"/>
                </a:lnTo>
                <a:lnTo>
                  <a:pt x="438" y="195"/>
                </a:lnTo>
                <a:lnTo>
                  <a:pt x="438" y="216"/>
                </a:lnTo>
                <a:lnTo>
                  <a:pt x="438" y="223"/>
                </a:lnTo>
                <a:lnTo>
                  <a:pt x="436" y="230"/>
                </a:lnTo>
                <a:lnTo>
                  <a:pt x="435" y="237"/>
                </a:lnTo>
                <a:lnTo>
                  <a:pt x="432" y="245"/>
                </a:lnTo>
                <a:lnTo>
                  <a:pt x="425" y="259"/>
                </a:lnTo>
                <a:lnTo>
                  <a:pt x="416" y="274"/>
                </a:lnTo>
                <a:lnTo>
                  <a:pt x="407" y="287"/>
                </a:lnTo>
                <a:lnTo>
                  <a:pt x="399" y="298"/>
                </a:lnTo>
                <a:lnTo>
                  <a:pt x="391" y="307"/>
                </a:lnTo>
                <a:lnTo>
                  <a:pt x="385" y="314"/>
                </a:lnTo>
                <a:lnTo>
                  <a:pt x="381" y="320"/>
                </a:lnTo>
                <a:lnTo>
                  <a:pt x="378" y="326"/>
                </a:lnTo>
                <a:lnTo>
                  <a:pt x="374" y="332"/>
                </a:lnTo>
                <a:lnTo>
                  <a:pt x="373" y="339"/>
                </a:lnTo>
                <a:lnTo>
                  <a:pt x="372" y="352"/>
                </a:lnTo>
                <a:lnTo>
                  <a:pt x="372" y="363"/>
                </a:lnTo>
                <a:lnTo>
                  <a:pt x="359" y="372"/>
                </a:lnTo>
                <a:lnTo>
                  <a:pt x="339" y="387"/>
                </a:lnTo>
                <a:lnTo>
                  <a:pt x="321" y="401"/>
                </a:lnTo>
                <a:lnTo>
                  <a:pt x="312" y="406"/>
                </a:lnTo>
                <a:lnTo>
                  <a:pt x="205" y="388"/>
                </a:lnTo>
                <a:lnTo>
                  <a:pt x="192" y="382"/>
                </a:lnTo>
                <a:lnTo>
                  <a:pt x="182" y="379"/>
                </a:lnTo>
                <a:lnTo>
                  <a:pt x="172" y="376"/>
                </a:lnTo>
                <a:lnTo>
                  <a:pt x="165" y="370"/>
                </a:lnTo>
                <a:lnTo>
                  <a:pt x="157" y="365"/>
                </a:lnTo>
                <a:lnTo>
                  <a:pt x="150" y="359"/>
                </a:lnTo>
                <a:lnTo>
                  <a:pt x="145" y="353"/>
                </a:lnTo>
                <a:lnTo>
                  <a:pt x="139" y="346"/>
                </a:lnTo>
                <a:lnTo>
                  <a:pt x="134" y="338"/>
                </a:lnTo>
                <a:lnTo>
                  <a:pt x="124" y="322"/>
                </a:lnTo>
                <a:lnTo>
                  <a:pt x="114" y="304"/>
                </a:lnTo>
                <a:lnTo>
                  <a:pt x="108" y="296"/>
                </a:lnTo>
                <a:lnTo>
                  <a:pt x="101" y="288"/>
                </a:lnTo>
                <a:lnTo>
                  <a:pt x="94" y="279"/>
                </a:lnTo>
                <a:lnTo>
                  <a:pt x="86" y="271"/>
                </a:lnTo>
                <a:lnTo>
                  <a:pt x="72" y="259"/>
                </a:lnTo>
                <a:lnTo>
                  <a:pt x="58" y="247"/>
                </a:lnTo>
                <a:lnTo>
                  <a:pt x="44" y="234"/>
                </a:lnTo>
                <a:lnTo>
                  <a:pt x="31" y="220"/>
                </a:lnTo>
                <a:lnTo>
                  <a:pt x="24" y="213"/>
                </a:lnTo>
                <a:lnTo>
                  <a:pt x="19" y="204"/>
                </a:lnTo>
                <a:lnTo>
                  <a:pt x="13" y="195"/>
                </a:lnTo>
                <a:lnTo>
                  <a:pt x="9" y="186"/>
                </a:lnTo>
                <a:lnTo>
                  <a:pt x="4" y="176"/>
                </a:lnTo>
                <a:lnTo>
                  <a:pt x="2" y="166"/>
                </a:lnTo>
                <a:lnTo>
                  <a:pt x="0" y="154"/>
                </a:lnTo>
                <a:lnTo>
                  <a:pt x="0" y="141"/>
                </a:lnTo>
                <a:lnTo>
                  <a:pt x="18" y="141"/>
                </a:lnTo>
                <a:lnTo>
                  <a:pt x="31" y="141"/>
                </a:lnTo>
                <a:lnTo>
                  <a:pt x="40" y="141"/>
                </a:lnTo>
                <a:lnTo>
                  <a:pt x="46" y="141"/>
                </a:lnTo>
                <a:lnTo>
                  <a:pt x="53" y="141"/>
                </a:lnTo>
                <a:lnTo>
                  <a:pt x="58" y="140"/>
                </a:lnTo>
                <a:lnTo>
                  <a:pt x="63" y="138"/>
                </a:lnTo>
                <a:lnTo>
                  <a:pt x="68" y="136"/>
                </a:lnTo>
                <a:lnTo>
                  <a:pt x="77" y="131"/>
                </a:lnTo>
                <a:lnTo>
                  <a:pt x="85" y="124"/>
                </a:lnTo>
                <a:lnTo>
                  <a:pt x="99" y="108"/>
                </a:lnTo>
                <a:lnTo>
                  <a:pt x="113" y="92"/>
                </a:lnTo>
                <a:lnTo>
                  <a:pt x="117" y="87"/>
                </a:lnTo>
                <a:lnTo>
                  <a:pt x="124" y="83"/>
                </a:lnTo>
                <a:lnTo>
                  <a:pt x="130" y="80"/>
                </a:lnTo>
                <a:lnTo>
                  <a:pt x="136" y="77"/>
                </a:lnTo>
                <a:lnTo>
                  <a:pt x="150" y="71"/>
                </a:lnTo>
                <a:lnTo>
                  <a:pt x="165" y="65"/>
                </a:lnTo>
                <a:lnTo>
                  <a:pt x="179" y="60"/>
                </a:lnTo>
                <a:lnTo>
                  <a:pt x="192" y="55"/>
                </a:lnTo>
                <a:lnTo>
                  <a:pt x="203" y="50"/>
                </a:lnTo>
                <a:lnTo>
                  <a:pt x="212" y="43"/>
                </a:lnTo>
                <a:lnTo>
                  <a:pt x="211" y="43"/>
                </a:lnTo>
                <a:lnTo>
                  <a:pt x="210" y="41"/>
                </a:lnTo>
                <a:lnTo>
                  <a:pt x="210" y="38"/>
                </a:lnTo>
                <a:lnTo>
                  <a:pt x="210" y="36"/>
                </a:lnTo>
                <a:lnTo>
                  <a:pt x="211" y="30"/>
                </a:lnTo>
                <a:lnTo>
                  <a:pt x="212" y="24"/>
                </a:lnTo>
                <a:lnTo>
                  <a:pt x="213" y="17"/>
                </a:lnTo>
                <a:lnTo>
                  <a:pt x="214" y="14"/>
                </a:lnTo>
                <a:lnTo>
                  <a:pt x="217" y="12"/>
                </a:lnTo>
                <a:lnTo>
                  <a:pt x="221" y="12"/>
                </a:lnTo>
                <a:lnTo>
                  <a:pt x="225" y="12"/>
                </a:lnTo>
                <a:lnTo>
                  <a:pt x="229" y="11"/>
                </a:lnTo>
                <a:lnTo>
                  <a:pt x="232" y="9"/>
                </a:lnTo>
                <a:lnTo>
                  <a:pt x="234" y="7"/>
                </a:lnTo>
                <a:lnTo>
                  <a:pt x="236" y="4"/>
                </a:lnTo>
                <a:lnTo>
                  <a:pt x="239" y="0"/>
                </a:lnTo>
                <a:lnTo>
                  <a:pt x="244" y="2"/>
                </a:lnTo>
                <a:lnTo>
                  <a:pt x="248" y="3"/>
                </a:lnTo>
                <a:lnTo>
                  <a:pt x="251" y="3"/>
                </a:lnTo>
                <a:lnTo>
                  <a:pt x="256" y="2"/>
                </a:lnTo>
                <a:lnTo>
                  <a:pt x="264" y="1"/>
                </a:lnTo>
                <a:lnTo>
                  <a:pt x="272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525" name="Freeform 477"/>
          <p:cNvSpPr>
            <a:spLocks/>
          </p:cNvSpPr>
          <p:nvPr>
            <p:custDataLst>
              <p:tags r:id="rId315"/>
            </p:custDataLst>
          </p:nvPr>
        </p:nvSpPr>
        <p:spPr bwMode="auto">
          <a:xfrm>
            <a:off x="4560895" y="2947992"/>
            <a:ext cx="293687" cy="225029"/>
          </a:xfrm>
          <a:custGeom>
            <a:avLst/>
            <a:gdLst/>
            <a:ahLst/>
            <a:cxnLst>
              <a:cxn ang="0">
                <a:pos x="513" y="8"/>
              </a:cxn>
              <a:cxn ang="0">
                <a:pos x="552" y="26"/>
              </a:cxn>
              <a:cxn ang="0">
                <a:pos x="645" y="63"/>
              </a:cxn>
              <a:cxn ang="0">
                <a:pos x="660" y="88"/>
              </a:cxn>
              <a:cxn ang="0">
                <a:pos x="678" y="94"/>
              </a:cxn>
              <a:cxn ang="0">
                <a:pos x="678" y="127"/>
              </a:cxn>
              <a:cxn ang="0">
                <a:pos x="677" y="144"/>
              </a:cxn>
              <a:cxn ang="0">
                <a:pos x="667" y="158"/>
              </a:cxn>
              <a:cxn ang="0">
                <a:pos x="647" y="178"/>
              </a:cxn>
              <a:cxn ang="0">
                <a:pos x="638" y="346"/>
              </a:cxn>
              <a:cxn ang="0">
                <a:pos x="461" y="388"/>
              </a:cxn>
              <a:cxn ang="0">
                <a:pos x="461" y="415"/>
              </a:cxn>
              <a:cxn ang="0">
                <a:pos x="455" y="435"/>
              </a:cxn>
              <a:cxn ang="0">
                <a:pos x="444" y="435"/>
              </a:cxn>
              <a:cxn ang="0">
                <a:pos x="434" y="440"/>
              </a:cxn>
              <a:cxn ang="0">
                <a:pos x="425" y="445"/>
              </a:cxn>
              <a:cxn ang="0">
                <a:pos x="414" y="447"/>
              </a:cxn>
              <a:cxn ang="0">
                <a:pos x="411" y="463"/>
              </a:cxn>
              <a:cxn ang="0">
                <a:pos x="410" y="474"/>
              </a:cxn>
              <a:cxn ang="0">
                <a:pos x="403" y="483"/>
              </a:cxn>
              <a:cxn ang="0">
                <a:pos x="365" y="498"/>
              </a:cxn>
              <a:cxn ang="0">
                <a:pos x="330" y="513"/>
              </a:cxn>
              <a:cxn ang="0">
                <a:pos x="313" y="525"/>
              </a:cxn>
              <a:cxn ang="0">
                <a:pos x="277" y="564"/>
              </a:cxn>
              <a:cxn ang="0">
                <a:pos x="258" y="573"/>
              </a:cxn>
              <a:cxn ang="0">
                <a:pos x="238" y="574"/>
              </a:cxn>
              <a:cxn ang="0">
                <a:pos x="193" y="574"/>
              </a:cxn>
              <a:cxn ang="0">
                <a:pos x="186" y="559"/>
              </a:cxn>
              <a:cxn ang="0">
                <a:pos x="165" y="547"/>
              </a:cxn>
              <a:cxn ang="0">
                <a:pos x="133" y="545"/>
              </a:cxn>
              <a:cxn ang="0">
                <a:pos x="93" y="556"/>
              </a:cxn>
              <a:cxn ang="0">
                <a:pos x="33" y="527"/>
              </a:cxn>
              <a:cxn ang="0">
                <a:pos x="0" y="285"/>
              </a:cxn>
              <a:cxn ang="0">
                <a:pos x="73" y="286"/>
              </a:cxn>
              <a:cxn ang="0">
                <a:pos x="103" y="282"/>
              </a:cxn>
              <a:cxn ang="0">
                <a:pos x="119" y="275"/>
              </a:cxn>
              <a:cxn ang="0">
                <a:pos x="129" y="256"/>
              </a:cxn>
              <a:cxn ang="0">
                <a:pos x="131" y="229"/>
              </a:cxn>
              <a:cxn ang="0">
                <a:pos x="126" y="185"/>
              </a:cxn>
              <a:cxn ang="0">
                <a:pos x="130" y="165"/>
              </a:cxn>
              <a:cxn ang="0">
                <a:pos x="140" y="171"/>
              </a:cxn>
              <a:cxn ang="0">
                <a:pos x="174" y="175"/>
              </a:cxn>
              <a:cxn ang="0">
                <a:pos x="188" y="186"/>
              </a:cxn>
              <a:cxn ang="0">
                <a:pos x="195" y="201"/>
              </a:cxn>
              <a:cxn ang="0">
                <a:pos x="208" y="210"/>
              </a:cxn>
              <a:cxn ang="0">
                <a:pos x="241" y="217"/>
              </a:cxn>
              <a:cxn ang="0">
                <a:pos x="269" y="214"/>
              </a:cxn>
              <a:cxn ang="0">
                <a:pos x="301" y="199"/>
              </a:cxn>
              <a:cxn ang="0">
                <a:pos x="319" y="196"/>
              </a:cxn>
              <a:cxn ang="0">
                <a:pos x="331" y="193"/>
              </a:cxn>
              <a:cxn ang="0">
                <a:pos x="343" y="190"/>
              </a:cxn>
              <a:cxn ang="0">
                <a:pos x="357" y="182"/>
              </a:cxn>
              <a:cxn ang="0">
                <a:pos x="368" y="168"/>
              </a:cxn>
              <a:cxn ang="0">
                <a:pos x="383" y="126"/>
              </a:cxn>
              <a:cxn ang="0">
                <a:pos x="403" y="47"/>
              </a:cxn>
              <a:cxn ang="0">
                <a:pos x="414" y="10"/>
              </a:cxn>
              <a:cxn ang="0">
                <a:pos x="431" y="6"/>
              </a:cxn>
              <a:cxn ang="0">
                <a:pos x="453" y="8"/>
              </a:cxn>
              <a:cxn ang="0">
                <a:pos x="482" y="1"/>
              </a:cxn>
            </a:cxnLst>
            <a:rect l="0" t="0" r="r" b="b"/>
            <a:pathLst>
              <a:path w="678" h="574">
                <a:moveTo>
                  <a:pt x="505" y="1"/>
                </a:moveTo>
                <a:lnTo>
                  <a:pt x="507" y="4"/>
                </a:lnTo>
                <a:lnTo>
                  <a:pt x="513" y="8"/>
                </a:lnTo>
                <a:lnTo>
                  <a:pt x="521" y="12"/>
                </a:lnTo>
                <a:lnTo>
                  <a:pt x="529" y="16"/>
                </a:lnTo>
                <a:lnTo>
                  <a:pt x="552" y="26"/>
                </a:lnTo>
                <a:lnTo>
                  <a:pt x="578" y="37"/>
                </a:lnTo>
                <a:lnTo>
                  <a:pt x="624" y="55"/>
                </a:lnTo>
                <a:lnTo>
                  <a:pt x="645" y="63"/>
                </a:lnTo>
                <a:lnTo>
                  <a:pt x="650" y="73"/>
                </a:lnTo>
                <a:lnTo>
                  <a:pt x="657" y="84"/>
                </a:lnTo>
                <a:lnTo>
                  <a:pt x="660" y="88"/>
                </a:lnTo>
                <a:lnTo>
                  <a:pt x="666" y="91"/>
                </a:lnTo>
                <a:lnTo>
                  <a:pt x="671" y="93"/>
                </a:lnTo>
                <a:lnTo>
                  <a:pt x="678" y="94"/>
                </a:lnTo>
                <a:lnTo>
                  <a:pt x="678" y="107"/>
                </a:lnTo>
                <a:lnTo>
                  <a:pt x="678" y="118"/>
                </a:lnTo>
                <a:lnTo>
                  <a:pt x="678" y="127"/>
                </a:lnTo>
                <a:lnTo>
                  <a:pt x="678" y="137"/>
                </a:lnTo>
                <a:lnTo>
                  <a:pt x="678" y="141"/>
                </a:lnTo>
                <a:lnTo>
                  <a:pt x="677" y="144"/>
                </a:lnTo>
                <a:lnTo>
                  <a:pt x="674" y="148"/>
                </a:lnTo>
                <a:lnTo>
                  <a:pt x="673" y="151"/>
                </a:lnTo>
                <a:lnTo>
                  <a:pt x="667" y="158"/>
                </a:lnTo>
                <a:lnTo>
                  <a:pt x="660" y="165"/>
                </a:lnTo>
                <a:lnTo>
                  <a:pt x="653" y="172"/>
                </a:lnTo>
                <a:lnTo>
                  <a:pt x="647" y="178"/>
                </a:lnTo>
                <a:lnTo>
                  <a:pt x="641" y="185"/>
                </a:lnTo>
                <a:lnTo>
                  <a:pt x="638" y="192"/>
                </a:lnTo>
                <a:lnTo>
                  <a:pt x="638" y="346"/>
                </a:lnTo>
                <a:lnTo>
                  <a:pt x="466" y="378"/>
                </a:lnTo>
                <a:lnTo>
                  <a:pt x="464" y="382"/>
                </a:lnTo>
                <a:lnTo>
                  <a:pt x="461" y="388"/>
                </a:lnTo>
                <a:lnTo>
                  <a:pt x="460" y="394"/>
                </a:lnTo>
                <a:lnTo>
                  <a:pt x="460" y="400"/>
                </a:lnTo>
                <a:lnTo>
                  <a:pt x="461" y="415"/>
                </a:lnTo>
                <a:lnTo>
                  <a:pt x="466" y="433"/>
                </a:lnTo>
                <a:lnTo>
                  <a:pt x="460" y="434"/>
                </a:lnTo>
                <a:lnTo>
                  <a:pt x="455" y="435"/>
                </a:lnTo>
                <a:lnTo>
                  <a:pt x="451" y="436"/>
                </a:lnTo>
                <a:lnTo>
                  <a:pt x="448" y="436"/>
                </a:lnTo>
                <a:lnTo>
                  <a:pt x="444" y="435"/>
                </a:lnTo>
                <a:lnTo>
                  <a:pt x="439" y="433"/>
                </a:lnTo>
                <a:lnTo>
                  <a:pt x="436" y="437"/>
                </a:lnTo>
                <a:lnTo>
                  <a:pt x="434" y="440"/>
                </a:lnTo>
                <a:lnTo>
                  <a:pt x="432" y="442"/>
                </a:lnTo>
                <a:lnTo>
                  <a:pt x="429" y="444"/>
                </a:lnTo>
                <a:lnTo>
                  <a:pt x="425" y="445"/>
                </a:lnTo>
                <a:lnTo>
                  <a:pt x="421" y="445"/>
                </a:lnTo>
                <a:lnTo>
                  <a:pt x="417" y="445"/>
                </a:lnTo>
                <a:lnTo>
                  <a:pt x="414" y="447"/>
                </a:lnTo>
                <a:lnTo>
                  <a:pt x="413" y="450"/>
                </a:lnTo>
                <a:lnTo>
                  <a:pt x="412" y="457"/>
                </a:lnTo>
                <a:lnTo>
                  <a:pt x="411" y="463"/>
                </a:lnTo>
                <a:lnTo>
                  <a:pt x="410" y="469"/>
                </a:lnTo>
                <a:lnTo>
                  <a:pt x="410" y="471"/>
                </a:lnTo>
                <a:lnTo>
                  <a:pt x="410" y="474"/>
                </a:lnTo>
                <a:lnTo>
                  <a:pt x="411" y="476"/>
                </a:lnTo>
                <a:lnTo>
                  <a:pt x="412" y="476"/>
                </a:lnTo>
                <a:lnTo>
                  <a:pt x="403" y="483"/>
                </a:lnTo>
                <a:lnTo>
                  <a:pt x="392" y="488"/>
                </a:lnTo>
                <a:lnTo>
                  <a:pt x="379" y="493"/>
                </a:lnTo>
                <a:lnTo>
                  <a:pt x="365" y="498"/>
                </a:lnTo>
                <a:lnTo>
                  <a:pt x="350" y="504"/>
                </a:lnTo>
                <a:lnTo>
                  <a:pt x="336" y="510"/>
                </a:lnTo>
                <a:lnTo>
                  <a:pt x="330" y="513"/>
                </a:lnTo>
                <a:lnTo>
                  <a:pt x="324" y="516"/>
                </a:lnTo>
                <a:lnTo>
                  <a:pt x="317" y="520"/>
                </a:lnTo>
                <a:lnTo>
                  <a:pt x="313" y="525"/>
                </a:lnTo>
                <a:lnTo>
                  <a:pt x="299" y="541"/>
                </a:lnTo>
                <a:lnTo>
                  <a:pt x="285" y="557"/>
                </a:lnTo>
                <a:lnTo>
                  <a:pt x="277" y="564"/>
                </a:lnTo>
                <a:lnTo>
                  <a:pt x="268" y="569"/>
                </a:lnTo>
                <a:lnTo>
                  <a:pt x="263" y="571"/>
                </a:lnTo>
                <a:lnTo>
                  <a:pt x="258" y="573"/>
                </a:lnTo>
                <a:lnTo>
                  <a:pt x="253" y="574"/>
                </a:lnTo>
                <a:lnTo>
                  <a:pt x="246" y="574"/>
                </a:lnTo>
                <a:lnTo>
                  <a:pt x="238" y="574"/>
                </a:lnTo>
                <a:lnTo>
                  <a:pt x="227" y="574"/>
                </a:lnTo>
                <a:lnTo>
                  <a:pt x="212" y="574"/>
                </a:lnTo>
                <a:lnTo>
                  <a:pt x="193" y="574"/>
                </a:lnTo>
                <a:lnTo>
                  <a:pt x="192" y="569"/>
                </a:lnTo>
                <a:lnTo>
                  <a:pt x="189" y="564"/>
                </a:lnTo>
                <a:lnTo>
                  <a:pt x="186" y="559"/>
                </a:lnTo>
                <a:lnTo>
                  <a:pt x="180" y="554"/>
                </a:lnTo>
                <a:lnTo>
                  <a:pt x="173" y="550"/>
                </a:lnTo>
                <a:lnTo>
                  <a:pt x="165" y="547"/>
                </a:lnTo>
                <a:lnTo>
                  <a:pt x="156" y="545"/>
                </a:lnTo>
                <a:lnTo>
                  <a:pt x="146" y="544"/>
                </a:lnTo>
                <a:lnTo>
                  <a:pt x="133" y="545"/>
                </a:lnTo>
                <a:lnTo>
                  <a:pt x="120" y="548"/>
                </a:lnTo>
                <a:lnTo>
                  <a:pt x="108" y="552"/>
                </a:lnTo>
                <a:lnTo>
                  <a:pt x="93" y="556"/>
                </a:lnTo>
                <a:lnTo>
                  <a:pt x="61" y="556"/>
                </a:lnTo>
                <a:lnTo>
                  <a:pt x="48" y="544"/>
                </a:lnTo>
                <a:lnTo>
                  <a:pt x="33" y="527"/>
                </a:lnTo>
                <a:lnTo>
                  <a:pt x="17" y="510"/>
                </a:lnTo>
                <a:lnTo>
                  <a:pt x="0" y="494"/>
                </a:lnTo>
                <a:lnTo>
                  <a:pt x="0" y="285"/>
                </a:lnTo>
                <a:lnTo>
                  <a:pt x="21" y="286"/>
                </a:lnTo>
                <a:lnTo>
                  <a:pt x="54" y="286"/>
                </a:lnTo>
                <a:lnTo>
                  <a:pt x="73" y="286"/>
                </a:lnTo>
                <a:lnTo>
                  <a:pt x="89" y="285"/>
                </a:lnTo>
                <a:lnTo>
                  <a:pt x="97" y="284"/>
                </a:lnTo>
                <a:lnTo>
                  <a:pt x="103" y="282"/>
                </a:lnTo>
                <a:lnTo>
                  <a:pt x="109" y="281"/>
                </a:lnTo>
                <a:lnTo>
                  <a:pt x="113" y="279"/>
                </a:lnTo>
                <a:lnTo>
                  <a:pt x="119" y="275"/>
                </a:lnTo>
                <a:lnTo>
                  <a:pt x="123" y="269"/>
                </a:lnTo>
                <a:lnTo>
                  <a:pt x="126" y="263"/>
                </a:lnTo>
                <a:lnTo>
                  <a:pt x="129" y="256"/>
                </a:lnTo>
                <a:lnTo>
                  <a:pt x="130" y="247"/>
                </a:lnTo>
                <a:lnTo>
                  <a:pt x="131" y="238"/>
                </a:lnTo>
                <a:lnTo>
                  <a:pt x="131" y="229"/>
                </a:lnTo>
                <a:lnTo>
                  <a:pt x="130" y="220"/>
                </a:lnTo>
                <a:lnTo>
                  <a:pt x="129" y="202"/>
                </a:lnTo>
                <a:lnTo>
                  <a:pt x="126" y="185"/>
                </a:lnTo>
                <a:lnTo>
                  <a:pt x="125" y="171"/>
                </a:lnTo>
                <a:lnTo>
                  <a:pt x="126" y="162"/>
                </a:lnTo>
                <a:lnTo>
                  <a:pt x="130" y="165"/>
                </a:lnTo>
                <a:lnTo>
                  <a:pt x="132" y="168"/>
                </a:lnTo>
                <a:lnTo>
                  <a:pt x="136" y="170"/>
                </a:lnTo>
                <a:lnTo>
                  <a:pt x="140" y="171"/>
                </a:lnTo>
                <a:lnTo>
                  <a:pt x="147" y="174"/>
                </a:lnTo>
                <a:lnTo>
                  <a:pt x="156" y="175"/>
                </a:lnTo>
                <a:lnTo>
                  <a:pt x="174" y="175"/>
                </a:lnTo>
                <a:lnTo>
                  <a:pt x="187" y="174"/>
                </a:lnTo>
                <a:lnTo>
                  <a:pt x="187" y="180"/>
                </a:lnTo>
                <a:lnTo>
                  <a:pt x="188" y="186"/>
                </a:lnTo>
                <a:lnTo>
                  <a:pt x="190" y="191"/>
                </a:lnTo>
                <a:lnTo>
                  <a:pt x="192" y="197"/>
                </a:lnTo>
                <a:lnTo>
                  <a:pt x="195" y="201"/>
                </a:lnTo>
                <a:lnTo>
                  <a:pt x="199" y="204"/>
                </a:lnTo>
                <a:lnTo>
                  <a:pt x="202" y="207"/>
                </a:lnTo>
                <a:lnTo>
                  <a:pt x="208" y="210"/>
                </a:lnTo>
                <a:lnTo>
                  <a:pt x="218" y="213"/>
                </a:lnTo>
                <a:lnTo>
                  <a:pt x="229" y="216"/>
                </a:lnTo>
                <a:lnTo>
                  <a:pt x="241" y="217"/>
                </a:lnTo>
                <a:lnTo>
                  <a:pt x="253" y="217"/>
                </a:lnTo>
                <a:lnTo>
                  <a:pt x="260" y="216"/>
                </a:lnTo>
                <a:lnTo>
                  <a:pt x="269" y="214"/>
                </a:lnTo>
                <a:lnTo>
                  <a:pt x="277" y="211"/>
                </a:lnTo>
                <a:lnTo>
                  <a:pt x="286" y="207"/>
                </a:lnTo>
                <a:lnTo>
                  <a:pt x="301" y="199"/>
                </a:lnTo>
                <a:lnTo>
                  <a:pt x="313" y="192"/>
                </a:lnTo>
                <a:lnTo>
                  <a:pt x="315" y="195"/>
                </a:lnTo>
                <a:lnTo>
                  <a:pt x="319" y="196"/>
                </a:lnTo>
                <a:lnTo>
                  <a:pt x="322" y="196"/>
                </a:lnTo>
                <a:lnTo>
                  <a:pt x="325" y="195"/>
                </a:lnTo>
                <a:lnTo>
                  <a:pt x="331" y="193"/>
                </a:lnTo>
                <a:lnTo>
                  <a:pt x="333" y="192"/>
                </a:lnTo>
                <a:lnTo>
                  <a:pt x="338" y="192"/>
                </a:lnTo>
                <a:lnTo>
                  <a:pt x="343" y="190"/>
                </a:lnTo>
                <a:lnTo>
                  <a:pt x="348" y="188"/>
                </a:lnTo>
                <a:lnTo>
                  <a:pt x="353" y="185"/>
                </a:lnTo>
                <a:lnTo>
                  <a:pt x="357" y="182"/>
                </a:lnTo>
                <a:lnTo>
                  <a:pt x="360" y="178"/>
                </a:lnTo>
                <a:lnTo>
                  <a:pt x="364" y="173"/>
                </a:lnTo>
                <a:lnTo>
                  <a:pt x="368" y="168"/>
                </a:lnTo>
                <a:lnTo>
                  <a:pt x="373" y="156"/>
                </a:lnTo>
                <a:lnTo>
                  <a:pt x="379" y="142"/>
                </a:lnTo>
                <a:lnTo>
                  <a:pt x="383" y="126"/>
                </a:lnTo>
                <a:lnTo>
                  <a:pt x="388" y="111"/>
                </a:lnTo>
                <a:lnTo>
                  <a:pt x="395" y="78"/>
                </a:lnTo>
                <a:lnTo>
                  <a:pt x="403" y="47"/>
                </a:lnTo>
                <a:lnTo>
                  <a:pt x="406" y="33"/>
                </a:lnTo>
                <a:lnTo>
                  <a:pt x="410" y="20"/>
                </a:lnTo>
                <a:lnTo>
                  <a:pt x="414" y="10"/>
                </a:lnTo>
                <a:lnTo>
                  <a:pt x="418" y="1"/>
                </a:lnTo>
                <a:lnTo>
                  <a:pt x="425" y="4"/>
                </a:lnTo>
                <a:lnTo>
                  <a:pt x="431" y="6"/>
                </a:lnTo>
                <a:lnTo>
                  <a:pt x="436" y="8"/>
                </a:lnTo>
                <a:lnTo>
                  <a:pt x="442" y="8"/>
                </a:lnTo>
                <a:lnTo>
                  <a:pt x="453" y="8"/>
                </a:lnTo>
                <a:lnTo>
                  <a:pt x="462" y="6"/>
                </a:lnTo>
                <a:lnTo>
                  <a:pt x="472" y="4"/>
                </a:lnTo>
                <a:lnTo>
                  <a:pt x="482" y="1"/>
                </a:lnTo>
                <a:lnTo>
                  <a:pt x="493" y="0"/>
                </a:lnTo>
                <a:lnTo>
                  <a:pt x="505" y="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526" name="Freeform 478"/>
          <p:cNvSpPr>
            <a:spLocks/>
          </p:cNvSpPr>
          <p:nvPr>
            <p:custDataLst>
              <p:tags r:id="rId316"/>
            </p:custDataLst>
          </p:nvPr>
        </p:nvSpPr>
        <p:spPr bwMode="auto">
          <a:xfrm>
            <a:off x="4297370" y="3152775"/>
            <a:ext cx="350837" cy="285750"/>
          </a:xfrm>
          <a:custGeom>
            <a:avLst/>
            <a:gdLst/>
            <a:ahLst/>
            <a:cxnLst>
              <a:cxn ang="0">
                <a:pos x="797" y="42"/>
              </a:cxn>
              <a:cxn ang="0">
                <a:pos x="766" y="26"/>
              </a:cxn>
              <a:cxn ang="0">
                <a:pos x="718" y="33"/>
              </a:cxn>
              <a:cxn ang="0">
                <a:pos x="634" y="44"/>
              </a:cxn>
              <a:cxn ang="0">
                <a:pos x="604" y="55"/>
              </a:cxn>
              <a:cxn ang="0">
                <a:pos x="280" y="40"/>
              </a:cxn>
              <a:cxn ang="0">
                <a:pos x="232" y="37"/>
              </a:cxn>
              <a:cxn ang="0">
                <a:pos x="172" y="17"/>
              </a:cxn>
              <a:cxn ang="0">
                <a:pos x="116" y="0"/>
              </a:cxn>
              <a:cxn ang="0">
                <a:pos x="83" y="5"/>
              </a:cxn>
              <a:cxn ang="0">
                <a:pos x="53" y="24"/>
              </a:cxn>
              <a:cxn ang="0">
                <a:pos x="0" y="55"/>
              </a:cxn>
              <a:cxn ang="0">
                <a:pos x="7" y="68"/>
              </a:cxn>
              <a:cxn ang="0">
                <a:pos x="26" y="74"/>
              </a:cxn>
              <a:cxn ang="0">
                <a:pos x="36" y="129"/>
              </a:cxn>
              <a:cxn ang="0">
                <a:pos x="60" y="192"/>
              </a:cxn>
              <a:cxn ang="0">
                <a:pos x="109" y="276"/>
              </a:cxn>
              <a:cxn ang="0">
                <a:pos x="133" y="300"/>
              </a:cxn>
              <a:cxn ang="0">
                <a:pos x="159" y="302"/>
              </a:cxn>
              <a:cxn ang="0">
                <a:pos x="159" y="332"/>
              </a:cxn>
              <a:cxn ang="0">
                <a:pos x="152" y="359"/>
              </a:cxn>
              <a:cxn ang="0">
                <a:pos x="146" y="394"/>
              </a:cxn>
              <a:cxn ang="0">
                <a:pos x="150" y="425"/>
              </a:cxn>
              <a:cxn ang="0">
                <a:pos x="173" y="484"/>
              </a:cxn>
              <a:cxn ang="0">
                <a:pos x="179" y="518"/>
              </a:cxn>
              <a:cxn ang="0">
                <a:pos x="187" y="606"/>
              </a:cxn>
              <a:cxn ang="0">
                <a:pos x="204" y="647"/>
              </a:cxn>
              <a:cxn ang="0">
                <a:pos x="231" y="690"/>
              </a:cxn>
              <a:cxn ang="0">
                <a:pos x="245" y="700"/>
              </a:cxn>
              <a:cxn ang="0">
                <a:pos x="259" y="715"/>
              </a:cxn>
              <a:cxn ang="0">
                <a:pos x="265" y="678"/>
              </a:cxn>
              <a:cxn ang="0">
                <a:pos x="308" y="696"/>
              </a:cxn>
              <a:cxn ang="0">
                <a:pos x="328" y="713"/>
              </a:cxn>
              <a:cxn ang="0">
                <a:pos x="372" y="726"/>
              </a:cxn>
              <a:cxn ang="0">
                <a:pos x="407" y="723"/>
              </a:cxn>
              <a:cxn ang="0">
                <a:pos x="429" y="710"/>
              </a:cxn>
              <a:cxn ang="0">
                <a:pos x="452" y="675"/>
              </a:cxn>
              <a:cxn ang="0">
                <a:pos x="463" y="529"/>
              </a:cxn>
              <a:cxn ang="0">
                <a:pos x="465" y="480"/>
              </a:cxn>
              <a:cxn ang="0">
                <a:pos x="471" y="469"/>
              </a:cxn>
              <a:cxn ang="0">
                <a:pos x="463" y="426"/>
              </a:cxn>
              <a:cxn ang="0">
                <a:pos x="469" y="368"/>
              </a:cxn>
              <a:cxn ang="0">
                <a:pos x="500" y="330"/>
              </a:cxn>
              <a:cxn ang="0">
                <a:pos x="525" y="320"/>
              </a:cxn>
              <a:cxn ang="0">
                <a:pos x="538" y="232"/>
              </a:cxn>
              <a:cxn ang="0">
                <a:pos x="551" y="148"/>
              </a:cxn>
              <a:cxn ang="0">
                <a:pos x="541" y="124"/>
              </a:cxn>
              <a:cxn ang="0">
                <a:pos x="531" y="99"/>
              </a:cxn>
              <a:cxn ang="0">
                <a:pos x="539" y="86"/>
              </a:cxn>
              <a:cxn ang="0">
                <a:pos x="617" y="80"/>
              </a:cxn>
              <a:cxn ang="0">
                <a:pos x="708" y="63"/>
              </a:cxn>
              <a:cxn ang="0">
                <a:pos x="803" y="61"/>
              </a:cxn>
            </a:cxnLst>
            <a:rect l="0" t="0" r="r" b="b"/>
            <a:pathLst>
              <a:path w="810" h="727">
                <a:moveTo>
                  <a:pt x="810" y="61"/>
                </a:moveTo>
                <a:lnTo>
                  <a:pt x="807" y="54"/>
                </a:lnTo>
                <a:lnTo>
                  <a:pt x="802" y="48"/>
                </a:lnTo>
                <a:lnTo>
                  <a:pt x="797" y="42"/>
                </a:lnTo>
                <a:lnTo>
                  <a:pt x="790" y="36"/>
                </a:lnTo>
                <a:lnTo>
                  <a:pt x="784" y="32"/>
                </a:lnTo>
                <a:lnTo>
                  <a:pt x="775" y="28"/>
                </a:lnTo>
                <a:lnTo>
                  <a:pt x="766" y="26"/>
                </a:lnTo>
                <a:lnTo>
                  <a:pt x="756" y="25"/>
                </a:lnTo>
                <a:lnTo>
                  <a:pt x="743" y="26"/>
                </a:lnTo>
                <a:lnTo>
                  <a:pt x="730" y="29"/>
                </a:lnTo>
                <a:lnTo>
                  <a:pt x="718" y="33"/>
                </a:lnTo>
                <a:lnTo>
                  <a:pt x="703" y="37"/>
                </a:lnTo>
                <a:lnTo>
                  <a:pt x="671" y="37"/>
                </a:lnTo>
                <a:lnTo>
                  <a:pt x="651" y="41"/>
                </a:lnTo>
                <a:lnTo>
                  <a:pt x="634" y="44"/>
                </a:lnTo>
                <a:lnTo>
                  <a:pt x="627" y="46"/>
                </a:lnTo>
                <a:lnTo>
                  <a:pt x="619" y="48"/>
                </a:lnTo>
                <a:lnTo>
                  <a:pt x="611" y="51"/>
                </a:lnTo>
                <a:lnTo>
                  <a:pt x="604" y="55"/>
                </a:lnTo>
                <a:lnTo>
                  <a:pt x="411" y="55"/>
                </a:lnTo>
                <a:lnTo>
                  <a:pt x="411" y="37"/>
                </a:lnTo>
                <a:lnTo>
                  <a:pt x="292" y="37"/>
                </a:lnTo>
                <a:lnTo>
                  <a:pt x="280" y="40"/>
                </a:lnTo>
                <a:lnTo>
                  <a:pt x="269" y="41"/>
                </a:lnTo>
                <a:lnTo>
                  <a:pt x="257" y="40"/>
                </a:lnTo>
                <a:lnTo>
                  <a:pt x="245" y="39"/>
                </a:lnTo>
                <a:lnTo>
                  <a:pt x="232" y="37"/>
                </a:lnTo>
                <a:lnTo>
                  <a:pt x="220" y="34"/>
                </a:lnTo>
                <a:lnTo>
                  <a:pt x="208" y="30"/>
                </a:lnTo>
                <a:lnTo>
                  <a:pt x="196" y="26"/>
                </a:lnTo>
                <a:lnTo>
                  <a:pt x="172" y="17"/>
                </a:lnTo>
                <a:lnTo>
                  <a:pt x="149" y="8"/>
                </a:lnTo>
                <a:lnTo>
                  <a:pt x="137" y="5"/>
                </a:lnTo>
                <a:lnTo>
                  <a:pt x="126" y="2"/>
                </a:lnTo>
                <a:lnTo>
                  <a:pt x="116" y="0"/>
                </a:lnTo>
                <a:lnTo>
                  <a:pt x="105" y="0"/>
                </a:lnTo>
                <a:lnTo>
                  <a:pt x="97" y="0"/>
                </a:lnTo>
                <a:lnTo>
                  <a:pt x="91" y="2"/>
                </a:lnTo>
                <a:lnTo>
                  <a:pt x="83" y="5"/>
                </a:lnTo>
                <a:lnTo>
                  <a:pt x="75" y="8"/>
                </a:lnTo>
                <a:lnTo>
                  <a:pt x="68" y="13"/>
                </a:lnTo>
                <a:lnTo>
                  <a:pt x="60" y="19"/>
                </a:lnTo>
                <a:lnTo>
                  <a:pt x="53" y="24"/>
                </a:lnTo>
                <a:lnTo>
                  <a:pt x="46" y="31"/>
                </a:lnTo>
                <a:lnTo>
                  <a:pt x="6" y="31"/>
                </a:lnTo>
                <a:lnTo>
                  <a:pt x="3" y="45"/>
                </a:lnTo>
                <a:lnTo>
                  <a:pt x="0" y="55"/>
                </a:lnTo>
                <a:lnTo>
                  <a:pt x="0" y="58"/>
                </a:lnTo>
                <a:lnTo>
                  <a:pt x="2" y="61"/>
                </a:lnTo>
                <a:lnTo>
                  <a:pt x="4" y="64"/>
                </a:lnTo>
                <a:lnTo>
                  <a:pt x="7" y="68"/>
                </a:lnTo>
                <a:lnTo>
                  <a:pt x="12" y="70"/>
                </a:lnTo>
                <a:lnTo>
                  <a:pt x="16" y="72"/>
                </a:lnTo>
                <a:lnTo>
                  <a:pt x="21" y="74"/>
                </a:lnTo>
                <a:lnTo>
                  <a:pt x="26" y="74"/>
                </a:lnTo>
                <a:lnTo>
                  <a:pt x="26" y="86"/>
                </a:lnTo>
                <a:lnTo>
                  <a:pt x="28" y="99"/>
                </a:lnTo>
                <a:lnTo>
                  <a:pt x="32" y="113"/>
                </a:lnTo>
                <a:lnTo>
                  <a:pt x="36" y="129"/>
                </a:lnTo>
                <a:lnTo>
                  <a:pt x="40" y="144"/>
                </a:lnTo>
                <a:lnTo>
                  <a:pt x="47" y="160"/>
                </a:lnTo>
                <a:lnTo>
                  <a:pt x="53" y="175"/>
                </a:lnTo>
                <a:lnTo>
                  <a:pt x="60" y="192"/>
                </a:lnTo>
                <a:lnTo>
                  <a:pt x="77" y="223"/>
                </a:lnTo>
                <a:lnTo>
                  <a:pt x="93" y="252"/>
                </a:lnTo>
                <a:lnTo>
                  <a:pt x="102" y="265"/>
                </a:lnTo>
                <a:lnTo>
                  <a:pt x="109" y="276"/>
                </a:lnTo>
                <a:lnTo>
                  <a:pt x="117" y="286"/>
                </a:lnTo>
                <a:lnTo>
                  <a:pt x="125" y="296"/>
                </a:lnTo>
                <a:lnTo>
                  <a:pt x="128" y="298"/>
                </a:lnTo>
                <a:lnTo>
                  <a:pt x="133" y="300"/>
                </a:lnTo>
                <a:lnTo>
                  <a:pt x="137" y="301"/>
                </a:lnTo>
                <a:lnTo>
                  <a:pt x="142" y="301"/>
                </a:lnTo>
                <a:lnTo>
                  <a:pt x="151" y="302"/>
                </a:lnTo>
                <a:lnTo>
                  <a:pt x="159" y="302"/>
                </a:lnTo>
                <a:lnTo>
                  <a:pt x="159" y="309"/>
                </a:lnTo>
                <a:lnTo>
                  <a:pt x="159" y="317"/>
                </a:lnTo>
                <a:lnTo>
                  <a:pt x="159" y="326"/>
                </a:lnTo>
                <a:lnTo>
                  <a:pt x="159" y="332"/>
                </a:lnTo>
                <a:lnTo>
                  <a:pt x="158" y="339"/>
                </a:lnTo>
                <a:lnTo>
                  <a:pt x="157" y="346"/>
                </a:lnTo>
                <a:lnTo>
                  <a:pt x="154" y="353"/>
                </a:lnTo>
                <a:lnTo>
                  <a:pt x="152" y="359"/>
                </a:lnTo>
                <a:lnTo>
                  <a:pt x="149" y="366"/>
                </a:lnTo>
                <a:lnTo>
                  <a:pt x="147" y="374"/>
                </a:lnTo>
                <a:lnTo>
                  <a:pt x="146" y="383"/>
                </a:lnTo>
                <a:lnTo>
                  <a:pt x="146" y="394"/>
                </a:lnTo>
                <a:lnTo>
                  <a:pt x="146" y="403"/>
                </a:lnTo>
                <a:lnTo>
                  <a:pt x="147" y="410"/>
                </a:lnTo>
                <a:lnTo>
                  <a:pt x="148" y="418"/>
                </a:lnTo>
                <a:lnTo>
                  <a:pt x="150" y="425"/>
                </a:lnTo>
                <a:lnTo>
                  <a:pt x="156" y="439"/>
                </a:lnTo>
                <a:lnTo>
                  <a:pt x="162" y="453"/>
                </a:lnTo>
                <a:lnTo>
                  <a:pt x="168" y="469"/>
                </a:lnTo>
                <a:lnTo>
                  <a:pt x="173" y="484"/>
                </a:lnTo>
                <a:lnTo>
                  <a:pt x="175" y="491"/>
                </a:lnTo>
                <a:lnTo>
                  <a:pt x="178" y="500"/>
                </a:lnTo>
                <a:lnTo>
                  <a:pt x="179" y="508"/>
                </a:lnTo>
                <a:lnTo>
                  <a:pt x="179" y="518"/>
                </a:lnTo>
                <a:lnTo>
                  <a:pt x="179" y="542"/>
                </a:lnTo>
                <a:lnTo>
                  <a:pt x="180" y="564"/>
                </a:lnTo>
                <a:lnTo>
                  <a:pt x="183" y="586"/>
                </a:lnTo>
                <a:lnTo>
                  <a:pt x="187" y="606"/>
                </a:lnTo>
                <a:lnTo>
                  <a:pt x="191" y="616"/>
                </a:lnTo>
                <a:lnTo>
                  <a:pt x="194" y="627"/>
                </a:lnTo>
                <a:lnTo>
                  <a:pt x="198" y="637"/>
                </a:lnTo>
                <a:lnTo>
                  <a:pt x="204" y="647"/>
                </a:lnTo>
                <a:lnTo>
                  <a:pt x="209" y="657"/>
                </a:lnTo>
                <a:lnTo>
                  <a:pt x="216" y="667"/>
                </a:lnTo>
                <a:lnTo>
                  <a:pt x="224" y="679"/>
                </a:lnTo>
                <a:lnTo>
                  <a:pt x="231" y="690"/>
                </a:lnTo>
                <a:lnTo>
                  <a:pt x="235" y="696"/>
                </a:lnTo>
                <a:lnTo>
                  <a:pt x="238" y="698"/>
                </a:lnTo>
                <a:lnTo>
                  <a:pt x="241" y="700"/>
                </a:lnTo>
                <a:lnTo>
                  <a:pt x="245" y="700"/>
                </a:lnTo>
                <a:lnTo>
                  <a:pt x="249" y="701"/>
                </a:lnTo>
                <a:lnTo>
                  <a:pt x="252" y="703"/>
                </a:lnTo>
                <a:lnTo>
                  <a:pt x="256" y="707"/>
                </a:lnTo>
                <a:lnTo>
                  <a:pt x="259" y="715"/>
                </a:lnTo>
                <a:lnTo>
                  <a:pt x="259" y="708"/>
                </a:lnTo>
                <a:lnTo>
                  <a:pt x="262" y="699"/>
                </a:lnTo>
                <a:lnTo>
                  <a:pt x="264" y="688"/>
                </a:lnTo>
                <a:lnTo>
                  <a:pt x="265" y="678"/>
                </a:lnTo>
                <a:lnTo>
                  <a:pt x="298" y="678"/>
                </a:lnTo>
                <a:lnTo>
                  <a:pt x="301" y="685"/>
                </a:lnTo>
                <a:lnTo>
                  <a:pt x="304" y="691"/>
                </a:lnTo>
                <a:lnTo>
                  <a:pt x="308" y="696"/>
                </a:lnTo>
                <a:lnTo>
                  <a:pt x="313" y="701"/>
                </a:lnTo>
                <a:lnTo>
                  <a:pt x="317" y="706"/>
                </a:lnTo>
                <a:lnTo>
                  <a:pt x="322" y="710"/>
                </a:lnTo>
                <a:lnTo>
                  <a:pt x="328" y="713"/>
                </a:lnTo>
                <a:lnTo>
                  <a:pt x="333" y="716"/>
                </a:lnTo>
                <a:lnTo>
                  <a:pt x="346" y="721"/>
                </a:lnTo>
                <a:lnTo>
                  <a:pt x="359" y="724"/>
                </a:lnTo>
                <a:lnTo>
                  <a:pt x="372" y="726"/>
                </a:lnTo>
                <a:lnTo>
                  <a:pt x="384" y="727"/>
                </a:lnTo>
                <a:lnTo>
                  <a:pt x="393" y="726"/>
                </a:lnTo>
                <a:lnTo>
                  <a:pt x="400" y="725"/>
                </a:lnTo>
                <a:lnTo>
                  <a:pt x="407" y="723"/>
                </a:lnTo>
                <a:lnTo>
                  <a:pt x="414" y="721"/>
                </a:lnTo>
                <a:lnTo>
                  <a:pt x="419" y="718"/>
                </a:lnTo>
                <a:lnTo>
                  <a:pt x="425" y="714"/>
                </a:lnTo>
                <a:lnTo>
                  <a:pt x="429" y="710"/>
                </a:lnTo>
                <a:lnTo>
                  <a:pt x="433" y="706"/>
                </a:lnTo>
                <a:lnTo>
                  <a:pt x="441" y="696"/>
                </a:lnTo>
                <a:lnTo>
                  <a:pt x="447" y="686"/>
                </a:lnTo>
                <a:lnTo>
                  <a:pt x="452" y="675"/>
                </a:lnTo>
                <a:lnTo>
                  <a:pt x="458" y="665"/>
                </a:lnTo>
                <a:lnTo>
                  <a:pt x="458" y="554"/>
                </a:lnTo>
                <a:lnTo>
                  <a:pt x="462" y="542"/>
                </a:lnTo>
                <a:lnTo>
                  <a:pt x="463" y="529"/>
                </a:lnTo>
                <a:lnTo>
                  <a:pt x="464" y="516"/>
                </a:lnTo>
                <a:lnTo>
                  <a:pt x="464" y="502"/>
                </a:lnTo>
                <a:lnTo>
                  <a:pt x="464" y="490"/>
                </a:lnTo>
                <a:lnTo>
                  <a:pt x="465" y="480"/>
                </a:lnTo>
                <a:lnTo>
                  <a:pt x="466" y="476"/>
                </a:lnTo>
                <a:lnTo>
                  <a:pt x="467" y="473"/>
                </a:lnTo>
                <a:lnTo>
                  <a:pt x="469" y="470"/>
                </a:lnTo>
                <a:lnTo>
                  <a:pt x="471" y="469"/>
                </a:lnTo>
                <a:lnTo>
                  <a:pt x="466" y="456"/>
                </a:lnTo>
                <a:lnTo>
                  <a:pt x="464" y="444"/>
                </a:lnTo>
                <a:lnTo>
                  <a:pt x="463" y="435"/>
                </a:lnTo>
                <a:lnTo>
                  <a:pt x="463" y="426"/>
                </a:lnTo>
                <a:lnTo>
                  <a:pt x="463" y="409"/>
                </a:lnTo>
                <a:lnTo>
                  <a:pt x="464" y="388"/>
                </a:lnTo>
                <a:lnTo>
                  <a:pt x="465" y="378"/>
                </a:lnTo>
                <a:lnTo>
                  <a:pt x="469" y="368"/>
                </a:lnTo>
                <a:lnTo>
                  <a:pt x="474" y="358"/>
                </a:lnTo>
                <a:lnTo>
                  <a:pt x="482" y="348"/>
                </a:lnTo>
                <a:lnTo>
                  <a:pt x="490" y="338"/>
                </a:lnTo>
                <a:lnTo>
                  <a:pt x="500" y="330"/>
                </a:lnTo>
                <a:lnTo>
                  <a:pt x="506" y="327"/>
                </a:lnTo>
                <a:lnTo>
                  <a:pt x="511" y="324"/>
                </a:lnTo>
                <a:lnTo>
                  <a:pt x="518" y="322"/>
                </a:lnTo>
                <a:lnTo>
                  <a:pt x="525" y="320"/>
                </a:lnTo>
                <a:lnTo>
                  <a:pt x="526" y="298"/>
                </a:lnTo>
                <a:lnTo>
                  <a:pt x="528" y="275"/>
                </a:lnTo>
                <a:lnTo>
                  <a:pt x="532" y="254"/>
                </a:lnTo>
                <a:lnTo>
                  <a:pt x="538" y="232"/>
                </a:lnTo>
                <a:lnTo>
                  <a:pt x="542" y="211"/>
                </a:lnTo>
                <a:lnTo>
                  <a:pt x="546" y="190"/>
                </a:lnTo>
                <a:lnTo>
                  <a:pt x="550" y="168"/>
                </a:lnTo>
                <a:lnTo>
                  <a:pt x="551" y="148"/>
                </a:lnTo>
                <a:lnTo>
                  <a:pt x="550" y="141"/>
                </a:lnTo>
                <a:lnTo>
                  <a:pt x="548" y="135"/>
                </a:lnTo>
                <a:lnTo>
                  <a:pt x="544" y="129"/>
                </a:lnTo>
                <a:lnTo>
                  <a:pt x="541" y="124"/>
                </a:lnTo>
                <a:lnTo>
                  <a:pt x="537" y="117"/>
                </a:lnTo>
                <a:lnTo>
                  <a:pt x="533" y="111"/>
                </a:lnTo>
                <a:lnTo>
                  <a:pt x="531" y="105"/>
                </a:lnTo>
                <a:lnTo>
                  <a:pt x="531" y="99"/>
                </a:lnTo>
                <a:lnTo>
                  <a:pt x="531" y="94"/>
                </a:lnTo>
                <a:lnTo>
                  <a:pt x="532" y="91"/>
                </a:lnTo>
                <a:lnTo>
                  <a:pt x="535" y="88"/>
                </a:lnTo>
                <a:lnTo>
                  <a:pt x="539" y="86"/>
                </a:lnTo>
                <a:lnTo>
                  <a:pt x="548" y="84"/>
                </a:lnTo>
                <a:lnTo>
                  <a:pt x="559" y="83"/>
                </a:lnTo>
                <a:lnTo>
                  <a:pt x="587" y="82"/>
                </a:lnTo>
                <a:lnTo>
                  <a:pt x="617" y="80"/>
                </a:lnTo>
                <a:lnTo>
                  <a:pt x="640" y="74"/>
                </a:lnTo>
                <a:lnTo>
                  <a:pt x="662" y="70"/>
                </a:lnTo>
                <a:lnTo>
                  <a:pt x="685" y="67"/>
                </a:lnTo>
                <a:lnTo>
                  <a:pt x="708" y="63"/>
                </a:lnTo>
                <a:lnTo>
                  <a:pt x="731" y="62"/>
                </a:lnTo>
                <a:lnTo>
                  <a:pt x="754" y="61"/>
                </a:lnTo>
                <a:lnTo>
                  <a:pt x="778" y="61"/>
                </a:lnTo>
                <a:lnTo>
                  <a:pt x="803" y="61"/>
                </a:lnTo>
                <a:lnTo>
                  <a:pt x="810" y="6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527" name="Freeform 479"/>
          <p:cNvSpPr>
            <a:spLocks/>
          </p:cNvSpPr>
          <p:nvPr>
            <p:custDataLst>
              <p:tags r:id="rId317"/>
            </p:custDataLst>
          </p:nvPr>
        </p:nvSpPr>
        <p:spPr bwMode="auto">
          <a:xfrm>
            <a:off x="3576645" y="2350294"/>
            <a:ext cx="161925" cy="105966"/>
          </a:xfrm>
          <a:custGeom>
            <a:avLst/>
            <a:gdLst/>
            <a:ahLst/>
            <a:cxnLst>
              <a:cxn ang="0">
                <a:pos x="203" y="250"/>
              </a:cxn>
              <a:cxn ang="0">
                <a:pos x="163" y="246"/>
              </a:cxn>
              <a:cxn ang="0">
                <a:pos x="121" y="247"/>
              </a:cxn>
              <a:cxn ang="0">
                <a:pos x="92" y="250"/>
              </a:cxn>
              <a:cxn ang="0">
                <a:pos x="74" y="255"/>
              </a:cxn>
              <a:cxn ang="0">
                <a:pos x="26" y="271"/>
              </a:cxn>
              <a:cxn ang="0">
                <a:pos x="20" y="270"/>
              </a:cxn>
              <a:cxn ang="0">
                <a:pos x="17" y="266"/>
              </a:cxn>
              <a:cxn ang="0">
                <a:pos x="18" y="254"/>
              </a:cxn>
              <a:cxn ang="0">
                <a:pos x="26" y="228"/>
              </a:cxn>
              <a:cxn ang="0">
                <a:pos x="61" y="226"/>
              </a:cxn>
              <a:cxn ang="0">
                <a:pos x="89" y="222"/>
              </a:cxn>
              <a:cxn ang="0">
                <a:pos x="115" y="218"/>
              </a:cxn>
              <a:cxn ang="0">
                <a:pos x="146" y="216"/>
              </a:cxn>
              <a:cxn ang="0">
                <a:pos x="182" y="218"/>
              </a:cxn>
              <a:cxn ang="0">
                <a:pos x="199" y="218"/>
              </a:cxn>
              <a:cxn ang="0">
                <a:pos x="219" y="216"/>
              </a:cxn>
              <a:cxn ang="0">
                <a:pos x="215" y="208"/>
              </a:cxn>
              <a:cxn ang="0">
                <a:pos x="210" y="201"/>
              </a:cxn>
              <a:cxn ang="0">
                <a:pos x="195" y="194"/>
              </a:cxn>
              <a:cxn ang="0">
                <a:pos x="175" y="191"/>
              </a:cxn>
              <a:cxn ang="0">
                <a:pos x="152" y="190"/>
              </a:cxn>
              <a:cxn ang="0">
                <a:pos x="93" y="192"/>
              </a:cxn>
              <a:cxn ang="0">
                <a:pos x="64" y="196"/>
              </a:cxn>
              <a:cxn ang="0">
                <a:pos x="33" y="203"/>
              </a:cxn>
              <a:cxn ang="0">
                <a:pos x="38" y="183"/>
              </a:cxn>
              <a:cxn ang="0">
                <a:pos x="39" y="172"/>
              </a:cxn>
              <a:cxn ang="0">
                <a:pos x="26" y="164"/>
              </a:cxn>
              <a:cxn ang="0">
                <a:pos x="13" y="160"/>
              </a:cxn>
              <a:cxn ang="0">
                <a:pos x="11" y="147"/>
              </a:cxn>
              <a:cxn ang="0">
                <a:pos x="6" y="143"/>
              </a:cxn>
              <a:cxn ang="0">
                <a:pos x="2" y="141"/>
              </a:cxn>
              <a:cxn ang="0">
                <a:pos x="0" y="135"/>
              </a:cxn>
              <a:cxn ang="0">
                <a:pos x="5" y="115"/>
              </a:cxn>
              <a:cxn ang="0">
                <a:pos x="17" y="92"/>
              </a:cxn>
              <a:cxn ang="0">
                <a:pos x="30" y="69"/>
              </a:cxn>
              <a:cxn ang="0">
                <a:pos x="39" y="49"/>
              </a:cxn>
              <a:cxn ang="0">
                <a:pos x="48" y="42"/>
              </a:cxn>
              <a:cxn ang="0">
                <a:pos x="49" y="48"/>
              </a:cxn>
              <a:cxn ang="0">
                <a:pos x="52" y="36"/>
              </a:cxn>
              <a:cxn ang="0">
                <a:pos x="75" y="31"/>
              </a:cxn>
              <a:cxn ang="0">
                <a:pos x="114" y="18"/>
              </a:cxn>
              <a:cxn ang="0">
                <a:pos x="165" y="0"/>
              </a:cxn>
              <a:cxn ang="0">
                <a:pos x="184" y="15"/>
              </a:cxn>
              <a:cxn ang="0">
                <a:pos x="202" y="24"/>
              </a:cxn>
              <a:cxn ang="0">
                <a:pos x="220" y="29"/>
              </a:cxn>
              <a:cxn ang="0">
                <a:pos x="239" y="30"/>
              </a:cxn>
              <a:cxn ang="0">
                <a:pos x="241" y="52"/>
              </a:cxn>
              <a:cxn ang="0">
                <a:pos x="247" y="69"/>
              </a:cxn>
              <a:cxn ang="0">
                <a:pos x="254" y="84"/>
              </a:cxn>
              <a:cxn ang="0">
                <a:pos x="264" y="95"/>
              </a:cxn>
              <a:cxn ang="0">
                <a:pos x="305" y="129"/>
              </a:cxn>
              <a:cxn ang="0">
                <a:pos x="352" y="234"/>
              </a:cxn>
              <a:cxn ang="0">
                <a:pos x="359" y="257"/>
              </a:cxn>
              <a:cxn ang="0">
                <a:pos x="365" y="271"/>
              </a:cxn>
              <a:cxn ang="0">
                <a:pos x="321" y="259"/>
              </a:cxn>
              <a:cxn ang="0">
                <a:pos x="275" y="252"/>
              </a:cxn>
              <a:cxn ang="0">
                <a:pos x="248" y="251"/>
              </a:cxn>
              <a:cxn ang="0">
                <a:pos x="219" y="252"/>
              </a:cxn>
            </a:cxnLst>
            <a:rect l="0" t="0" r="r" b="b"/>
            <a:pathLst>
              <a:path w="365" h="271">
                <a:moveTo>
                  <a:pt x="219" y="252"/>
                </a:moveTo>
                <a:lnTo>
                  <a:pt x="203" y="250"/>
                </a:lnTo>
                <a:lnTo>
                  <a:pt x="184" y="248"/>
                </a:lnTo>
                <a:lnTo>
                  <a:pt x="163" y="246"/>
                </a:lnTo>
                <a:lnTo>
                  <a:pt x="142" y="246"/>
                </a:lnTo>
                <a:lnTo>
                  <a:pt x="121" y="247"/>
                </a:lnTo>
                <a:lnTo>
                  <a:pt x="101" y="249"/>
                </a:lnTo>
                <a:lnTo>
                  <a:pt x="92" y="250"/>
                </a:lnTo>
                <a:lnTo>
                  <a:pt x="82" y="252"/>
                </a:lnTo>
                <a:lnTo>
                  <a:pt x="74" y="255"/>
                </a:lnTo>
                <a:lnTo>
                  <a:pt x="65" y="258"/>
                </a:lnTo>
                <a:lnTo>
                  <a:pt x="26" y="271"/>
                </a:lnTo>
                <a:lnTo>
                  <a:pt x="23" y="271"/>
                </a:lnTo>
                <a:lnTo>
                  <a:pt x="20" y="270"/>
                </a:lnTo>
                <a:lnTo>
                  <a:pt x="18" y="268"/>
                </a:lnTo>
                <a:lnTo>
                  <a:pt x="17" y="266"/>
                </a:lnTo>
                <a:lnTo>
                  <a:pt x="17" y="260"/>
                </a:lnTo>
                <a:lnTo>
                  <a:pt x="18" y="254"/>
                </a:lnTo>
                <a:lnTo>
                  <a:pt x="24" y="240"/>
                </a:lnTo>
                <a:lnTo>
                  <a:pt x="26" y="228"/>
                </a:lnTo>
                <a:lnTo>
                  <a:pt x="45" y="227"/>
                </a:lnTo>
                <a:lnTo>
                  <a:pt x="61" y="226"/>
                </a:lnTo>
                <a:lnTo>
                  <a:pt x="75" y="224"/>
                </a:lnTo>
                <a:lnTo>
                  <a:pt x="89" y="222"/>
                </a:lnTo>
                <a:lnTo>
                  <a:pt x="102" y="220"/>
                </a:lnTo>
                <a:lnTo>
                  <a:pt x="115" y="218"/>
                </a:lnTo>
                <a:lnTo>
                  <a:pt x="129" y="216"/>
                </a:lnTo>
                <a:lnTo>
                  <a:pt x="146" y="216"/>
                </a:lnTo>
                <a:lnTo>
                  <a:pt x="164" y="217"/>
                </a:lnTo>
                <a:lnTo>
                  <a:pt x="182" y="218"/>
                </a:lnTo>
                <a:lnTo>
                  <a:pt x="191" y="218"/>
                </a:lnTo>
                <a:lnTo>
                  <a:pt x="199" y="218"/>
                </a:lnTo>
                <a:lnTo>
                  <a:pt x="209" y="217"/>
                </a:lnTo>
                <a:lnTo>
                  <a:pt x="219" y="216"/>
                </a:lnTo>
                <a:lnTo>
                  <a:pt x="217" y="211"/>
                </a:lnTo>
                <a:lnTo>
                  <a:pt x="215" y="208"/>
                </a:lnTo>
                <a:lnTo>
                  <a:pt x="213" y="203"/>
                </a:lnTo>
                <a:lnTo>
                  <a:pt x="210" y="201"/>
                </a:lnTo>
                <a:lnTo>
                  <a:pt x="204" y="196"/>
                </a:lnTo>
                <a:lnTo>
                  <a:pt x="195" y="194"/>
                </a:lnTo>
                <a:lnTo>
                  <a:pt x="186" y="192"/>
                </a:lnTo>
                <a:lnTo>
                  <a:pt x="175" y="191"/>
                </a:lnTo>
                <a:lnTo>
                  <a:pt x="164" y="191"/>
                </a:lnTo>
                <a:lnTo>
                  <a:pt x="152" y="190"/>
                </a:lnTo>
                <a:lnTo>
                  <a:pt x="120" y="191"/>
                </a:lnTo>
                <a:lnTo>
                  <a:pt x="93" y="192"/>
                </a:lnTo>
                <a:lnTo>
                  <a:pt x="79" y="193"/>
                </a:lnTo>
                <a:lnTo>
                  <a:pt x="64" y="196"/>
                </a:lnTo>
                <a:lnTo>
                  <a:pt x="49" y="199"/>
                </a:lnTo>
                <a:lnTo>
                  <a:pt x="33" y="203"/>
                </a:lnTo>
                <a:lnTo>
                  <a:pt x="37" y="191"/>
                </a:lnTo>
                <a:lnTo>
                  <a:pt x="38" y="183"/>
                </a:lnTo>
                <a:lnTo>
                  <a:pt x="39" y="177"/>
                </a:lnTo>
                <a:lnTo>
                  <a:pt x="39" y="172"/>
                </a:lnTo>
                <a:lnTo>
                  <a:pt x="34" y="168"/>
                </a:lnTo>
                <a:lnTo>
                  <a:pt x="26" y="164"/>
                </a:lnTo>
                <a:lnTo>
                  <a:pt x="18" y="161"/>
                </a:lnTo>
                <a:lnTo>
                  <a:pt x="13" y="160"/>
                </a:lnTo>
                <a:lnTo>
                  <a:pt x="13" y="153"/>
                </a:lnTo>
                <a:lnTo>
                  <a:pt x="11" y="147"/>
                </a:lnTo>
                <a:lnTo>
                  <a:pt x="8" y="144"/>
                </a:lnTo>
                <a:lnTo>
                  <a:pt x="6" y="143"/>
                </a:lnTo>
                <a:lnTo>
                  <a:pt x="4" y="142"/>
                </a:lnTo>
                <a:lnTo>
                  <a:pt x="2" y="141"/>
                </a:lnTo>
                <a:lnTo>
                  <a:pt x="0" y="139"/>
                </a:lnTo>
                <a:lnTo>
                  <a:pt x="0" y="135"/>
                </a:lnTo>
                <a:lnTo>
                  <a:pt x="1" y="125"/>
                </a:lnTo>
                <a:lnTo>
                  <a:pt x="5" y="115"/>
                </a:lnTo>
                <a:lnTo>
                  <a:pt x="11" y="104"/>
                </a:lnTo>
                <a:lnTo>
                  <a:pt x="17" y="92"/>
                </a:lnTo>
                <a:lnTo>
                  <a:pt x="24" y="80"/>
                </a:lnTo>
                <a:lnTo>
                  <a:pt x="30" y="69"/>
                </a:lnTo>
                <a:lnTo>
                  <a:pt x="36" y="59"/>
                </a:lnTo>
                <a:lnTo>
                  <a:pt x="39" y="49"/>
                </a:lnTo>
                <a:lnTo>
                  <a:pt x="45" y="43"/>
                </a:lnTo>
                <a:lnTo>
                  <a:pt x="48" y="42"/>
                </a:lnTo>
                <a:lnTo>
                  <a:pt x="49" y="44"/>
                </a:lnTo>
                <a:lnTo>
                  <a:pt x="49" y="48"/>
                </a:lnTo>
                <a:lnTo>
                  <a:pt x="48" y="51"/>
                </a:lnTo>
                <a:lnTo>
                  <a:pt x="52" y="36"/>
                </a:lnTo>
                <a:lnTo>
                  <a:pt x="61" y="35"/>
                </a:lnTo>
                <a:lnTo>
                  <a:pt x="75" y="31"/>
                </a:lnTo>
                <a:lnTo>
                  <a:pt x="94" y="25"/>
                </a:lnTo>
                <a:lnTo>
                  <a:pt x="114" y="18"/>
                </a:lnTo>
                <a:lnTo>
                  <a:pt x="150" y="6"/>
                </a:lnTo>
                <a:lnTo>
                  <a:pt x="165" y="0"/>
                </a:lnTo>
                <a:lnTo>
                  <a:pt x="175" y="8"/>
                </a:lnTo>
                <a:lnTo>
                  <a:pt x="184" y="15"/>
                </a:lnTo>
                <a:lnTo>
                  <a:pt x="194" y="20"/>
                </a:lnTo>
                <a:lnTo>
                  <a:pt x="202" y="24"/>
                </a:lnTo>
                <a:lnTo>
                  <a:pt x="210" y="27"/>
                </a:lnTo>
                <a:lnTo>
                  <a:pt x="220" y="29"/>
                </a:lnTo>
                <a:lnTo>
                  <a:pt x="229" y="30"/>
                </a:lnTo>
                <a:lnTo>
                  <a:pt x="239" y="30"/>
                </a:lnTo>
                <a:lnTo>
                  <a:pt x="239" y="42"/>
                </a:lnTo>
                <a:lnTo>
                  <a:pt x="241" y="52"/>
                </a:lnTo>
                <a:lnTo>
                  <a:pt x="243" y="61"/>
                </a:lnTo>
                <a:lnTo>
                  <a:pt x="247" y="69"/>
                </a:lnTo>
                <a:lnTo>
                  <a:pt x="250" y="77"/>
                </a:lnTo>
                <a:lnTo>
                  <a:pt x="254" y="84"/>
                </a:lnTo>
                <a:lnTo>
                  <a:pt x="259" y="90"/>
                </a:lnTo>
                <a:lnTo>
                  <a:pt x="264" y="95"/>
                </a:lnTo>
                <a:lnTo>
                  <a:pt x="286" y="115"/>
                </a:lnTo>
                <a:lnTo>
                  <a:pt x="305" y="129"/>
                </a:lnTo>
                <a:lnTo>
                  <a:pt x="305" y="210"/>
                </a:lnTo>
                <a:lnTo>
                  <a:pt x="352" y="234"/>
                </a:lnTo>
                <a:lnTo>
                  <a:pt x="353" y="245"/>
                </a:lnTo>
                <a:lnTo>
                  <a:pt x="359" y="257"/>
                </a:lnTo>
                <a:lnTo>
                  <a:pt x="363" y="267"/>
                </a:lnTo>
                <a:lnTo>
                  <a:pt x="365" y="271"/>
                </a:lnTo>
                <a:lnTo>
                  <a:pt x="353" y="267"/>
                </a:lnTo>
                <a:lnTo>
                  <a:pt x="321" y="259"/>
                </a:lnTo>
                <a:lnTo>
                  <a:pt x="300" y="255"/>
                </a:lnTo>
                <a:lnTo>
                  <a:pt x="275" y="252"/>
                </a:lnTo>
                <a:lnTo>
                  <a:pt x="262" y="251"/>
                </a:lnTo>
                <a:lnTo>
                  <a:pt x="248" y="251"/>
                </a:lnTo>
                <a:lnTo>
                  <a:pt x="233" y="251"/>
                </a:lnTo>
                <a:lnTo>
                  <a:pt x="219" y="25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528" name="Freeform 480"/>
          <p:cNvSpPr>
            <a:spLocks/>
          </p:cNvSpPr>
          <p:nvPr>
            <p:custDataLst>
              <p:tags r:id="rId318"/>
            </p:custDataLst>
          </p:nvPr>
        </p:nvSpPr>
        <p:spPr bwMode="auto">
          <a:xfrm>
            <a:off x="4749807" y="2771780"/>
            <a:ext cx="269875" cy="251222"/>
          </a:xfrm>
          <a:custGeom>
            <a:avLst/>
            <a:gdLst/>
            <a:ahLst/>
            <a:cxnLst>
              <a:cxn ang="0">
                <a:pos x="146" y="12"/>
              </a:cxn>
              <a:cxn ang="0">
                <a:pos x="239" y="12"/>
              </a:cxn>
              <a:cxn ang="0">
                <a:pos x="287" y="5"/>
              </a:cxn>
              <a:cxn ang="0">
                <a:pos x="326" y="22"/>
              </a:cxn>
              <a:cxn ang="0">
                <a:pos x="396" y="66"/>
              </a:cxn>
              <a:cxn ang="0">
                <a:pos x="465" y="111"/>
              </a:cxn>
              <a:cxn ang="0">
                <a:pos x="469" y="131"/>
              </a:cxn>
              <a:cxn ang="0">
                <a:pos x="480" y="153"/>
              </a:cxn>
              <a:cxn ang="0">
                <a:pos x="497" y="170"/>
              </a:cxn>
              <a:cxn ang="0">
                <a:pos x="519" y="183"/>
              </a:cxn>
              <a:cxn ang="0">
                <a:pos x="543" y="190"/>
              </a:cxn>
              <a:cxn ang="0">
                <a:pos x="554" y="195"/>
              </a:cxn>
              <a:cxn ang="0">
                <a:pos x="565" y="205"/>
              </a:cxn>
              <a:cxn ang="0">
                <a:pos x="561" y="227"/>
              </a:cxn>
              <a:cxn ang="0">
                <a:pos x="537" y="252"/>
              </a:cxn>
              <a:cxn ang="0">
                <a:pos x="525" y="271"/>
              </a:cxn>
              <a:cxn ang="0">
                <a:pos x="533" y="287"/>
              </a:cxn>
              <a:cxn ang="0">
                <a:pos x="547" y="299"/>
              </a:cxn>
              <a:cxn ang="0">
                <a:pos x="552" y="425"/>
              </a:cxn>
              <a:cxn ang="0">
                <a:pos x="550" y="439"/>
              </a:cxn>
              <a:cxn ang="0">
                <a:pos x="558" y="462"/>
              </a:cxn>
              <a:cxn ang="0">
                <a:pos x="558" y="489"/>
              </a:cxn>
              <a:cxn ang="0">
                <a:pos x="561" y="515"/>
              </a:cxn>
              <a:cxn ang="0">
                <a:pos x="594" y="549"/>
              </a:cxn>
              <a:cxn ang="0">
                <a:pos x="616" y="579"/>
              </a:cxn>
              <a:cxn ang="0">
                <a:pos x="575" y="600"/>
              </a:cxn>
              <a:cxn ang="0">
                <a:pos x="491" y="631"/>
              </a:cxn>
              <a:cxn ang="0">
                <a:pos x="443" y="638"/>
              </a:cxn>
              <a:cxn ang="0">
                <a:pos x="392" y="628"/>
              </a:cxn>
              <a:cxn ang="0">
                <a:pos x="339" y="633"/>
              </a:cxn>
              <a:cxn ang="0">
                <a:pos x="306" y="628"/>
              </a:cxn>
              <a:cxn ang="0">
                <a:pos x="299" y="614"/>
              </a:cxn>
              <a:cxn ang="0">
                <a:pos x="294" y="573"/>
              </a:cxn>
              <a:cxn ang="0">
                <a:pos x="288" y="529"/>
              </a:cxn>
              <a:cxn ang="0">
                <a:pos x="253" y="517"/>
              </a:cxn>
              <a:cxn ang="0">
                <a:pos x="185" y="502"/>
              </a:cxn>
              <a:cxn ang="0">
                <a:pos x="90" y="459"/>
              </a:cxn>
              <a:cxn ang="0">
                <a:pos x="68" y="446"/>
              </a:cxn>
              <a:cxn ang="0">
                <a:pos x="66" y="428"/>
              </a:cxn>
              <a:cxn ang="0">
                <a:pos x="65" y="402"/>
              </a:cxn>
              <a:cxn ang="0">
                <a:pos x="53" y="377"/>
              </a:cxn>
              <a:cxn ang="0">
                <a:pos x="41" y="357"/>
              </a:cxn>
              <a:cxn ang="0">
                <a:pos x="27" y="347"/>
              </a:cxn>
              <a:cxn ang="0">
                <a:pos x="12" y="332"/>
              </a:cxn>
              <a:cxn ang="0">
                <a:pos x="5" y="308"/>
              </a:cxn>
              <a:cxn ang="0">
                <a:pos x="0" y="262"/>
              </a:cxn>
              <a:cxn ang="0">
                <a:pos x="0" y="234"/>
              </a:cxn>
              <a:cxn ang="0">
                <a:pos x="10" y="212"/>
              </a:cxn>
              <a:cxn ang="0">
                <a:pos x="38" y="195"/>
              </a:cxn>
              <a:cxn ang="0">
                <a:pos x="61" y="173"/>
              </a:cxn>
              <a:cxn ang="0">
                <a:pos x="77" y="77"/>
              </a:cxn>
              <a:cxn ang="0">
                <a:pos x="84" y="43"/>
              </a:cxn>
              <a:cxn ang="0">
                <a:pos x="82" y="8"/>
              </a:cxn>
            </a:cxnLst>
            <a:rect l="0" t="0" r="r" b="b"/>
            <a:pathLst>
              <a:path w="624" h="640">
                <a:moveTo>
                  <a:pt x="79" y="0"/>
                </a:moveTo>
                <a:lnTo>
                  <a:pt x="146" y="0"/>
                </a:lnTo>
                <a:lnTo>
                  <a:pt x="146" y="12"/>
                </a:lnTo>
                <a:lnTo>
                  <a:pt x="173" y="43"/>
                </a:lnTo>
                <a:lnTo>
                  <a:pt x="232" y="43"/>
                </a:lnTo>
                <a:lnTo>
                  <a:pt x="239" y="12"/>
                </a:lnTo>
                <a:lnTo>
                  <a:pt x="259" y="0"/>
                </a:lnTo>
                <a:lnTo>
                  <a:pt x="273" y="0"/>
                </a:lnTo>
                <a:lnTo>
                  <a:pt x="287" y="5"/>
                </a:lnTo>
                <a:lnTo>
                  <a:pt x="301" y="10"/>
                </a:lnTo>
                <a:lnTo>
                  <a:pt x="314" y="16"/>
                </a:lnTo>
                <a:lnTo>
                  <a:pt x="326" y="22"/>
                </a:lnTo>
                <a:lnTo>
                  <a:pt x="351" y="36"/>
                </a:lnTo>
                <a:lnTo>
                  <a:pt x="374" y="51"/>
                </a:lnTo>
                <a:lnTo>
                  <a:pt x="396" y="66"/>
                </a:lnTo>
                <a:lnTo>
                  <a:pt x="418" y="81"/>
                </a:lnTo>
                <a:lnTo>
                  <a:pt x="441" y="97"/>
                </a:lnTo>
                <a:lnTo>
                  <a:pt x="465" y="111"/>
                </a:lnTo>
                <a:lnTo>
                  <a:pt x="465" y="118"/>
                </a:lnTo>
                <a:lnTo>
                  <a:pt x="467" y="124"/>
                </a:lnTo>
                <a:lnTo>
                  <a:pt x="469" y="131"/>
                </a:lnTo>
                <a:lnTo>
                  <a:pt x="471" y="138"/>
                </a:lnTo>
                <a:lnTo>
                  <a:pt x="476" y="146"/>
                </a:lnTo>
                <a:lnTo>
                  <a:pt x="480" y="153"/>
                </a:lnTo>
                <a:lnTo>
                  <a:pt x="485" y="159"/>
                </a:lnTo>
                <a:lnTo>
                  <a:pt x="491" y="165"/>
                </a:lnTo>
                <a:lnTo>
                  <a:pt x="497" y="170"/>
                </a:lnTo>
                <a:lnTo>
                  <a:pt x="503" y="175"/>
                </a:lnTo>
                <a:lnTo>
                  <a:pt x="511" y="179"/>
                </a:lnTo>
                <a:lnTo>
                  <a:pt x="519" y="183"/>
                </a:lnTo>
                <a:lnTo>
                  <a:pt x="526" y="186"/>
                </a:lnTo>
                <a:lnTo>
                  <a:pt x="534" y="188"/>
                </a:lnTo>
                <a:lnTo>
                  <a:pt x="543" y="190"/>
                </a:lnTo>
                <a:lnTo>
                  <a:pt x="552" y="190"/>
                </a:lnTo>
                <a:lnTo>
                  <a:pt x="552" y="193"/>
                </a:lnTo>
                <a:lnTo>
                  <a:pt x="554" y="195"/>
                </a:lnTo>
                <a:lnTo>
                  <a:pt x="556" y="198"/>
                </a:lnTo>
                <a:lnTo>
                  <a:pt x="559" y="200"/>
                </a:lnTo>
                <a:lnTo>
                  <a:pt x="565" y="205"/>
                </a:lnTo>
                <a:lnTo>
                  <a:pt x="571" y="209"/>
                </a:lnTo>
                <a:lnTo>
                  <a:pt x="567" y="219"/>
                </a:lnTo>
                <a:lnTo>
                  <a:pt x="561" y="227"/>
                </a:lnTo>
                <a:lnTo>
                  <a:pt x="554" y="236"/>
                </a:lnTo>
                <a:lnTo>
                  <a:pt x="545" y="244"/>
                </a:lnTo>
                <a:lnTo>
                  <a:pt x="537" y="252"/>
                </a:lnTo>
                <a:lnTo>
                  <a:pt x="531" y="260"/>
                </a:lnTo>
                <a:lnTo>
                  <a:pt x="526" y="266"/>
                </a:lnTo>
                <a:lnTo>
                  <a:pt x="525" y="271"/>
                </a:lnTo>
                <a:lnTo>
                  <a:pt x="526" y="277"/>
                </a:lnTo>
                <a:lnTo>
                  <a:pt x="528" y="283"/>
                </a:lnTo>
                <a:lnTo>
                  <a:pt x="533" y="287"/>
                </a:lnTo>
                <a:lnTo>
                  <a:pt x="538" y="291"/>
                </a:lnTo>
                <a:lnTo>
                  <a:pt x="543" y="295"/>
                </a:lnTo>
                <a:lnTo>
                  <a:pt x="547" y="299"/>
                </a:lnTo>
                <a:lnTo>
                  <a:pt x="550" y="303"/>
                </a:lnTo>
                <a:lnTo>
                  <a:pt x="552" y="307"/>
                </a:lnTo>
                <a:lnTo>
                  <a:pt x="552" y="425"/>
                </a:lnTo>
                <a:lnTo>
                  <a:pt x="549" y="430"/>
                </a:lnTo>
                <a:lnTo>
                  <a:pt x="549" y="434"/>
                </a:lnTo>
                <a:lnTo>
                  <a:pt x="550" y="439"/>
                </a:lnTo>
                <a:lnTo>
                  <a:pt x="552" y="443"/>
                </a:lnTo>
                <a:lnTo>
                  <a:pt x="556" y="452"/>
                </a:lnTo>
                <a:lnTo>
                  <a:pt x="558" y="462"/>
                </a:lnTo>
                <a:lnTo>
                  <a:pt x="558" y="475"/>
                </a:lnTo>
                <a:lnTo>
                  <a:pt x="558" y="483"/>
                </a:lnTo>
                <a:lnTo>
                  <a:pt x="558" y="489"/>
                </a:lnTo>
                <a:lnTo>
                  <a:pt x="558" y="499"/>
                </a:lnTo>
                <a:lnTo>
                  <a:pt x="559" y="507"/>
                </a:lnTo>
                <a:lnTo>
                  <a:pt x="561" y="515"/>
                </a:lnTo>
                <a:lnTo>
                  <a:pt x="567" y="523"/>
                </a:lnTo>
                <a:lnTo>
                  <a:pt x="574" y="532"/>
                </a:lnTo>
                <a:lnTo>
                  <a:pt x="594" y="549"/>
                </a:lnTo>
                <a:lnTo>
                  <a:pt x="624" y="572"/>
                </a:lnTo>
                <a:lnTo>
                  <a:pt x="622" y="575"/>
                </a:lnTo>
                <a:lnTo>
                  <a:pt x="616" y="579"/>
                </a:lnTo>
                <a:lnTo>
                  <a:pt x="609" y="583"/>
                </a:lnTo>
                <a:lnTo>
                  <a:pt x="599" y="589"/>
                </a:lnTo>
                <a:lnTo>
                  <a:pt x="575" y="600"/>
                </a:lnTo>
                <a:lnTo>
                  <a:pt x="546" y="611"/>
                </a:lnTo>
                <a:lnTo>
                  <a:pt x="518" y="622"/>
                </a:lnTo>
                <a:lnTo>
                  <a:pt x="491" y="631"/>
                </a:lnTo>
                <a:lnTo>
                  <a:pt x="470" y="638"/>
                </a:lnTo>
                <a:lnTo>
                  <a:pt x="458" y="640"/>
                </a:lnTo>
                <a:lnTo>
                  <a:pt x="443" y="638"/>
                </a:lnTo>
                <a:lnTo>
                  <a:pt x="423" y="634"/>
                </a:lnTo>
                <a:lnTo>
                  <a:pt x="403" y="630"/>
                </a:lnTo>
                <a:lnTo>
                  <a:pt x="392" y="628"/>
                </a:lnTo>
                <a:lnTo>
                  <a:pt x="369" y="630"/>
                </a:lnTo>
                <a:lnTo>
                  <a:pt x="348" y="632"/>
                </a:lnTo>
                <a:lnTo>
                  <a:pt x="339" y="633"/>
                </a:lnTo>
                <a:lnTo>
                  <a:pt x="329" y="633"/>
                </a:lnTo>
                <a:lnTo>
                  <a:pt x="318" y="631"/>
                </a:lnTo>
                <a:lnTo>
                  <a:pt x="306" y="628"/>
                </a:lnTo>
                <a:lnTo>
                  <a:pt x="303" y="625"/>
                </a:lnTo>
                <a:lnTo>
                  <a:pt x="301" y="620"/>
                </a:lnTo>
                <a:lnTo>
                  <a:pt x="299" y="614"/>
                </a:lnTo>
                <a:lnTo>
                  <a:pt x="298" y="608"/>
                </a:lnTo>
                <a:lnTo>
                  <a:pt x="295" y="592"/>
                </a:lnTo>
                <a:lnTo>
                  <a:pt x="294" y="573"/>
                </a:lnTo>
                <a:lnTo>
                  <a:pt x="291" y="556"/>
                </a:lnTo>
                <a:lnTo>
                  <a:pt x="289" y="541"/>
                </a:lnTo>
                <a:lnTo>
                  <a:pt x="288" y="529"/>
                </a:lnTo>
                <a:lnTo>
                  <a:pt x="286" y="523"/>
                </a:lnTo>
                <a:lnTo>
                  <a:pt x="270" y="519"/>
                </a:lnTo>
                <a:lnTo>
                  <a:pt x="253" y="517"/>
                </a:lnTo>
                <a:lnTo>
                  <a:pt x="232" y="515"/>
                </a:lnTo>
                <a:lnTo>
                  <a:pt x="206" y="511"/>
                </a:lnTo>
                <a:lnTo>
                  <a:pt x="185" y="502"/>
                </a:lnTo>
                <a:lnTo>
                  <a:pt x="139" y="482"/>
                </a:lnTo>
                <a:lnTo>
                  <a:pt x="113" y="470"/>
                </a:lnTo>
                <a:lnTo>
                  <a:pt x="90" y="459"/>
                </a:lnTo>
                <a:lnTo>
                  <a:pt x="82" y="454"/>
                </a:lnTo>
                <a:lnTo>
                  <a:pt x="74" y="450"/>
                </a:lnTo>
                <a:lnTo>
                  <a:pt x="68" y="446"/>
                </a:lnTo>
                <a:lnTo>
                  <a:pt x="66" y="443"/>
                </a:lnTo>
                <a:lnTo>
                  <a:pt x="66" y="437"/>
                </a:lnTo>
                <a:lnTo>
                  <a:pt x="66" y="428"/>
                </a:lnTo>
                <a:lnTo>
                  <a:pt x="66" y="419"/>
                </a:lnTo>
                <a:lnTo>
                  <a:pt x="66" y="412"/>
                </a:lnTo>
                <a:lnTo>
                  <a:pt x="65" y="402"/>
                </a:lnTo>
                <a:lnTo>
                  <a:pt x="62" y="392"/>
                </a:lnTo>
                <a:lnTo>
                  <a:pt x="57" y="384"/>
                </a:lnTo>
                <a:lnTo>
                  <a:pt x="53" y="377"/>
                </a:lnTo>
                <a:lnTo>
                  <a:pt x="48" y="371"/>
                </a:lnTo>
                <a:lnTo>
                  <a:pt x="44" y="363"/>
                </a:lnTo>
                <a:lnTo>
                  <a:pt x="41" y="357"/>
                </a:lnTo>
                <a:lnTo>
                  <a:pt x="40" y="351"/>
                </a:lnTo>
                <a:lnTo>
                  <a:pt x="32" y="350"/>
                </a:lnTo>
                <a:lnTo>
                  <a:pt x="27" y="347"/>
                </a:lnTo>
                <a:lnTo>
                  <a:pt x="21" y="343"/>
                </a:lnTo>
                <a:lnTo>
                  <a:pt x="17" y="338"/>
                </a:lnTo>
                <a:lnTo>
                  <a:pt x="12" y="332"/>
                </a:lnTo>
                <a:lnTo>
                  <a:pt x="9" y="325"/>
                </a:lnTo>
                <a:lnTo>
                  <a:pt x="7" y="317"/>
                </a:lnTo>
                <a:lnTo>
                  <a:pt x="5" y="308"/>
                </a:lnTo>
                <a:lnTo>
                  <a:pt x="1" y="291"/>
                </a:lnTo>
                <a:lnTo>
                  <a:pt x="0" y="276"/>
                </a:lnTo>
                <a:lnTo>
                  <a:pt x="0" y="262"/>
                </a:lnTo>
                <a:lnTo>
                  <a:pt x="0" y="252"/>
                </a:lnTo>
                <a:lnTo>
                  <a:pt x="0" y="243"/>
                </a:lnTo>
                <a:lnTo>
                  <a:pt x="0" y="234"/>
                </a:lnTo>
                <a:lnTo>
                  <a:pt x="0" y="225"/>
                </a:lnTo>
                <a:lnTo>
                  <a:pt x="0" y="215"/>
                </a:lnTo>
                <a:lnTo>
                  <a:pt x="10" y="212"/>
                </a:lnTo>
                <a:lnTo>
                  <a:pt x="20" y="208"/>
                </a:lnTo>
                <a:lnTo>
                  <a:pt x="29" y="202"/>
                </a:lnTo>
                <a:lnTo>
                  <a:pt x="38" y="195"/>
                </a:lnTo>
                <a:lnTo>
                  <a:pt x="46" y="188"/>
                </a:lnTo>
                <a:lnTo>
                  <a:pt x="54" y="180"/>
                </a:lnTo>
                <a:lnTo>
                  <a:pt x="61" y="173"/>
                </a:lnTo>
                <a:lnTo>
                  <a:pt x="66" y="166"/>
                </a:lnTo>
                <a:lnTo>
                  <a:pt x="73" y="85"/>
                </a:lnTo>
                <a:lnTo>
                  <a:pt x="77" y="77"/>
                </a:lnTo>
                <a:lnTo>
                  <a:pt x="81" y="67"/>
                </a:lnTo>
                <a:lnTo>
                  <a:pt x="83" y="55"/>
                </a:lnTo>
                <a:lnTo>
                  <a:pt x="84" y="43"/>
                </a:lnTo>
                <a:lnTo>
                  <a:pt x="84" y="30"/>
                </a:lnTo>
                <a:lnTo>
                  <a:pt x="83" y="18"/>
                </a:lnTo>
                <a:lnTo>
                  <a:pt x="82" y="8"/>
                </a:lnTo>
                <a:lnTo>
                  <a:pt x="79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529" name="Freeform 481"/>
          <p:cNvSpPr>
            <a:spLocks/>
          </p:cNvSpPr>
          <p:nvPr>
            <p:custDataLst>
              <p:tags r:id="rId319"/>
            </p:custDataLst>
          </p:nvPr>
        </p:nvSpPr>
        <p:spPr bwMode="auto">
          <a:xfrm>
            <a:off x="7313613" y="1657354"/>
            <a:ext cx="19050" cy="42863"/>
          </a:xfrm>
          <a:custGeom>
            <a:avLst/>
            <a:gdLst/>
            <a:ahLst/>
            <a:cxnLst>
              <a:cxn ang="0">
                <a:pos x="13" y="50"/>
              </a:cxn>
              <a:cxn ang="0">
                <a:pos x="0" y="32"/>
              </a:cxn>
              <a:cxn ang="0">
                <a:pos x="2" y="25"/>
              </a:cxn>
              <a:cxn ang="0">
                <a:pos x="6" y="18"/>
              </a:cxn>
              <a:cxn ang="0">
                <a:pos x="12" y="13"/>
              </a:cxn>
              <a:cxn ang="0">
                <a:pos x="18" y="9"/>
              </a:cxn>
              <a:cxn ang="0">
                <a:pos x="26" y="5"/>
              </a:cxn>
              <a:cxn ang="0">
                <a:pos x="34" y="3"/>
              </a:cxn>
              <a:cxn ang="0">
                <a:pos x="43" y="1"/>
              </a:cxn>
              <a:cxn ang="0">
                <a:pos x="52" y="0"/>
              </a:cxn>
              <a:cxn ang="0">
                <a:pos x="40" y="11"/>
              </a:cxn>
              <a:cxn ang="0">
                <a:pos x="27" y="22"/>
              </a:cxn>
              <a:cxn ang="0">
                <a:pos x="22" y="30"/>
              </a:cxn>
              <a:cxn ang="0">
                <a:pos x="17" y="36"/>
              </a:cxn>
              <a:cxn ang="0">
                <a:pos x="14" y="43"/>
              </a:cxn>
              <a:cxn ang="0">
                <a:pos x="13" y="50"/>
              </a:cxn>
            </a:cxnLst>
            <a:rect l="0" t="0" r="r" b="b"/>
            <a:pathLst>
              <a:path w="52" h="50">
                <a:moveTo>
                  <a:pt x="13" y="50"/>
                </a:moveTo>
                <a:lnTo>
                  <a:pt x="0" y="32"/>
                </a:lnTo>
                <a:lnTo>
                  <a:pt x="2" y="25"/>
                </a:lnTo>
                <a:lnTo>
                  <a:pt x="6" y="18"/>
                </a:lnTo>
                <a:lnTo>
                  <a:pt x="12" y="13"/>
                </a:lnTo>
                <a:lnTo>
                  <a:pt x="18" y="9"/>
                </a:lnTo>
                <a:lnTo>
                  <a:pt x="26" y="5"/>
                </a:lnTo>
                <a:lnTo>
                  <a:pt x="34" y="3"/>
                </a:lnTo>
                <a:lnTo>
                  <a:pt x="43" y="1"/>
                </a:lnTo>
                <a:lnTo>
                  <a:pt x="52" y="0"/>
                </a:lnTo>
                <a:lnTo>
                  <a:pt x="40" y="11"/>
                </a:lnTo>
                <a:lnTo>
                  <a:pt x="27" y="22"/>
                </a:lnTo>
                <a:lnTo>
                  <a:pt x="22" y="30"/>
                </a:lnTo>
                <a:lnTo>
                  <a:pt x="17" y="36"/>
                </a:lnTo>
                <a:lnTo>
                  <a:pt x="14" y="43"/>
                </a:lnTo>
                <a:lnTo>
                  <a:pt x="13" y="5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530" name="Freeform 482"/>
          <p:cNvSpPr>
            <a:spLocks/>
          </p:cNvSpPr>
          <p:nvPr>
            <p:custDataLst>
              <p:tags r:id="rId320"/>
            </p:custDataLst>
          </p:nvPr>
        </p:nvSpPr>
        <p:spPr bwMode="auto">
          <a:xfrm>
            <a:off x="7172325" y="1658543"/>
            <a:ext cx="141288" cy="94059"/>
          </a:xfrm>
          <a:custGeom>
            <a:avLst/>
            <a:gdLst/>
            <a:ahLst/>
            <a:cxnLst>
              <a:cxn ang="0">
                <a:pos x="76" y="231"/>
              </a:cxn>
              <a:cxn ang="0">
                <a:pos x="61" y="226"/>
              </a:cxn>
              <a:cxn ang="0">
                <a:pos x="66" y="222"/>
              </a:cxn>
              <a:cxn ang="0">
                <a:pos x="77" y="217"/>
              </a:cxn>
              <a:cxn ang="0">
                <a:pos x="64" y="204"/>
              </a:cxn>
              <a:cxn ang="0">
                <a:pos x="43" y="189"/>
              </a:cxn>
              <a:cxn ang="0">
                <a:pos x="36" y="179"/>
              </a:cxn>
              <a:cxn ang="0">
                <a:pos x="34" y="171"/>
              </a:cxn>
              <a:cxn ang="0">
                <a:pos x="34" y="164"/>
              </a:cxn>
              <a:cxn ang="0">
                <a:pos x="36" y="157"/>
              </a:cxn>
              <a:cxn ang="0">
                <a:pos x="43" y="149"/>
              </a:cxn>
              <a:cxn ang="0">
                <a:pos x="56" y="141"/>
              </a:cxn>
              <a:cxn ang="0">
                <a:pos x="73" y="137"/>
              </a:cxn>
              <a:cxn ang="0">
                <a:pos x="80" y="126"/>
              </a:cxn>
              <a:cxn ang="0">
                <a:pos x="67" y="111"/>
              </a:cxn>
              <a:cxn ang="0">
                <a:pos x="61" y="102"/>
              </a:cxn>
              <a:cxn ang="0">
                <a:pos x="60" y="86"/>
              </a:cxn>
              <a:cxn ang="0">
                <a:pos x="55" y="70"/>
              </a:cxn>
              <a:cxn ang="0">
                <a:pos x="46" y="46"/>
              </a:cxn>
              <a:cxn ang="0">
                <a:pos x="33" y="31"/>
              </a:cxn>
              <a:cxn ang="0">
                <a:pos x="20" y="25"/>
              </a:cxn>
              <a:cxn ang="0">
                <a:pos x="7" y="10"/>
              </a:cxn>
              <a:cxn ang="0">
                <a:pos x="9" y="0"/>
              </a:cxn>
              <a:cxn ang="0">
                <a:pos x="24" y="0"/>
              </a:cxn>
              <a:cxn ang="0">
                <a:pos x="38" y="3"/>
              </a:cxn>
              <a:cxn ang="0">
                <a:pos x="56" y="16"/>
              </a:cxn>
              <a:cxn ang="0">
                <a:pos x="78" y="35"/>
              </a:cxn>
              <a:cxn ang="0">
                <a:pos x="96" y="48"/>
              </a:cxn>
              <a:cxn ang="0">
                <a:pos x="119" y="58"/>
              </a:cxn>
              <a:cxn ang="0">
                <a:pos x="152" y="70"/>
              </a:cxn>
              <a:cxn ang="0">
                <a:pos x="181" y="79"/>
              </a:cxn>
              <a:cxn ang="0">
                <a:pos x="214" y="85"/>
              </a:cxn>
              <a:cxn ang="0">
                <a:pos x="236" y="77"/>
              </a:cxn>
              <a:cxn ang="0">
                <a:pos x="257" y="83"/>
              </a:cxn>
              <a:cxn ang="0">
                <a:pos x="284" y="107"/>
              </a:cxn>
              <a:cxn ang="0">
                <a:pos x="305" y="119"/>
              </a:cxn>
              <a:cxn ang="0">
                <a:pos x="297" y="133"/>
              </a:cxn>
              <a:cxn ang="0">
                <a:pos x="268" y="144"/>
              </a:cxn>
              <a:cxn ang="0">
                <a:pos x="249" y="148"/>
              </a:cxn>
              <a:cxn ang="0">
                <a:pos x="237" y="159"/>
              </a:cxn>
              <a:cxn ang="0">
                <a:pos x="232" y="176"/>
              </a:cxn>
              <a:cxn ang="0">
                <a:pos x="231" y="187"/>
              </a:cxn>
              <a:cxn ang="0">
                <a:pos x="222" y="192"/>
              </a:cxn>
              <a:cxn ang="0">
                <a:pos x="204" y="189"/>
              </a:cxn>
              <a:cxn ang="0">
                <a:pos x="186" y="181"/>
              </a:cxn>
              <a:cxn ang="0">
                <a:pos x="168" y="170"/>
              </a:cxn>
              <a:cxn ang="0">
                <a:pos x="155" y="164"/>
              </a:cxn>
              <a:cxn ang="0">
                <a:pos x="145" y="161"/>
              </a:cxn>
              <a:cxn ang="0">
                <a:pos x="131" y="162"/>
              </a:cxn>
              <a:cxn ang="0">
                <a:pos x="114" y="167"/>
              </a:cxn>
              <a:cxn ang="0">
                <a:pos x="100" y="173"/>
              </a:cxn>
              <a:cxn ang="0">
                <a:pos x="87" y="178"/>
              </a:cxn>
              <a:cxn ang="0">
                <a:pos x="85" y="183"/>
              </a:cxn>
              <a:cxn ang="0">
                <a:pos x="96" y="191"/>
              </a:cxn>
              <a:cxn ang="0">
                <a:pos x="116" y="200"/>
              </a:cxn>
              <a:cxn ang="0">
                <a:pos x="126" y="212"/>
              </a:cxn>
              <a:cxn ang="0">
                <a:pos x="113" y="224"/>
              </a:cxn>
              <a:cxn ang="0">
                <a:pos x="102" y="231"/>
              </a:cxn>
              <a:cxn ang="0">
                <a:pos x="91" y="234"/>
              </a:cxn>
            </a:cxnLst>
            <a:rect l="0" t="0" r="r" b="b"/>
            <a:pathLst>
              <a:path w="320" h="234">
                <a:moveTo>
                  <a:pt x="87" y="234"/>
                </a:moveTo>
                <a:lnTo>
                  <a:pt x="76" y="231"/>
                </a:lnTo>
                <a:lnTo>
                  <a:pt x="61" y="228"/>
                </a:lnTo>
                <a:lnTo>
                  <a:pt x="61" y="226"/>
                </a:lnTo>
                <a:lnTo>
                  <a:pt x="63" y="224"/>
                </a:lnTo>
                <a:lnTo>
                  <a:pt x="66" y="222"/>
                </a:lnTo>
                <a:lnTo>
                  <a:pt x="70" y="220"/>
                </a:lnTo>
                <a:lnTo>
                  <a:pt x="77" y="217"/>
                </a:lnTo>
                <a:lnTo>
                  <a:pt x="80" y="216"/>
                </a:lnTo>
                <a:lnTo>
                  <a:pt x="64" y="204"/>
                </a:lnTo>
                <a:lnTo>
                  <a:pt x="50" y="194"/>
                </a:lnTo>
                <a:lnTo>
                  <a:pt x="43" y="189"/>
                </a:lnTo>
                <a:lnTo>
                  <a:pt x="38" y="182"/>
                </a:lnTo>
                <a:lnTo>
                  <a:pt x="36" y="179"/>
                </a:lnTo>
                <a:lnTo>
                  <a:pt x="34" y="175"/>
                </a:lnTo>
                <a:lnTo>
                  <a:pt x="34" y="171"/>
                </a:lnTo>
                <a:lnTo>
                  <a:pt x="33" y="167"/>
                </a:lnTo>
                <a:lnTo>
                  <a:pt x="34" y="164"/>
                </a:lnTo>
                <a:lnTo>
                  <a:pt x="34" y="160"/>
                </a:lnTo>
                <a:lnTo>
                  <a:pt x="36" y="157"/>
                </a:lnTo>
                <a:lnTo>
                  <a:pt x="38" y="154"/>
                </a:lnTo>
                <a:lnTo>
                  <a:pt x="43" y="149"/>
                </a:lnTo>
                <a:lnTo>
                  <a:pt x="50" y="145"/>
                </a:lnTo>
                <a:lnTo>
                  <a:pt x="56" y="141"/>
                </a:lnTo>
                <a:lnTo>
                  <a:pt x="64" y="139"/>
                </a:lnTo>
                <a:lnTo>
                  <a:pt x="73" y="137"/>
                </a:lnTo>
                <a:lnTo>
                  <a:pt x="80" y="137"/>
                </a:lnTo>
                <a:lnTo>
                  <a:pt x="80" y="126"/>
                </a:lnTo>
                <a:lnTo>
                  <a:pt x="80" y="111"/>
                </a:lnTo>
                <a:lnTo>
                  <a:pt x="67" y="111"/>
                </a:lnTo>
                <a:lnTo>
                  <a:pt x="61" y="111"/>
                </a:lnTo>
                <a:lnTo>
                  <a:pt x="61" y="102"/>
                </a:lnTo>
                <a:lnTo>
                  <a:pt x="61" y="93"/>
                </a:lnTo>
                <a:lnTo>
                  <a:pt x="60" y="86"/>
                </a:lnTo>
                <a:lnTo>
                  <a:pt x="58" y="79"/>
                </a:lnTo>
                <a:lnTo>
                  <a:pt x="55" y="70"/>
                </a:lnTo>
                <a:lnTo>
                  <a:pt x="53" y="62"/>
                </a:lnTo>
                <a:lnTo>
                  <a:pt x="46" y="46"/>
                </a:lnTo>
                <a:lnTo>
                  <a:pt x="40" y="32"/>
                </a:lnTo>
                <a:lnTo>
                  <a:pt x="33" y="31"/>
                </a:lnTo>
                <a:lnTo>
                  <a:pt x="27" y="29"/>
                </a:lnTo>
                <a:lnTo>
                  <a:pt x="20" y="25"/>
                </a:lnTo>
                <a:lnTo>
                  <a:pt x="16" y="21"/>
                </a:lnTo>
                <a:lnTo>
                  <a:pt x="7" y="10"/>
                </a:lnTo>
                <a:lnTo>
                  <a:pt x="0" y="0"/>
                </a:lnTo>
                <a:lnTo>
                  <a:pt x="9" y="0"/>
                </a:lnTo>
                <a:lnTo>
                  <a:pt x="17" y="0"/>
                </a:lnTo>
                <a:lnTo>
                  <a:pt x="24" y="0"/>
                </a:lnTo>
                <a:lnTo>
                  <a:pt x="33" y="0"/>
                </a:lnTo>
                <a:lnTo>
                  <a:pt x="38" y="3"/>
                </a:lnTo>
                <a:lnTo>
                  <a:pt x="45" y="8"/>
                </a:lnTo>
                <a:lnTo>
                  <a:pt x="56" y="16"/>
                </a:lnTo>
                <a:lnTo>
                  <a:pt x="67" y="26"/>
                </a:lnTo>
                <a:lnTo>
                  <a:pt x="78" y="35"/>
                </a:lnTo>
                <a:lnTo>
                  <a:pt x="88" y="42"/>
                </a:lnTo>
                <a:lnTo>
                  <a:pt x="96" y="48"/>
                </a:lnTo>
                <a:lnTo>
                  <a:pt x="100" y="50"/>
                </a:lnTo>
                <a:lnTo>
                  <a:pt x="119" y="58"/>
                </a:lnTo>
                <a:lnTo>
                  <a:pt x="135" y="65"/>
                </a:lnTo>
                <a:lnTo>
                  <a:pt x="152" y="70"/>
                </a:lnTo>
                <a:lnTo>
                  <a:pt x="166" y="76"/>
                </a:lnTo>
                <a:lnTo>
                  <a:pt x="181" y="79"/>
                </a:lnTo>
                <a:lnTo>
                  <a:pt x="197" y="82"/>
                </a:lnTo>
                <a:lnTo>
                  <a:pt x="214" y="85"/>
                </a:lnTo>
                <a:lnTo>
                  <a:pt x="233" y="87"/>
                </a:lnTo>
                <a:lnTo>
                  <a:pt x="236" y="77"/>
                </a:lnTo>
                <a:lnTo>
                  <a:pt x="240" y="62"/>
                </a:lnTo>
                <a:lnTo>
                  <a:pt x="257" y="83"/>
                </a:lnTo>
                <a:lnTo>
                  <a:pt x="275" y="100"/>
                </a:lnTo>
                <a:lnTo>
                  <a:pt x="284" y="107"/>
                </a:lnTo>
                <a:lnTo>
                  <a:pt x="293" y="113"/>
                </a:lnTo>
                <a:lnTo>
                  <a:pt x="305" y="119"/>
                </a:lnTo>
                <a:lnTo>
                  <a:pt x="320" y="123"/>
                </a:lnTo>
                <a:lnTo>
                  <a:pt x="297" y="133"/>
                </a:lnTo>
                <a:lnTo>
                  <a:pt x="277" y="141"/>
                </a:lnTo>
                <a:lnTo>
                  <a:pt x="268" y="144"/>
                </a:lnTo>
                <a:lnTo>
                  <a:pt x="258" y="147"/>
                </a:lnTo>
                <a:lnTo>
                  <a:pt x="249" y="148"/>
                </a:lnTo>
                <a:lnTo>
                  <a:pt x="240" y="149"/>
                </a:lnTo>
                <a:lnTo>
                  <a:pt x="237" y="159"/>
                </a:lnTo>
                <a:lnTo>
                  <a:pt x="234" y="170"/>
                </a:lnTo>
                <a:lnTo>
                  <a:pt x="232" y="176"/>
                </a:lnTo>
                <a:lnTo>
                  <a:pt x="231" y="181"/>
                </a:lnTo>
                <a:lnTo>
                  <a:pt x="231" y="187"/>
                </a:lnTo>
                <a:lnTo>
                  <a:pt x="233" y="192"/>
                </a:lnTo>
                <a:lnTo>
                  <a:pt x="222" y="192"/>
                </a:lnTo>
                <a:lnTo>
                  <a:pt x="213" y="191"/>
                </a:lnTo>
                <a:lnTo>
                  <a:pt x="204" y="189"/>
                </a:lnTo>
                <a:lnTo>
                  <a:pt x="198" y="187"/>
                </a:lnTo>
                <a:lnTo>
                  <a:pt x="186" y="181"/>
                </a:lnTo>
                <a:lnTo>
                  <a:pt x="176" y="176"/>
                </a:lnTo>
                <a:lnTo>
                  <a:pt x="168" y="170"/>
                </a:lnTo>
                <a:lnTo>
                  <a:pt x="159" y="165"/>
                </a:lnTo>
                <a:lnTo>
                  <a:pt x="155" y="164"/>
                </a:lnTo>
                <a:lnTo>
                  <a:pt x="151" y="162"/>
                </a:lnTo>
                <a:lnTo>
                  <a:pt x="145" y="161"/>
                </a:lnTo>
                <a:lnTo>
                  <a:pt x="140" y="161"/>
                </a:lnTo>
                <a:lnTo>
                  <a:pt x="131" y="162"/>
                </a:lnTo>
                <a:lnTo>
                  <a:pt x="122" y="164"/>
                </a:lnTo>
                <a:lnTo>
                  <a:pt x="114" y="167"/>
                </a:lnTo>
                <a:lnTo>
                  <a:pt x="108" y="170"/>
                </a:lnTo>
                <a:lnTo>
                  <a:pt x="100" y="173"/>
                </a:lnTo>
                <a:lnTo>
                  <a:pt x="94" y="176"/>
                </a:lnTo>
                <a:lnTo>
                  <a:pt x="87" y="178"/>
                </a:lnTo>
                <a:lnTo>
                  <a:pt x="80" y="179"/>
                </a:lnTo>
                <a:lnTo>
                  <a:pt x="85" y="183"/>
                </a:lnTo>
                <a:lnTo>
                  <a:pt x="90" y="188"/>
                </a:lnTo>
                <a:lnTo>
                  <a:pt x="96" y="191"/>
                </a:lnTo>
                <a:lnTo>
                  <a:pt x="101" y="194"/>
                </a:lnTo>
                <a:lnTo>
                  <a:pt x="116" y="200"/>
                </a:lnTo>
                <a:lnTo>
                  <a:pt x="133" y="204"/>
                </a:lnTo>
                <a:lnTo>
                  <a:pt x="126" y="212"/>
                </a:lnTo>
                <a:lnTo>
                  <a:pt x="119" y="219"/>
                </a:lnTo>
                <a:lnTo>
                  <a:pt x="113" y="224"/>
                </a:lnTo>
                <a:lnTo>
                  <a:pt x="108" y="228"/>
                </a:lnTo>
                <a:lnTo>
                  <a:pt x="102" y="231"/>
                </a:lnTo>
                <a:lnTo>
                  <a:pt x="97" y="233"/>
                </a:lnTo>
                <a:lnTo>
                  <a:pt x="91" y="234"/>
                </a:lnTo>
                <a:lnTo>
                  <a:pt x="87" y="234"/>
                </a:lnTo>
              </a:path>
            </a:pathLst>
          </a:custGeom>
          <a:solidFill>
            <a:srgbClr val="00B05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531" name="Freeform 483"/>
          <p:cNvSpPr>
            <a:spLocks/>
          </p:cNvSpPr>
          <p:nvPr>
            <p:custDataLst>
              <p:tags r:id="rId321"/>
            </p:custDataLst>
          </p:nvPr>
        </p:nvSpPr>
        <p:spPr bwMode="auto">
          <a:xfrm>
            <a:off x="7142170" y="1924054"/>
            <a:ext cx="52387" cy="42863"/>
          </a:xfrm>
          <a:custGeom>
            <a:avLst/>
            <a:gdLst/>
            <a:ahLst/>
            <a:cxnLst>
              <a:cxn ang="0">
                <a:pos x="33" y="19"/>
              </a:cxn>
              <a:cxn ang="0">
                <a:pos x="43" y="19"/>
              </a:cxn>
              <a:cxn ang="0">
                <a:pos x="52" y="19"/>
              </a:cxn>
              <a:cxn ang="0">
                <a:pos x="55" y="19"/>
              </a:cxn>
              <a:cxn ang="0">
                <a:pos x="58" y="17"/>
              </a:cxn>
              <a:cxn ang="0">
                <a:pos x="61" y="15"/>
              </a:cxn>
              <a:cxn ang="0">
                <a:pos x="65" y="11"/>
              </a:cxn>
              <a:cxn ang="0">
                <a:pos x="68" y="8"/>
              </a:cxn>
              <a:cxn ang="0">
                <a:pos x="70" y="5"/>
              </a:cxn>
              <a:cxn ang="0">
                <a:pos x="72" y="3"/>
              </a:cxn>
              <a:cxn ang="0">
                <a:pos x="72" y="0"/>
              </a:cxn>
              <a:cxn ang="0">
                <a:pos x="118" y="0"/>
              </a:cxn>
              <a:cxn ang="0">
                <a:pos x="122" y="15"/>
              </a:cxn>
              <a:cxn ang="0">
                <a:pos x="125" y="25"/>
              </a:cxn>
              <a:cxn ang="0">
                <a:pos x="124" y="29"/>
              </a:cxn>
              <a:cxn ang="0">
                <a:pos x="122" y="33"/>
              </a:cxn>
              <a:cxn ang="0">
                <a:pos x="119" y="35"/>
              </a:cxn>
              <a:cxn ang="0">
                <a:pos x="117" y="37"/>
              </a:cxn>
              <a:cxn ang="0">
                <a:pos x="111" y="40"/>
              </a:cxn>
              <a:cxn ang="0">
                <a:pos x="104" y="41"/>
              </a:cxn>
              <a:cxn ang="0">
                <a:pos x="88" y="41"/>
              </a:cxn>
              <a:cxn ang="0">
                <a:pos x="72" y="43"/>
              </a:cxn>
              <a:cxn ang="0">
                <a:pos x="70" y="47"/>
              </a:cxn>
              <a:cxn ang="0">
                <a:pos x="69" y="53"/>
              </a:cxn>
              <a:cxn ang="0">
                <a:pos x="67" y="61"/>
              </a:cxn>
              <a:cxn ang="0">
                <a:pos x="67" y="71"/>
              </a:cxn>
              <a:cxn ang="0">
                <a:pos x="66" y="86"/>
              </a:cxn>
              <a:cxn ang="0">
                <a:pos x="66" y="93"/>
              </a:cxn>
              <a:cxn ang="0">
                <a:pos x="49" y="85"/>
              </a:cxn>
              <a:cxn ang="0">
                <a:pos x="27" y="73"/>
              </a:cxn>
              <a:cxn ang="0">
                <a:pos x="16" y="65"/>
              </a:cxn>
              <a:cxn ang="0">
                <a:pos x="7" y="58"/>
              </a:cxn>
              <a:cxn ang="0">
                <a:pos x="4" y="54"/>
              </a:cxn>
              <a:cxn ang="0">
                <a:pos x="2" y="50"/>
              </a:cxn>
              <a:cxn ang="0">
                <a:pos x="0" y="47"/>
              </a:cxn>
              <a:cxn ang="0">
                <a:pos x="0" y="43"/>
              </a:cxn>
              <a:cxn ang="0">
                <a:pos x="7" y="43"/>
              </a:cxn>
              <a:cxn ang="0">
                <a:pos x="15" y="41"/>
              </a:cxn>
              <a:cxn ang="0">
                <a:pos x="20" y="39"/>
              </a:cxn>
              <a:cxn ang="0">
                <a:pos x="23" y="36"/>
              </a:cxn>
              <a:cxn ang="0">
                <a:pos x="28" y="28"/>
              </a:cxn>
              <a:cxn ang="0">
                <a:pos x="33" y="19"/>
              </a:cxn>
            </a:cxnLst>
            <a:rect l="0" t="0" r="r" b="b"/>
            <a:pathLst>
              <a:path w="125" h="93">
                <a:moveTo>
                  <a:pt x="33" y="19"/>
                </a:moveTo>
                <a:lnTo>
                  <a:pt x="43" y="19"/>
                </a:lnTo>
                <a:lnTo>
                  <a:pt x="52" y="19"/>
                </a:lnTo>
                <a:lnTo>
                  <a:pt x="55" y="19"/>
                </a:lnTo>
                <a:lnTo>
                  <a:pt x="58" y="17"/>
                </a:lnTo>
                <a:lnTo>
                  <a:pt x="61" y="15"/>
                </a:lnTo>
                <a:lnTo>
                  <a:pt x="65" y="11"/>
                </a:lnTo>
                <a:lnTo>
                  <a:pt x="68" y="8"/>
                </a:lnTo>
                <a:lnTo>
                  <a:pt x="70" y="5"/>
                </a:lnTo>
                <a:lnTo>
                  <a:pt x="72" y="3"/>
                </a:lnTo>
                <a:lnTo>
                  <a:pt x="72" y="0"/>
                </a:lnTo>
                <a:lnTo>
                  <a:pt x="118" y="0"/>
                </a:lnTo>
                <a:lnTo>
                  <a:pt x="122" y="15"/>
                </a:lnTo>
                <a:lnTo>
                  <a:pt x="125" y="25"/>
                </a:lnTo>
                <a:lnTo>
                  <a:pt x="124" y="29"/>
                </a:lnTo>
                <a:lnTo>
                  <a:pt x="122" y="33"/>
                </a:lnTo>
                <a:lnTo>
                  <a:pt x="119" y="35"/>
                </a:lnTo>
                <a:lnTo>
                  <a:pt x="117" y="37"/>
                </a:lnTo>
                <a:lnTo>
                  <a:pt x="111" y="40"/>
                </a:lnTo>
                <a:lnTo>
                  <a:pt x="104" y="41"/>
                </a:lnTo>
                <a:lnTo>
                  <a:pt x="88" y="41"/>
                </a:lnTo>
                <a:lnTo>
                  <a:pt x="72" y="43"/>
                </a:lnTo>
                <a:lnTo>
                  <a:pt x="70" y="47"/>
                </a:lnTo>
                <a:lnTo>
                  <a:pt x="69" y="53"/>
                </a:lnTo>
                <a:lnTo>
                  <a:pt x="67" y="61"/>
                </a:lnTo>
                <a:lnTo>
                  <a:pt x="67" y="71"/>
                </a:lnTo>
                <a:lnTo>
                  <a:pt x="66" y="86"/>
                </a:lnTo>
                <a:lnTo>
                  <a:pt x="66" y="93"/>
                </a:lnTo>
                <a:lnTo>
                  <a:pt x="49" y="85"/>
                </a:lnTo>
                <a:lnTo>
                  <a:pt x="27" y="73"/>
                </a:lnTo>
                <a:lnTo>
                  <a:pt x="16" y="65"/>
                </a:lnTo>
                <a:lnTo>
                  <a:pt x="7" y="58"/>
                </a:lnTo>
                <a:lnTo>
                  <a:pt x="4" y="54"/>
                </a:lnTo>
                <a:lnTo>
                  <a:pt x="2" y="50"/>
                </a:lnTo>
                <a:lnTo>
                  <a:pt x="0" y="47"/>
                </a:lnTo>
                <a:lnTo>
                  <a:pt x="0" y="43"/>
                </a:lnTo>
                <a:lnTo>
                  <a:pt x="7" y="43"/>
                </a:lnTo>
                <a:lnTo>
                  <a:pt x="15" y="41"/>
                </a:lnTo>
                <a:lnTo>
                  <a:pt x="20" y="39"/>
                </a:lnTo>
                <a:lnTo>
                  <a:pt x="23" y="36"/>
                </a:lnTo>
                <a:lnTo>
                  <a:pt x="28" y="28"/>
                </a:lnTo>
                <a:lnTo>
                  <a:pt x="33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532" name="Freeform 484"/>
          <p:cNvSpPr>
            <a:spLocks/>
          </p:cNvSpPr>
          <p:nvPr>
            <p:custDataLst>
              <p:tags r:id="rId322"/>
            </p:custDataLst>
          </p:nvPr>
        </p:nvSpPr>
        <p:spPr bwMode="auto">
          <a:xfrm>
            <a:off x="7088190" y="1934775"/>
            <a:ext cx="60325" cy="63103"/>
          </a:xfrm>
          <a:custGeom>
            <a:avLst/>
            <a:gdLst/>
            <a:ahLst/>
            <a:cxnLst>
              <a:cxn ang="0">
                <a:pos x="20" y="12"/>
              </a:cxn>
              <a:cxn ang="0">
                <a:pos x="24" y="10"/>
              </a:cxn>
              <a:cxn ang="0">
                <a:pos x="31" y="6"/>
              </a:cxn>
              <a:cxn ang="0">
                <a:pos x="34" y="4"/>
              </a:cxn>
              <a:cxn ang="0">
                <a:pos x="37" y="2"/>
              </a:cxn>
              <a:cxn ang="0">
                <a:pos x="42" y="1"/>
              </a:cxn>
              <a:cxn ang="0">
                <a:pos x="46" y="0"/>
              </a:cxn>
              <a:cxn ang="0">
                <a:pos x="59" y="1"/>
              </a:cxn>
              <a:cxn ang="0">
                <a:pos x="70" y="4"/>
              </a:cxn>
              <a:cxn ang="0">
                <a:pos x="81" y="8"/>
              </a:cxn>
              <a:cxn ang="0">
                <a:pos x="90" y="14"/>
              </a:cxn>
              <a:cxn ang="0">
                <a:pos x="99" y="21"/>
              </a:cxn>
              <a:cxn ang="0">
                <a:pos x="105" y="30"/>
              </a:cxn>
              <a:cxn ang="0">
                <a:pos x="112" y="40"/>
              </a:cxn>
              <a:cxn ang="0">
                <a:pos x="116" y="50"/>
              </a:cxn>
              <a:cxn ang="0">
                <a:pos x="121" y="60"/>
              </a:cxn>
              <a:cxn ang="0">
                <a:pos x="124" y="71"/>
              </a:cxn>
              <a:cxn ang="0">
                <a:pos x="127" y="82"/>
              </a:cxn>
              <a:cxn ang="0">
                <a:pos x="130" y="94"/>
              </a:cxn>
              <a:cxn ang="0">
                <a:pos x="132" y="116"/>
              </a:cxn>
              <a:cxn ang="0">
                <a:pos x="133" y="135"/>
              </a:cxn>
              <a:cxn ang="0">
                <a:pos x="132" y="138"/>
              </a:cxn>
              <a:cxn ang="0">
                <a:pos x="130" y="141"/>
              </a:cxn>
              <a:cxn ang="0">
                <a:pos x="125" y="144"/>
              </a:cxn>
              <a:cxn ang="0">
                <a:pos x="121" y="147"/>
              </a:cxn>
              <a:cxn ang="0">
                <a:pos x="115" y="150"/>
              </a:cxn>
              <a:cxn ang="0">
                <a:pos x="110" y="153"/>
              </a:cxn>
              <a:cxn ang="0">
                <a:pos x="104" y="154"/>
              </a:cxn>
              <a:cxn ang="0">
                <a:pos x="99" y="154"/>
              </a:cxn>
              <a:cxn ang="0">
                <a:pos x="93" y="153"/>
              </a:cxn>
              <a:cxn ang="0">
                <a:pos x="87" y="149"/>
              </a:cxn>
              <a:cxn ang="0">
                <a:pos x="79" y="141"/>
              </a:cxn>
              <a:cxn ang="0">
                <a:pos x="71" y="134"/>
              </a:cxn>
              <a:cxn ang="0">
                <a:pos x="64" y="126"/>
              </a:cxn>
              <a:cxn ang="0">
                <a:pos x="58" y="118"/>
              </a:cxn>
              <a:cxn ang="0">
                <a:pos x="54" y="111"/>
              </a:cxn>
              <a:cxn ang="0">
                <a:pos x="53" y="105"/>
              </a:cxn>
              <a:cxn ang="0">
                <a:pos x="54" y="98"/>
              </a:cxn>
              <a:cxn ang="0">
                <a:pos x="56" y="83"/>
              </a:cxn>
              <a:cxn ang="0">
                <a:pos x="58" y="68"/>
              </a:cxn>
              <a:cxn ang="0">
                <a:pos x="59" y="62"/>
              </a:cxn>
              <a:cxn ang="0">
                <a:pos x="47" y="61"/>
              </a:cxn>
              <a:cxn ang="0">
                <a:pos x="36" y="59"/>
              </a:cxn>
              <a:cxn ang="0">
                <a:pos x="25" y="56"/>
              </a:cxn>
              <a:cxn ang="0">
                <a:pos x="17" y="52"/>
              </a:cxn>
              <a:cxn ang="0">
                <a:pos x="13" y="49"/>
              </a:cxn>
              <a:cxn ang="0">
                <a:pos x="10" y="46"/>
              </a:cxn>
              <a:cxn ang="0">
                <a:pos x="7" y="43"/>
              </a:cxn>
              <a:cxn ang="0">
                <a:pos x="4" y="39"/>
              </a:cxn>
              <a:cxn ang="0">
                <a:pos x="2" y="34"/>
              </a:cxn>
              <a:cxn ang="0">
                <a:pos x="1" y="29"/>
              </a:cxn>
              <a:cxn ang="0">
                <a:pos x="0" y="24"/>
              </a:cxn>
              <a:cxn ang="0">
                <a:pos x="0" y="18"/>
              </a:cxn>
              <a:cxn ang="0">
                <a:pos x="7" y="15"/>
              </a:cxn>
              <a:cxn ang="0">
                <a:pos x="20" y="12"/>
              </a:cxn>
            </a:cxnLst>
            <a:rect l="0" t="0" r="r" b="b"/>
            <a:pathLst>
              <a:path w="133" h="154">
                <a:moveTo>
                  <a:pt x="20" y="12"/>
                </a:moveTo>
                <a:lnTo>
                  <a:pt x="24" y="10"/>
                </a:lnTo>
                <a:lnTo>
                  <a:pt x="31" y="6"/>
                </a:lnTo>
                <a:lnTo>
                  <a:pt x="34" y="4"/>
                </a:lnTo>
                <a:lnTo>
                  <a:pt x="37" y="2"/>
                </a:lnTo>
                <a:lnTo>
                  <a:pt x="42" y="1"/>
                </a:lnTo>
                <a:lnTo>
                  <a:pt x="46" y="0"/>
                </a:lnTo>
                <a:lnTo>
                  <a:pt x="59" y="1"/>
                </a:lnTo>
                <a:lnTo>
                  <a:pt x="70" y="4"/>
                </a:lnTo>
                <a:lnTo>
                  <a:pt x="81" y="8"/>
                </a:lnTo>
                <a:lnTo>
                  <a:pt x="90" y="14"/>
                </a:lnTo>
                <a:lnTo>
                  <a:pt x="99" y="21"/>
                </a:lnTo>
                <a:lnTo>
                  <a:pt x="105" y="30"/>
                </a:lnTo>
                <a:lnTo>
                  <a:pt x="112" y="40"/>
                </a:lnTo>
                <a:lnTo>
                  <a:pt x="116" y="50"/>
                </a:lnTo>
                <a:lnTo>
                  <a:pt x="121" y="60"/>
                </a:lnTo>
                <a:lnTo>
                  <a:pt x="124" y="71"/>
                </a:lnTo>
                <a:lnTo>
                  <a:pt x="127" y="82"/>
                </a:lnTo>
                <a:lnTo>
                  <a:pt x="130" y="94"/>
                </a:lnTo>
                <a:lnTo>
                  <a:pt x="132" y="116"/>
                </a:lnTo>
                <a:lnTo>
                  <a:pt x="133" y="135"/>
                </a:lnTo>
                <a:lnTo>
                  <a:pt x="132" y="138"/>
                </a:lnTo>
                <a:lnTo>
                  <a:pt x="130" y="141"/>
                </a:lnTo>
                <a:lnTo>
                  <a:pt x="125" y="144"/>
                </a:lnTo>
                <a:lnTo>
                  <a:pt x="121" y="147"/>
                </a:lnTo>
                <a:lnTo>
                  <a:pt x="115" y="150"/>
                </a:lnTo>
                <a:lnTo>
                  <a:pt x="110" y="153"/>
                </a:lnTo>
                <a:lnTo>
                  <a:pt x="104" y="154"/>
                </a:lnTo>
                <a:lnTo>
                  <a:pt x="99" y="154"/>
                </a:lnTo>
                <a:lnTo>
                  <a:pt x="93" y="153"/>
                </a:lnTo>
                <a:lnTo>
                  <a:pt x="87" y="149"/>
                </a:lnTo>
                <a:lnTo>
                  <a:pt x="79" y="141"/>
                </a:lnTo>
                <a:lnTo>
                  <a:pt x="71" y="134"/>
                </a:lnTo>
                <a:lnTo>
                  <a:pt x="64" y="126"/>
                </a:lnTo>
                <a:lnTo>
                  <a:pt x="58" y="118"/>
                </a:lnTo>
                <a:lnTo>
                  <a:pt x="54" y="111"/>
                </a:lnTo>
                <a:lnTo>
                  <a:pt x="53" y="105"/>
                </a:lnTo>
                <a:lnTo>
                  <a:pt x="54" y="98"/>
                </a:lnTo>
                <a:lnTo>
                  <a:pt x="56" y="83"/>
                </a:lnTo>
                <a:lnTo>
                  <a:pt x="58" y="68"/>
                </a:lnTo>
                <a:lnTo>
                  <a:pt x="59" y="62"/>
                </a:lnTo>
                <a:lnTo>
                  <a:pt x="47" y="61"/>
                </a:lnTo>
                <a:lnTo>
                  <a:pt x="36" y="59"/>
                </a:lnTo>
                <a:lnTo>
                  <a:pt x="25" y="56"/>
                </a:lnTo>
                <a:lnTo>
                  <a:pt x="17" y="52"/>
                </a:lnTo>
                <a:lnTo>
                  <a:pt x="13" y="49"/>
                </a:lnTo>
                <a:lnTo>
                  <a:pt x="10" y="46"/>
                </a:lnTo>
                <a:lnTo>
                  <a:pt x="7" y="43"/>
                </a:lnTo>
                <a:lnTo>
                  <a:pt x="4" y="39"/>
                </a:lnTo>
                <a:lnTo>
                  <a:pt x="2" y="34"/>
                </a:lnTo>
                <a:lnTo>
                  <a:pt x="1" y="29"/>
                </a:lnTo>
                <a:lnTo>
                  <a:pt x="0" y="24"/>
                </a:lnTo>
                <a:lnTo>
                  <a:pt x="0" y="18"/>
                </a:lnTo>
                <a:lnTo>
                  <a:pt x="7" y="15"/>
                </a:lnTo>
                <a:lnTo>
                  <a:pt x="20" y="12"/>
                </a:lnTo>
              </a:path>
            </a:pathLst>
          </a:custGeom>
          <a:solidFill>
            <a:srgbClr val="00B05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533" name="Freeform 485"/>
          <p:cNvSpPr>
            <a:spLocks/>
          </p:cNvSpPr>
          <p:nvPr>
            <p:custDataLst>
              <p:tags r:id="rId323"/>
            </p:custDataLst>
          </p:nvPr>
        </p:nvSpPr>
        <p:spPr bwMode="auto">
          <a:xfrm>
            <a:off x="7104063" y="1756179"/>
            <a:ext cx="209550" cy="183356"/>
          </a:xfrm>
          <a:custGeom>
            <a:avLst/>
            <a:gdLst/>
            <a:ahLst/>
            <a:cxnLst>
              <a:cxn ang="0">
                <a:pos x="134" y="351"/>
              </a:cxn>
              <a:cxn ang="0">
                <a:pos x="167" y="339"/>
              </a:cxn>
              <a:cxn ang="0">
                <a:pos x="200" y="339"/>
              </a:cxn>
              <a:cxn ang="0">
                <a:pos x="226" y="348"/>
              </a:cxn>
              <a:cxn ang="0">
                <a:pos x="224" y="327"/>
              </a:cxn>
              <a:cxn ang="0">
                <a:pos x="220" y="316"/>
              </a:cxn>
              <a:cxn ang="0">
                <a:pos x="233" y="303"/>
              </a:cxn>
              <a:cxn ang="0">
                <a:pos x="239" y="276"/>
              </a:cxn>
              <a:cxn ang="0">
                <a:pos x="242" y="246"/>
              </a:cxn>
              <a:cxn ang="0">
                <a:pos x="268" y="255"/>
              </a:cxn>
              <a:cxn ang="0">
                <a:pos x="300" y="238"/>
              </a:cxn>
              <a:cxn ang="0">
                <a:pos x="316" y="217"/>
              </a:cxn>
              <a:cxn ang="0">
                <a:pos x="293" y="194"/>
              </a:cxn>
              <a:cxn ang="0">
                <a:pos x="318" y="199"/>
              </a:cxn>
              <a:cxn ang="0">
                <a:pos x="343" y="202"/>
              </a:cxn>
              <a:cxn ang="0">
                <a:pos x="346" y="185"/>
              </a:cxn>
              <a:cxn ang="0">
                <a:pos x="295" y="96"/>
              </a:cxn>
              <a:cxn ang="0">
                <a:pos x="285" y="53"/>
              </a:cxn>
              <a:cxn ang="0">
                <a:pos x="291" y="19"/>
              </a:cxn>
              <a:cxn ang="0">
                <a:pos x="316" y="1"/>
              </a:cxn>
              <a:cxn ang="0">
                <a:pos x="336" y="18"/>
              </a:cxn>
              <a:cxn ang="0">
                <a:pos x="377" y="45"/>
              </a:cxn>
              <a:cxn ang="0">
                <a:pos x="415" y="72"/>
              </a:cxn>
              <a:cxn ang="0">
                <a:pos x="426" y="98"/>
              </a:cxn>
              <a:cxn ang="0">
                <a:pos x="436" y="137"/>
              </a:cxn>
              <a:cxn ang="0">
                <a:pos x="445" y="173"/>
              </a:cxn>
              <a:cxn ang="0">
                <a:pos x="428" y="179"/>
              </a:cxn>
              <a:cxn ang="0">
                <a:pos x="412" y="185"/>
              </a:cxn>
              <a:cxn ang="0">
                <a:pos x="426" y="199"/>
              </a:cxn>
              <a:cxn ang="0">
                <a:pos x="445" y="203"/>
              </a:cxn>
              <a:cxn ang="0">
                <a:pos x="455" y="262"/>
              </a:cxn>
              <a:cxn ang="0">
                <a:pos x="475" y="312"/>
              </a:cxn>
              <a:cxn ang="0">
                <a:pos x="480" y="381"/>
              </a:cxn>
              <a:cxn ang="0">
                <a:pos x="463" y="364"/>
              </a:cxn>
              <a:cxn ang="0">
                <a:pos x="453" y="356"/>
              </a:cxn>
              <a:cxn ang="0">
                <a:pos x="436" y="363"/>
              </a:cxn>
              <a:cxn ang="0">
                <a:pos x="429" y="399"/>
              </a:cxn>
              <a:cxn ang="0">
                <a:pos x="408" y="389"/>
              </a:cxn>
              <a:cxn ang="0">
                <a:pos x="389" y="382"/>
              </a:cxn>
              <a:cxn ang="0">
                <a:pos x="376" y="402"/>
              </a:cxn>
              <a:cxn ang="0">
                <a:pos x="345" y="413"/>
              </a:cxn>
              <a:cxn ang="0">
                <a:pos x="334" y="400"/>
              </a:cxn>
              <a:cxn ang="0">
                <a:pos x="312" y="395"/>
              </a:cxn>
              <a:cxn ang="0">
                <a:pos x="303" y="426"/>
              </a:cxn>
              <a:cxn ang="0">
                <a:pos x="299" y="450"/>
              </a:cxn>
              <a:cxn ang="0">
                <a:pos x="307" y="466"/>
              </a:cxn>
              <a:cxn ang="0">
                <a:pos x="272" y="468"/>
              </a:cxn>
              <a:cxn ang="0">
                <a:pos x="258" y="465"/>
              </a:cxn>
              <a:cxn ang="0">
                <a:pos x="244" y="440"/>
              </a:cxn>
              <a:cxn ang="0">
                <a:pos x="229" y="418"/>
              </a:cxn>
              <a:cxn ang="0">
                <a:pos x="204" y="406"/>
              </a:cxn>
              <a:cxn ang="0">
                <a:pos x="190" y="394"/>
              </a:cxn>
              <a:cxn ang="0">
                <a:pos x="136" y="417"/>
              </a:cxn>
              <a:cxn ang="0">
                <a:pos x="90" y="435"/>
              </a:cxn>
              <a:cxn ang="0">
                <a:pos x="65" y="459"/>
              </a:cxn>
              <a:cxn ang="0">
                <a:pos x="27" y="461"/>
              </a:cxn>
              <a:cxn ang="0">
                <a:pos x="7" y="438"/>
              </a:cxn>
              <a:cxn ang="0">
                <a:pos x="0" y="417"/>
              </a:cxn>
              <a:cxn ang="0">
                <a:pos x="7" y="413"/>
              </a:cxn>
              <a:cxn ang="0">
                <a:pos x="27" y="414"/>
              </a:cxn>
              <a:cxn ang="0">
                <a:pos x="48" y="405"/>
              </a:cxn>
              <a:cxn ang="0">
                <a:pos x="72" y="369"/>
              </a:cxn>
              <a:cxn ang="0">
                <a:pos x="93" y="352"/>
              </a:cxn>
            </a:cxnLst>
            <a:rect l="0" t="0" r="r" b="b"/>
            <a:pathLst>
              <a:path w="485" h="468">
                <a:moveTo>
                  <a:pt x="100" y="351"/>
                </a:moveTo>
                <a:lnTo>
                  <a:pt x="113" y="351"/>
                </a:lnTo>
                <a:lnTo>
                  <a:pt x="126" y="351"/>
                </a:lnTo>
                <a:lnTo>
                  <a:pt x="134" y="351"/>
                </a:lnTo>
                <a:lnTo>
                  <a:pt x="142" y="348"/>
                </a:lnTo>
                <a:lnTo>
                  <a:pt x="149" y="346"/>
                </a:lnTo>
                <a:lnTo>
                  <a:pt x="158" y="342"/>
                </a:lnTo>
                <a:lnTo>
                  <a:pt x="167" y="339"/>
                </a:lnTo>
                <a:lnTo>
                  <a:pt x="177" y="336"/>
                </a:lnTo>
                <a:lnTo>
                  <a:pt x="188" y="334"/>
                </a:lnTo>
                <a:lnTo>
                  <a:pt x="199" y="333"/>
                </a:lnTo>
                <a:lnTo>
                  <a:pt x="200" y="339"/>
                </a:lnTo>
                <a:lnTo>
                  <a:pt x="203" y="345"/>
                </a:lnTo>
                <a:lnTo>
                  <a:pt x="208" y="352"/>
                </a:lnTo>
                <a:lnTo>
                  <a:pt x="212" y="357"/>
                </a:lnTo>
                <a:lnTo>
                  <a:pt x="226" y="348"/>
                </a:lnTo>
                <a:lnTo>
                  <a:pt x="239" y="339"/>
                </a:lnTo>
                <a:lnTo>
                  <a:pt x="233" y="335"/>
                </a:lnTo>
                <a:lnTo>
                  <a:pt x="226" y="329"/>
                </a:lnTo>
                <a:lnTo>
                  <a:pt x="224" y="327"/>
                </a:lnTo>
                <a:lnTo>
                  <a:pt x="221" y="325"/>
                </a:lnTo>
                <a:lnTo>
                  <a:pt x="220" y="322"/>
                </a:lnTo>
                <a:lnTo>
                  <a:pt x="220" y="320"/>
                </a:lnTo>
                <a:lnTo>
                  <a:pt x="220" y="316"/>
                </a:lnTo>
                <a:lnTo>
                  <a:pt x="222" y="312"/>
                </a:lnTo>
                <a:lnTo>
                  <a:pt x="225" y="309"/>
                </a:lnTo>
                <a:lnTo>
                  <a:pt x="229" y="306"/>
                </a:lnTo>
                <a:lnTo>
                  <a:pt x="233" y="303"/>
                </a:lnTo>
                <a:lnTo>
                  <a:pt x="236" y="301"/>
                </a:lnTo>
                <a:lnTo>
                  <a:pt x="238" y="298"/>
                </a:lnTo>
                <a:lnTo>
                  <a:pt x="239" y="296"/>
                </a:lnTo>
                <a:lnTo>
                  <a:pt x="239" y="276"/>
                </a:lnTo>
                <a:lnTo>
                  <a:pt x="239" y="268"/>
                </a:lnTo>
                <a:lnTo>
                  <a:pt x="239" y="259"/>
                </a:lnTo>
                <a:lnTo>
                  <a:pt x="239" y="240"/>
                </a:lnTo>
                <a:lnTo>
                  <a:pt x="242" y="246"/>
                </a:lnTo>
                <a:lnTo>
                  <a:pt x="246" y="253"/>
                </a:lnTo>
                <a:lnTo>
                  <a:pt x="253" y="259"/>
                </a:lnTo>
                <a:lnTo>
                  <a:pt x="259" y="265"/>
                </a:lnTo>
                <a:lnTo>
                  <a:pt x="268" y="255"/>
                </a:lnTo>
                <a:lnTo>
                  <a:pt x="277" y="249"/>
                </a:lnTo>
                <a:lnTo>
                  <a:pt x="284" y="244"/>
                </a:lnTo>
                <a:lnTo>
                  <a:pt x="292" y="241"/>
                </a:lnTo>
                <a:lnTo>
                  <a:pt x="300" y="238"/>
                </a:lnTo>
                <a:lnTo>
                  <a:pt x="307" y="235"/>
                </a:lnTo>
                <a:lnTo>
                  <a:pt x="316" y="230"/>
                </a:lnTo>
                <a:lnTo>
                  <a:pt x="325" y="222"/>
                </a:lnTo>
                <a:lnTo>
                  <a:pt x="316" y="217"/>
                </a:lnTo>
                <a:lnTo>
                  <a:pt x="310" y="212"/>
                </a:lnTo>
                <a:lnTo>
                  <a:pt x="304" y="208"/>
                </a:lnTo>
                <a:lnTo>
                  <a:pt x="301" y="203"/>
                </a:lnTo>
                <a:lnTo>
                  <a:pt x="293" y="194"/>
                </a:lnTo>
                <a:lnTo>
                  <a:pt x="285" y="185"/>
                </a:lnTo>
                <a:lnTo>
                  <a:pt x="300" y="190"/>
                </a:lnTo>
                <a:lnTo>
                  <a:pt x="312" y="196"/>
                </a:lnTo>
                <a:lnTo>
                  <a:pt x="318" y="199"/>
                </a:lnTo>
                <a:lnTo>
                  <a:pt x="325" y="201"/>
                </a:lnTo>
                <a:lnTo>
                  <a:pt x="332" y="203"/>
                </a:lnTo>
                <a:lnTo>
                  <a:pt x="338" y="203"/>
                </a:lnTo>
                <a:lnTo>
                  <a:pt x="343" y="202"/>
                </a:lnTo>
                <a:lnTo>
                  <a:pt x="345" y="200"/>
                </a:lnTo>
                <a:lnTo>
                  <a:pt x="347" y="197"/>
                </a:lnTo>
                <a:lnTo>
                  <a:pt x="347" y="193"/>
                </a:lnTo>
                <a:lnTo>
                  <a:pt x="346" y="185"/>
                </a:lnTo>
                <a:lnTo>
                  <a:pt x="345" y="179"/>
                </a:lnTo>
                <a:lnTo>
                  <a:pt x="322" y="142"/>
                </a:lnTo>
                <a:lnTo>
                  <a:pt x="303" y="111"/>
                </a:lnTo>
                <a:lnTo>
                  <a:pt x="295" y="96"/>
                </a:lnTo>
                <a:lnTo>
                  <a:pt x="290" y="80"/>
                </a:lnTo>
                <a:lnTo>
                  <a:pt x="288" y="72"/>
                </a:lnTo>
                <a:lnTo>
                  <a:pt x="287" y="63"/>
                </a:lnTo>
                <a:lnTo>
                  <a:pt x="285" y="53"/>
                </a:lnTo>
                <a:lnTo>
                  <a:pt x="285" y="43"/>
                </a:lnTo>
                <a:lnTo>
                  <a:pt x="287" y="34"/>
                </a:lnTo>
                <a:lnTo>
                  <a:pt x="288" y="26"/>
                </a:lnTo>
                <a:lnTo>
                  <a:pt x="291" y="19"/>
                </a:lnTo>
                <a:lnTo>
                  <a:pt x="295" y="13"/>
                </a:lnTo>
                <a:lnTo>
                  <a:pt x="301" y="7"/>
                </a:lnTo>
                <a:lnTo>
                  <a:pt x="307" y="4"/>
                </a:lnTo>
                <a:lnTo>
                  <a:pt x="316" y="1"/>
                </a:lnTo>
                <a:lnTo>
                  <a:pt x="325" y="0"/>
                </a:lnTo>
                <a:lnTo>
                  <a:pt x="328" y="7"/>
                </a:lnTo>
                <a:lnTo>
                  <a:pt x="332" y="13"/>
                </a:lnTo>
                <a:lnTo>
                  <a:pt x="336" y="18"/>
                </a:lnTo>
                <a:lnTo>
                  <a:pt x="340" y="23"/>
                </a:lnTo>
                <a:lnTo>
                  <a:pt x="351" y="31"/>
                </a:lnTo>
                <a:lnTo>
                  <a:pt x="363" y="38"/>
                </a:lnTo>
                <a:lnTo>
                  <a:pt x="377" y="45"/>
                </a:lnTo>
                <a:lnTo>
                  <a:pt x="389" y="51"/>
                </a:lnTo>
                <a:lnTo>
                  <a:pt x="401" y="60"/>
                </a:lnTo>
                <a:lnTo>
                  <a:pt x="412" y="68"/>
                </a:lnTo>
                <a:lnTo>
                  <a:pt x="415" y="72"/>
                </a:lnTo>
                <a:lnTo>
                  <a:pt x="418" y="76"/>
                </a:lnTo>
                <a:lnTo>
                  <a:pt x="421" y="81"/>
                </a:lnTo>
                <a:lnTo>
                  <a:pt x="423" y="86"/>
                </a:lnTo>
                <a:lnTo>
                  <a:pt x="426" y="98"/>
                </a:lnTo>
                <a:lnTo>
                  <a:pt x="428" y="111"/>
                </a:lnTo>
                <a:lnTo>
                  <a:pt x="430" y="122"/>
                </a:lnTo>
                <a:lnTo>
                  <a:pt x="434" y="133"/>
                </a:lnTo>
                <a:lnTo>
                  <a:pt x="436" y="137"/>
                </a:lnTo>
                <a:lnTo>
                  <a:pt x="438" y="142"/>
                </a:lnTo>
                <a:lnTo>
                  <a:pt x="441" y="145"/>
                </a:lnTo>
                <a:lnTo>
                  <a:pt x="445" y="148"/>
                </a:lnTo>
                <a:lnTo>
                  <a:pt x="445" y="173"/>
                </a:lnTo>
                <a:lnTo>
                  <a:pt x="440" y="173"/>
                </a:lnTo>
                <a:lnTo>
                  <a:pt x="436" y="175"/>
                </a:lnTo>
                <a:lnTo>
                  <a:pt x="432" y="177"/>
                </a:lnTo>
                <a:lnTo>
                  <a:pt x="428" y="179"/>
                </a:lnTo>
                <a:lnTo>
                  <a:pt x="425" y="181"/>
                </a:lnTo>
                <a:lnTo>
                  <a:pt x="421" y="183"/>
                </a:lnTo>
                <a:lnTo>
                  <a:pt x="416" y="184"/>
                </a:lnTo>
                <a:lnTo>
                  <a:pt x="412" y="185"/>
                </a:lnTo>
                <a:lnTo>
                  <a:pt x="415" y="189"/>
                </a:lnTo>
                <a:lnTo>
                  <a:pt x="418" y="193"/>
                </a:lnTo>
                <a:lnTo>
                  <a:pt x="422" y="196"/>
                </a:lnTo>
                <a:lnTo>
                  <a:pt x="426" y="199"/>
                </a:lnTo>
                <a:lnTo>
                  <a:pt x="430" y="201"/>
                </a:lnTo>
                <a:lnTo>
                  <a:pt x="435" y="202"/>
                </a:lnTo>
                <a:lnTo>
                  <a:pt x="440" y="203"/>
                </a:lnTo>
                <a:lnTo>
                  <a:pt x="445" y="203"/>
                </a:lnTo>
                <a:lnTo>
                  <a:pt x="446" y="211"/>
                </a:lnTo>
                <a:lnTo>
                  <a:pt x="447" y="225"/>
                </a:lnTo>
                <a:lnTo>
                  <a:pt x="450" y="243"/>
                </a:lnTo>
                <a:lnTo>
                  <a:pt x="455" y="262"/>
                </a:lnTo>
                <a:lnTo>
                  <a:pt x="460" y="282"/>
                </a:lnTo>
                <a:lnTo>
                  <a:pt x="468" y="299"/>
                </a:lnTo>
                <a:lnTo>
                  <a:pt x="471" y="306"/>
                </a:lnTo>
                <a:lnTo>
                  <a:pt x="475" y="312"/>
                </a:lnTo>
                <a:lnTo>
                  <a:pt x="480" y="317"/>
                </a:lnTo>
                <a:lnTo>
                  <a:pt x="485" y="320"/>
                </a:lnTo>
                <a:lnTo>
                  <a:pt x="485" y="382"/>
                </a:lnTo>
                <a:lnTo>
                  <a:pt x="480" y="381"/>
                </a:lnTo>
                <a:lnTo>
                  <a:pt x="475" y="378"/>
                </a:lnTo>
                <a:lnTo>
                  <a:pt x="471" y="374"/>
                </a:lnTo>
                <a:lnTo>
                  <a:pt x="467" y="369"/>
                </a:lnTo>
                <a:lnTo>
                  <a:pt x="463" y="364"/>
                </a:lnTo>
                <a:lnTo>
                  <a:pt x="460" y="359"/>
                </a:lnTo>
                <a:lnTo>
                  <a:pt x="459" y="354"/>
                </a:lnTo>
                <a:lnTo>
                  <a:pt x="458" y="351"/>
                </a:lnTo>
                <a:lnTo>
                  <a:pt x="453" y="356"/>
                </a:lnTo>
                <a:lnTo>
                  <a:pt x="448" y="360"/>
                </a:lnTo>
                <a:lnTo>
                  <a:pt x="444" y="361"/>
                </a:lnTo>
                <a:lnTo>
                  <a:pt x="440" y="362"/>
                </a:lnTo>
                <a:lnTo>
                  <a:pt x="436" y="363"/>
                </a:lnTo>
                <a:lnTo>
                  <a:pt x="432" y="363"/>
                </a:lnTo>
                <a:lnTo>
                  <a:pt x="432" y="380"/>
                </a:lnTo>
                <a:lnTo>
                  <a:pt x="430" y="391"/>
                </a:lnTo>
                <a:lnTo>
                  <a:pt x="429" y="399"/>
                </a:lnTo>
                <a:lnTo>
                  <a:pt x="425" y="413"/>
                </a:lnTo>
                <a:lnTo>
                  <a:pt x="419" y="403"/>
                </a:lnTo>
                <a:lnTo>
                  <a:pt x="412" y="393"/>
                </a:lnTo>
                <a:lnTo>
                  <a:pt x="408" y="389"/>
                </a:lnTo>
                <a:lnTo>
                  <a:pt x="404" y="385"/>
                </a:lnTo>
                <a:lnTo>
                  <a:pt x="401" y="382"/>
                </a:lnTo>
                <a:lnTo>
                  <a:pt x="399" y="382"/>
                </a:lnTo>
                <a:lnTo>
                  <a:pt x="389" y="382"/>
                </a:lnTo>
                <a:lnTo>
                  <a:pt x="379" y="382"/>
                </a:lnTo>
                <a:lnTo>
                  <a:pt x="378" y="389"/>
                </a:lnTo>
                <a:lnTo>
                  <a:pt x="376" y="398"/>
                </a:lnTo>
                <a:lnTo>
                  <a:pt x="376" y="402"/>
                </a:lnTo>
                <a:lnTo>
                  <a:pt x="376" y="406"/>
                </a:lnTo>
                <a:lnTo>
                  <a:pt x="377" y="410"/>
                </a:lnTo>
                <a:lnTo>
                  <a:pt x="379" y="413"/>
                </a:lnTo>
                <a:lnTo>
                  <a:pt x="345" y="413"/>
                </a:lnTo>
                <a:lnTo>
                  <a:pt x="340" y="410"/>
                </a:lnTo>
                <a:lnTo>
                  <a:pt x="337" y="407"/>
                </a:lnTo>
                <a:lnTo>
                  <a:pt x="335" y="404"/>
                </a:lnTo>
                <a:lnTo>
                  <a:pt x="334" y="400"/>
                </a:lnTo>
                <a:lnTo>
                  <a:pt x="333" y="392"/>
                </a:lnTo>
                <a:lnTo>
                  <a:pt x="332" y="382"/>
                </a:lnTo>
                <a:lnTo>
                  <a:pt x="312" y="382"/>
                </a:lnTo>
                <a:lnTo>
                  <a:pt x="312" y="395"/>
                </a:lnTo>
                <a:lnTo>
                  <a:pt x="310" y="405"/>
                </a:lnTo>
                <a:lnTo>
                  <a:pt x="307" y="413"/>
                </a:lnTo>
                <a:lnTo>
                  <a:pt x="305" y="420"/>
                </a:lnTo>
                <a:lnTo>
                  <a:pt x="303" y="426"/>
                </a:lnTo>
                <a:lnTo>
                  <a:pt x="301" y="431"/>
                </a:lnTo>
                <a:lnTo>
                  <a:pt x="300" y="437"/>
                </a:lnTo>
                <a:lnTo>
                  <a:pt x="299" y="443"/>
                </a:lnTo>
                <a:lnTo>
                  <a:pt x="299" y="450"/>
                </a:lnTo>
                <a:lnTo>
                  <a:pt x="301" y="456"/>
                </a:lnTo>
                <a:lnTo>
                  <a:pt x="302" y="460"/>
                </a:lnTo>
                <a:lnTo>
                  <a:pt x="304" y="463"/>
                </a:lnTo>
                <a:lnTo>
                  <a:pt x="307" y="466"/>
                </a:lnTo>
                <a:lnTo>
                  <a:pt x="312" y="468"/>
                </a:lnTo>
                <a:lnTo>
                  <a:pt x="298" y="468"/>
                </a:lnTo>
                <a:lnTo>
                  <a:pt x="284" y="468"/>
                </a:lnTo>
                <a:lnTo>
                  <a:pt x="272" y="468"/>
                </a:lnTo>
                <a:lnTo>
                  <a:pt x="266" y="468"/>
                </a:lnTo>
                <a:lnTo>
                  <a:pt x="264" y="468"/>
                </a:lnTo>
                <a:lnTo>
                  <a:pt x="260" y="467"/>
                </a:lnTo>
                <a:lnTo>
                  <a:pt x="258" y="465"/>
                </a:lnTo>
                <a:lnTo>
                  <a:pt x="256" y="462"/>
                </a:lnTo>
                <a:lnTo>
                  <a:pt x="251" y="456"/>
                </a:lnTo>
                <a:lnTo>
                  <a:pt x="247" y="449"/>
                </a:lnTo>
                <a:lnTo>
                  <a:pt x="244" y="440"/>
                </a:lnTo>
                <a:lnTo>
                  <a:pt x="242" y="432"/>
                </a:lnTo>
                <a:lnTo>
                  <a:pt x="239" y="424"/>
                </a:lnTo>
                <a:lnTo>
                  <a:pt x="239" y="419"/>
                </a:lnTo>
                <a:lnTo>
                  <a:pt x="229" y="418"/>
                </a:lnTo>
                <a:lnTo>
                  <a:pt x="222" y="417"/>
                </a:lnTo>
                <a:lnTo>
                  <a:pt x="215" y="414"/>
                </a:lnTo>
                <a:lnTo>
                  <a:pt x="209" y="411"/>
                </a:lnTo>
                <a:lnTo>
                  <a:pt x="204" y="406"/>
                </a:lnTo>
                <a:lnTo>
                  <a:pt x="202" y="401"/>
                </a:lnTo>
                <a:lnTo>
                  <a:pt x="200" y="395"/>
                </a:lnTo>
                <a:lnTo>
                  <a:pt x="199" y="389"/>
                </a:lnTo>
                <a:lnTo>
                  <a:pt x="190" y="394"/>
                </a:lnTo>
                <a:lnTo>
                  <a:pt x="179" y="399"/>
                </a:lnTo>
                <a:lnTo>
                  <a:pt x="166" y="405"/>
                </a:lnTo>
                <a:lnTo>
                  <a:pt x="150" y="411"/>
                </a:lnTo>
                <a:lnTo>
                  <a:pt x="136" y="417"/>
                </a:lnTo>
                <a:lnTo>
                  <a:pt x="121" y="421"/>
                </a:lnTo>
                <a:lnTo>
                  <a:pt x="107" y="424"/>
                </a:lnTo>
                <a:lnTo>
                  <a:pt x="93" y="425"/>
                </a:lnTo>
                <a:lnTo>
                  <a:pt x="90" y="435"/>
                </a:lnTo>
                <a:lnTo>
                  <a:pt x="86" y="443"/>
                </a:lnTo>
                <a:lnTo>
                  <a:pt x="80" y="451"/>
                </a:lnTo>
                <a:lnTo>
                  <a:pt x="72" y="455"/>
                </a:lnTo>
                <a:lnTo>
                  <a:pt x="65" y="459"/>
                </a:lnTo>
                <a:lnTo>
                  <a:pt x="56" y="461"/>
                </a:lnTo>
                <a:lnTo>
                  <a:pt x="45" y="462"/>
                </a:lnTo>
                <a:lnTo>
                  <a:pt x="33" y="462"/>
                </a:lnTo>
                <a:lnTo>
                  <a:pt x="27" y="461"/>
                </a:lnTo>
                <a:lnTo>
                  <a:pt x="22" y="457"/>
                </a:lnTo>
                <a:lnTo>
                  <a:pt x="16" y="452"/>
                </a:lnTo>
                <a:lnTo>
                  <a:pt x="11" y="446"/>
                </a:lnTo>
                <a:lnTo>
                  <a:pt x="7" y="438"/>
                </a:lnTo>
                <a:lnTo>
                  <a:pt x="3" y="431"/>
                </a:lnTo>
                <a:lnTo>
                  <a:pt x="1" y="424"/>
                </a:lnTo>
                <a:lnTo>
                  <a:pt x="0" y="419"/>
                </a:lnTo>
                <a:lnTo>
                  <a:pt x="0" y="417"/>
                </a:lnTo>
                <a:lnTo>
                  <a:pt x="1" y="415"/>
                </a:lnTo>
                <a:lnTo>
                  <a:pt x="2" y="414"/>
                </a:lnTo>
                <a:lnTo>
                  <a:pt x="3" y="414"/>
                </a:lnTo>
                <a:lnTo>
                  <a:pt x="7" y="413"/>
                </a:lnTo>
                <a:lnTo>
                  <a:pt x="11" y="414"/>
                </a:lnTo>
                <a:lnTo>
                  <a:pt x="16" y="414"/>
                </a:lnTo>
                <a:lnTo>
                  <a:pt x="22" y="415"/>
                </a:lnTo>
                <a:lnTo>
                  <a:pt x="27" y="414"/>
                </a:lnTo>
                <a:lnTo>
                  <a:pt x="33" y="413"/>
                </a:lnTo>
                <a:lnTo>
                  <a:pt x="38" y="411"/>
                </a:lnTo>
                <a:lnTo>
                  <a:pt x="44" y="409"/>
                </a:lnTo>
                <a:lnTo>
                  <a:pt x="48" y="405"/>
                </a:lnTo>
                <a:lnTo>
                  <a:pt x="53" y="401"/>
                </a:lnTo>
                <a:lnTo>
                  <a:pt x="60" y="391"/>
                </a:lnTo>
                <a:lnTo>
                  <a:pt x="66" y="379"/>
                </a:lnTo>
                <a:lnTo>
                  <a:pt x="72" y="369"/>
                </a:lnTo>
                <a:lnTo>
                  <a:pt x="80" y="360"/>
                </a:lnTo>
                <a:lnTo>
                  <a:pt x="83" y="356"/>
                </a:lnTo>
                <a:lnTo>
                  <a:pt x="89" y="354"/>
                </a:lnTo>
                <a:lnTo>
                  <a:pt x="93" y="352"/>
                </a:lnTo>
                <a:lnTo>
                  <a:pt x="100" y="351"/>
                </a:lnTo>
              </a:path>
            </a:pathLst>
          </a:custGeom>
          <a:solidFill>
            <a:srgbClr val="007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534" name="Freeform 486"/>
          <p:cNvSpPr>
            <a:spLocks/>
          </p:cNvSpPr>
          <p:nvPr>
            <p:custDataLst>
              <p:tags r:id="rId324"/>
            </p:custDataLst>
          </p:nvPr>
        </p:nvSpPr>
        <p:spPr bwMode="auto">
          <a:xfrm>
            <a:off x="4687888" y="923933"/>
            <a:ext cx="107950" cy="45244"/>
          </a:xfrm>
          <a:custGeom>
            <a:avLst/>
            <a:gdLst/>
            <a:ahLst/>
            <a:cxnLst>
              <a:cxn ang="0">
                <a:pos x="27" y="36"/>
              </a:cxn>
              <a:cxn ang="0">
                <a:pos x="36" y="36"/>
              </a:cxn>
              <a:cxn ang="0">
                <a:pos x="45" y="35"/>
              </a:cxn>
              <a:cxn ang="0">
                <a:pos x="53" y="33"/>
              </a:cxn>
              <a:cxn ang="0">
                <a:pos x="59" y="31"/>
              </a:cxn>
              <a:cxn ang="0">
                <a:pos x="66" y="30"/>
              </a:cxn>
              <a:cxn ang="0">
                <a:pos x="72" y="29"/>
              </a:cxn>
              <a:cxn ang="0">
                <a:pos x="80" y="29"/>
              </a:cxn>
              <a:cxn ang="0">
                <a:pos x="87" y="30"/>
              </a:cxn>
              <a:cxn ang="0">
                <a:pos x="87" y="42"/>
              </a:cxn>
              <a:cxn ang="0">
                <a:pos x="154" y="42"/>
              </a:cxn>
              <a:cxn ang="0">
                <a:pos x="154" y="39"/>
              </a:cxn>
              <a:cxn ang="0">
                <a:pos x="156" y="36"/>
              </a:cxn>
              <a:cxn ang="0">
                <a:pos x="159" y="33"/>
              </a:cxn>
              <a:cxn ang="0">
                <a:pos x="163" y="31"/>
              </a:cxn>
              <a:cxn ang="0">
                <a:pos x="175" y="26"/>
              </a:cxn>
              <a:cxn ang="0">
                <a:pos x="190" y="23"/>
              </a:cxn>
              <a:cxn ang="0">
                <a:pos x="221" y="17"/>
              </a:cxn>
              <a:cxn ang="0">
                <a:pos x="246" y="12"/>
              </a:cxn>
              <a:cxn ang="0">
                <a:pos x="212" y="13"/>
              </a:cxn>
              <a:cxn ang="0">
                <a:pos x="186" y="14"/>
              </a:cxn>
              <a:cxn ang="0">
                <a:pos x="178" y="15"/>
              </a:cxn>
              <a:cxn ang="0">
                <a:pos x="171" y="15"/>
              </a:cxn>
              <a:cxn ang="0">
                <a:pos x="168" y="14"/>
              </a:cxn>
              <a:cxn ang="0">
                <a:pos x="167" y="12"/>
              </a:cxn>
              <a:cxn ang="0">
                <a:pos x="159" y="16"/>
              </a:cxn>
              <a:cxn ang="0">
                <a:pos x="152" y="17"/>
              </a:cxn>
              <a:cxn ang="0">
                <a:pos x="147" y="17"/>
              </a:cxn>
              <a:cxn ang="0">
                <a:pos x="141" y="15"/>
              </a:cxn>
              <a:cxn ang="0">
                <a:pos x="137" y="12"/>
              </a:cxn>
              <a:cxn ang="0">
                <a:pos x="133" y="9"/>
              </a:cxn>
              <a:cxn ang="0">
                <a:pos x="129" y="5"/>
              </a:cxn>
              <a:cxn ang="0">
                <a:pos x="126" y="0"/>
              </a:cxn>
              <a:cxn ang="0">
                <a:pos x="121" y="2"/>
              </a:cxn>
              <a:cxn ang="0">
                <a:pos x="113" y="4"/>
              </a:cxn>
              <a:cxn ang="0">
                <a:pos x="103" y="5"/>
              </a:cxn>
              <a:cxn ang="0">
                <a:pos x="93" y="5"/>
              </a:cxn>
              <a:cxn ang="0">
                <a:pos x="74" y="6"/>
              </a:cxn>
              <a:cxn ang="0">
                <a:pos x="60" y="6"/>
              </a:cxn>
              <a:cxn ang="0">
                <a:pos x="58" y="9"/>
              </a:cxn>
              <a:cxn ang="0">
                <a:pos x="56" y="12"/>
              </a:cxn>
              <a:cxn ang="0">
                <a:pos x="54" y="15"/>
              </a:cxn>
              <a:cxn ang="0">
                <a:pos x="50" y="17"/>
              </a:cxn>
              <a:cxn ang="0">
                <a:pos x="42" y="20"/>
              </a:cxn>
              <a:cxn ang="0">
                <a:pos x="33" y="22"/>
              </a:cxn>
              <a:cxn ang="0">
                <a:pos x="14" y="24"/>
              </a:cxn>
              <a:cxn ang="0">
                <a:pos x="0" y="24"/>
              </a:cxn>
              <a:cxn ang="0">
                <a:pos x="1" y="27"/>
              </a:cxn>
              <a:cxn ang="0">
                <a:pos x="3" y="29"/>
              </a:cxn>
              <a:cxn ang="0">
                <a:pos x="5" y="31"/>
              </a:cxn>
              <a:cxn ang="0">
                <a:pos x="9" y="33"/>
              </a:cxn>
              <a:cxn ang="0">
                <a:pos x="17" y="35"/>
              </a:cxn>
              <a:cxn ang="0">
                <a:pos x="27" y="36"/>
              </a:cxn>
            </a:cxnLst>
            <a:rect l="0" t="0" r="r" b="b"/>
            <a:pathLst>
              <a:path w="246" h="42">
                <a:moveTo>
                  <a:pt x="27" y="36"/>
                </a:moveTo>
                <a:lnTo>
                  <a:pt x="36" y="36"/>
                </a:lnTo>
                <a:lnTo>
                  <a:pt x="45" y="35"/>
                </a:lnTo>
                <a:lnTo>
                  <a:pt x="53" y="33"/>
                </a:lnTo>
                <a:lnTo>
                  <a:pt x="59" y="31"/>
                </a:lnTo>
                <a:lnTo>
                  <a:pt x="66" y="30"/>
                </a:lnTo>
                <a:lnTo>
                  <a:pt x="72" y="29"/>
                </a:lnTo>
                <a:lnTo>
                  <a:pt x="80" y="29"/>
                </a:lnTo>
                <a:lnTo>
                  <a:pt x="87" y="30"/>
                </a:lnTo>
                <a:lnTo>
                  <a:pt x="87" y="42"/>
                </a:lnTo>
                <a:lnTo>
                  <a:pt x="154" y="42"/>
                </a:lnTo>
                <a:lnTo>
                  <a:pt x="154" y="39"/>
                </a:lnTo>
                <a:lnTo>
                  <a:pt x="156" y="36"/>
                </a:lnTo>
                <a:lnTo>
                  <a:pt x="159" y="33"/>
                </a:lnTo>
                <a:lnTo>
                  <a:pt x="163" y="31"/>
                </a:lnTo>
                <a:lnTo>
                  <a:pt x="175" y="26"/>
                </a:lnTo>
                <a:lnTo>
                  <a:pt x="190" y="23"/>
                </a:lnTo>
                <a:lnTo>
                  <a:pt x="221" y="17"/>
                </a:lnTo>
                <a:lnTo>
                  <a:pt x="246" y="12"/>
                </a:lnTo>
                <a:lnTo>
                  <a:pt x="212" y="13"/>
                </a:lnTo>
                <a:lnTo>
                  <a:pt x="186" y="14"/>
                </a:lnTo>
                <a:lnTo>
                  <a:pt x="178" y="15"/>
                </a:lnTo>
                <a:lnTo>
                  <a:pt x="171" y="15"/>
                </a:lnTo>
                <a:lnTo>
                  <a:pt x="168" y="14"/>
                </a:lnTo>
                <a:lnTo>
                  <a:pt x="167" y="12"/>
                </a:lnTo>
                <a:lnTo>
                  <a:pt x="159" y="16"/>
                </a:lnTo>
                <a:lnTo>
                  <a:pt x="152" y="17"/>
                </a:lnTo>
                <a:lnTo>
                  <a:pt x="147" y="17"/>
                </a:lnTo>
                <a:lnTo>
                  <a:pt x="141" y="15"/>
                </a:lnTo>
                <a:lnTo>
                  <a:pt x="137" y="12"/>
                </a:lnTo>
                <a:lnTo>
                  <a:pt x="133" y="9"/>
                </a:lnTo>
                <a:lnTo>
                  <a:pt x="129" y="5"/>
                </a:lnTo>
                <a:lnTo>
                  <a:pt x="126" y="0"/>
                </a:lnTo>
                <a:lnTo>
                  <a:pt x="121" y="2"/>
                </a:lnTo>
                <a:lnTo>
                  <a:pt x="113" y="4"/>
                </a:lnTo>
                <a:lnTo>
                  <a:pt x="103" y="5"/>
                </a:lnTo>
                <a:lnTo>
                  <a:pt x="93" y="5"/>
                </a:lnTo>
                <a:lnTo>
                  <a:pt x="74" y="6"/>
                </a:lnTo>
                <a:lnTo>
                  <a:pt x="60" y="6"/>
                </a:lnTo>
                <a:lnTo>
                  <a:pt x="58" y="9"/>
                </a:lnTo>
                <a:lnTo>
                  <a:pt x="56" y="12"/>
                </a:lnTo>
                <a:lnTo>
                  <a:pt x="54" y="15"/>
                </a:lnTo>
                <a:lnTo>
                  <a:pt x="50" y="17"/>
                </a:lnTo>
                <a:lnTo>
                  <a:pt x="42" y="20"/>
                </a:lnTo>
                <a:lnTo>
                  <a:pt x="33" y="22"/>
                </a:lnTo>
                <a:lnTo>
                  <a:pt x="14" y="24"/>
                </a:lnTo>
                <a:lnTo>
                  <a:pt x="0" y="24"/>
                </a:lnTo>
                <a:lnTo>
                  <a:pt x="1" y="27"/>
                </a:lnTo>
                <a:lnTo>
                  <a:pt x="3" y="29"/>
                </a:lnTo>
                <a:lnTo>
                  <a:pt x="5" y="31"/>
                </a:lnTo>
                <a:lnTo>
                  <a:pt x="9" y="33"/>
                </a:lnTo>
                <a:lnTo>
                  <a:pt x="17" y="35"/>
                </a:lnTo>
                <a:lnTo>
                  <a:pt x="27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535" name="Freeform 487"/>
          <p:cNvSpPr>
            <a:spLocks/>
          </p:cNvSpPr>
          <p:nvPr>
            <p:custDataLst>
              <p:tags r:id="rId325"/>
            </p:custDataLst>
          </p:nvPr>
        </p:nvSpPr>
        <p:spPr bwMode="auto">
          <a:xfrm>
            <a:off x="4830763" y="910833"/>
            <a:ext cx="63500" cy="42863"/>
          </a:xfrm>
          <a:custGeom>
            <a:avLst/>
            <a:gdLst/>
            <a:ahLst/>
            <a:cxnLst>
              <a:cxn ang="0">
                <a:pos x="103" y="0"/>
              </a:cxn>
              <a:cxn ang="0">
                <a:pos x="118" y="1"/>
              </a:cxn>
              <a:cxn ang="0">
                <a:pos x="134" y="3"/>
              </a:cxn>
              <a:cxn ang="0">
                <a:pos x="145" y="5"/>
              </a:cxn>
              <a:cxn ang="0">
                <a:pos x="149" y="6"/>
              </a:cxn>
              <a:cxn ang="0">
                <a:pos x="149" y="8"/>
              </a:cxn>
              <a:cxn ang="0">
                <a:pos x="147" y="10"/>
              </a:cxn>
              <a:cxn ang="0">
                <a:pos x="145" y="12"/>
              </a:cxn>
              <a:cxn ang="0">
                <a:pos x="141" y="13"/>
              </a:cxn>
              <a:cxn ang="0">
                <a:pos x="137" y="14"/>
              </a:cxn>
              <a:cxn ang="0">
                <a:pos x="132" y="14"/>
              </a:cxn>
              <a:cxn ang="0">
                <a:pos x="127" y="14"/>
              </a:cxn>
              <a:cxn ang="0">
                <a:pos x="123" y="12"/>
              </a:cxn>
              <a:cxn ang="0">
                <a:pos x="123" y="23"/>
              </a:cxn>
              <a:cxn ang="0">
                <a:pos x="123" y="33"/>
              </a:cxn>
              <a:cxn ang="0">
                <a:pos x="123" y="41"/>
              </a:cxn>
              <a:cxn ang="0">
                <a:pos x="123" y="49"/>
              </a:cxn>
              <a:cxn ang="0">
                <a:pos x="116" y="50"/>
              </a:cxn>
              <a:cxn ang="0">
                <a:pos x="109" y="51"/>
              </a:cxn>
              <a:cxn ang="0">
                <a:pos x="104" y="53"/>
              </a:cxn>
              <a:cxn ang="0">
                <a:pos x="100" y="55"/>
              </a:cxn>
              <a:cxn ang="0">
                <a:pos x="94" y="57"/>
              </a:cxn>
              <a:cxn ang="0">
                <a:pos x="89" y="59"/>
              </a:cxn>
              <a:cxn ang="0">
                <a:pos x="83" y="61"/>
              </a:cxn>
              <a:cxn ang="0">
                <a:pos x="76" y="61"/>
              </a:cxn>
              <a:cxn ang="0">
                <a:pos x="67" y="60"/>
              </a:cxn>
              <a:cxn ang="0">
                <a:pos x="53" y="57"/>
              </a:cxn>
              <a:cxn ang="0">
                <a:pos x="39" y="54"/>
              </a:cxn>
              <a:cxn ang="0">
                <a:pos x="25" y="49"/>
              </a:cxn>
              <a:cxn ang="0">
                <a:pos x="12" y="45"/>
              </a:cxn>
              <a:cxn ang="0">
                <a:pos x="3" y="41"/>
              </a:cxn>
              <a:cxn ang="0">
                <a:pos x="1" y="39"/>
              </a:cxn>
              <a:cxn ang="0">
                <a:pos x="0" y="38"/>
              </a:cxn>
              <a:cxn ang="0">
                <a:pos x="0" y="37"/>
              </a:cxn>
              <a:cxn ang="0">
                <a:pos x="3" y="37"/>
              </a:cxn>
              <a:cxn ang="0">
                <a:pos x="19" y="36"/>
              </a:cxn>
              <a:cxn ang="0">
                <a:pos x="35" y="35"/>
              </a:cxn>
              <a:cxn ang="0">
                <a:pos x="48" y="32"/>
              </a:cxn>
              <a:cxn ang="0">
                <a:pos x="60" y="27"/>
              </a:cxn>
              <a:cxn ang="0">
                <a:pos x="72" y="22"/>
              </a:cxn>
              <a:cxn ang="0">
                <a:pos x="82" y="16"/>
              </a:cxn>
              <a:cxn ang="0">
                <a:pos x="93" y="8"/>
              </a:cxn>
              <a:cxn ang="0">
                <a:pos x="103" y="0"/>
              </a:cxn>
            </a:cxnLst>
            <a:rect l="0" t="0" r="r" b="b"/>
            <a:pathLst>
              <a:path w="149" h="61">
                <a:moveTo>
                  <a:pt x="103" y="0"/>
                </a:moveTo>
                <a:lnTo>
                  <a:pt x="118" y="1"/>
                </a:lnTo>
                <a:lnTo>
                  <a:pt x="134" y="3"/>
                </a:lnTo>
                <a:lnTo>
                  <a:pt x="145" y="5"/>
                </a:lnTo>
                <a:lnTo>
                  <a:pt x="149" y="6"/>
                </a:lnTo>
                <a:lnTo>
                  <a:pt x="149" y="8"/>
                </a:lnTo>
                <a:lnTo>
                  <a:pt x="147" y="10"/>
                </a:lnTo>
                <a:lnTo>
                  <a:pt x="145" y="12"/>
                </a:lnTo>
                <a:lnTo>
                  <a:pt x="141" y="13"/>
                </a:lnTo>
                <a:lnTo>
                  <a:pt x="137" y="14"/>
                </a:lnTo>
                <a:lnTo>
                  <a:pt x="132" y="14"/>
                </a:lnTo>
                <a:lnTo>
                  <a:pt x="127" y="14"/>
                </a:lnTo>
                <a:lnTo>
                  <a:pt x="123" y="12"/>
                </a:lnTo>
                <a:lnTo>
                  <a:pt x="123" y="23"/>
                </a:lnTo>
                <a:lnTo>
                  <a:pt x="123" y="33"/>
                </a:lnTo>
                <a:lnTo>
                  <a:pt x="123" y="41"/>
                </a:lnTo>
                <a:lnTo>
                  <a:pt x="123" y="49"/>
                </a:lnTo>
                <a:lnTo>
                  <a:pt x="116" y="50"/>
                </a:lnTo>
                <a:lnTo>
                  <a:pt x="109" y="51"/>
                </a:lnTo>
                <a:lnTo>
                  <a:pt x="104" y="53"/>
                </a:lnTo>
                <a:lnTo>
                  <a:pt x="100" y="55"/>
                </a:lnTo>
                <a:lnTo>
                  <a:pt x="94" y="57"/>
                </a:lnTo>
                <a:lnTo>
                  <a:pt x="89" y="59"/>
                </a:lnTo>
                <a:lnTo>
                  <a:pt x="83" y="61"/>
                </a:lnTo>
                <a:lnTo>
                  <a:pt x="76" y="61"/>
                </a:lnTo>
                <a:lnTo>
                  <a:pt x="67" y="60"/>
                </a:lnTo>
                <a:lnTo>
                  <a:pt x="53" y="57"/>
                </a:lnTo>
                <a:lnTo>
                  <a:pt x="39" y="54"/>
                </a:lnTo>
                <a:lnTo>
                  <a:pt x="25" y="49"/>
                </a:lnTo>
                <a:lnTo>
                  <a:pt x="12" y="45"/>
                </a:lnTo>
                <a:lnTo>
                  <a:pt x="3" y="41"/>
                </a:lnTo>
                <a:lnTo>
                  <a:pt x="1" y="39"/>
                </a:lnTo>
                <a:lnTo>
                  <a:pt x="0" y="38"/>
                </a:lnTo>
                <a:lnTo>
                  <a:pt x="0" y="37"/>
                </a:lnTo>
                <a:lnTo>
                  <a:pt x="3" y="37"/>
                </a:lnTo>
                <a:lnTo>
                  <a:pt x="19" y="36"/>
                </a:lnTo>
                <a:lnTo>
                  <a:pt x="35" y="35"/>
                </a:lnTo>
                <a:lnTo>
                  <a:pt x="48" y="32"/>
                </a:lnTo>
                <a:lnTo>
                  <a:pt x="60" y="27"/>
                </a:lnTo>
                <a:lnTo>
                  <a:pt x="72" y="22"/>
                </a:lnTo>
                <a:lnTo>
                  <a:pt x="82" y="16"/>
                </a:lnTo>
                <a:lnTo>
                  <a:pt x="93" y="8"/>
                </a:lnTo>
                <a:lnTo>
                  <a:pt x="10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536" name="Freeform 488"/>
          <p:cNvSpPr>
            <a:spLocks/>
          </p:cNvSpPr>
          <p:nvPr>
            <p:custDataLst>
              <p:tags r:id="rId326"/>
            </p:custDataLst>
          </p:nvPr>
        </p:nvSpPr>
        <p:spPr bwMode="auto">
          <a:xfrm>
            <a:off x="4867282" y="916785"/>
            <a:ext cx="130175" cy="42863"/>
          </a:xfrm>
          <a:custGeom>
            <a:avLst/>
            <a:gdLst/>
            <a:ahLst/>
            <a:cxnLst>
              <a:cxn ang="0">
                <a:pos x="133" y="72"/>
              </a:cxn>
              <a:cxn ang="0">
                <a:pos x="154" y="65"/>
              </a:cxn>
              <a:cxn ang="0">
                <a:pos x="178" y="54"/>
              </a:cxn>
              <a:cxn ang="0">
                <a:pos x="199" y="42"/>
              </a:cxn>
              <a:cxn ang="0">
                <a:pos x="207" y="40"/>
              </a:cxn>
              <a:cxn ang="0">
                <a:pos x="211" y="46"/>
              </a:cxn>
              <a:cxn ang="0">
                <a:pos x="220" y="51"/>
              </a:cxn>
              <a:cxn ang="0">
                <a:pos x="243" y="55"/>
              </a:cxn>
              <a:cxn ang="0">
                <a:pos x="269" y="55"/>
              </a:cxn>
              <a:cxn ang="0">
                <a:pos x="286" y="55"/>
              </a:cxn>
              <a:cxn ang="0">
                <a:pos x="293" y="46"/>
              </a:cxn>
              <a:cxn ang="0">
                <a:pos x="298" y="31"/>
              </a:cxn>
              <a:cxn ang="0">
                <a:pos x="279" y="25"/>
              </a:cxn>
              <a:cxn ang="0">
                <a:pos x="244" y="25"/>
              </a:cxn>
              <a:cxn ang="0">
                <a:pos x="225" y="25"/>
              </a:cxn>
              <a:cxn ang="0">
                <a:pos x="214" y="27"/>
              </a:cxn>
              <a:cxn ang="0">
                <a:pos x="204" y="33"/>
              </a:cxn>
              <a:cxn ang="0">
                <a:pos x="172" y="37"/>
              </a:cxn>
              <a:cxn ang="0">
                <a:pos x="176" y="28"/>
              </a:cxn>
              <a:cxn ang="0">
                <a:pos x="180" y="21"/>
              </a:cxn>
              <a:cxn ang="0">
                <a:pos x="194" y="13"/>
              </a:cxn>
              <a:cxn ang="0">
                <a:pos x="210" y="9"/>
              </a:cxn>
              <a:cxn ang="0">
                <a:pos x="225" y="0"/>
              </a:cxn>
              <a:cxn ang="0">
                <a:pos x="185" y="3"/>
              </a:cxn>
              <a:cxn ang="0">
                <a:pos x="157" y="11"/>
              </a:cxn>
              <a:cxn ang="0">
                <a:pos x="134" y="25"/>
              </a:cxn>
              <a:cxn ang="0">
                <a:pos x="114" y="40"/>
              </a:cxn>
              <a:cxn ang="0">
                <a:pos x="100" y="53"/>
              </a:cxn>
              <a:cxn ang="0">
                <a:pos x="87" y="59"/>
              </a:cxn>
              <a:cxn ang="0">
                <a:pos x="64" y="63"/>
              </a:cxn>
              <a:cxn ang="0">
                <a:pos x="32" y="64"/>
              </a:cxn>
              <a:cxn ang="0">
                <a:pos x="12" y="67"/>
              </a:cxn>
              <a:cxn ang="0">
                <a:pos x="2" y="70"/>
              </a:cxn>
              <a:cxn ang="0">
                <a:pos x="39" y="74"/>
              </a:cxn>
              <a:cxn ang="0">
                <a:pos x="102" y="74"/>
              </a:cxn>
            </a:cxnLst>
            <a:rect l="0" t="0" r="r" b="b"/>
            <a:pathLst>
              <a:path w="299" h="74">
                <a:moveTo>
                  <a:pt x="126" y="74"/>
                </a:moveTo>
                <a:lnTo>
                  <a:pt x="133" y="72"/>
                </a:lnTo>
                <a:lnTo>
                  <a:pt x="142" y="69"/>
                </a:lnTo>
                <a:lnTo>
                  <a:pt x="154" y="65"/>
                </a:lnTo>
                <a:lnTo>
                  <a:pt x="166" y="60"/>
                </a:lnTo>
                <a:lnTo>
                  <a:pt x="178" y="54"/>
                </a:lnTo>
                <a:lnTo>
                  <a:pt x="189" y="48"/>
                </a:lnTo>
                <a:lnTo>
                  <a:pt x="199" y="42"/>
                </a:lnTo>
                <a:lnTo>
                  <a:pt x="205" y="37"/>
                </a:lnTo>
                <a:lnTo>
                  <a:pt x="207" y="40"/>
                </a:lnTo>
                <a:lnTo>
                  <a:pt x="209" y="43"/>
                </a:lnTo>
                <a:lnTo>
                  <a:pt x="211" y="46"/>
                </a:lnTo>
                <a:lnTo>
                  <a:pt x="214" y="48"/>
                </a:lnTo>
                <a:lnTo>
                  <a:pt x="220" y="51"/>
                </a:lnTo>
                <a:lnTo>
                  <a:pt x="227" y="53"/>
                </a:lnTo>
                <a:lnTo>
                  <a:pt x="243" y="55"/>
                </a:lnTo>
                <a:lnTo>
                  <a:pt x="259" y="55"/>
                </a:lnTo>
                <a:lnTo>
                  <a:pt x="269" y="55"/>
                </a:lnTo>
                <a:lnTo>
                  <a:pt x="278" y="55"/>
                </a:lnTo>
                <a:lnTo>
                  <a:pt x="286" y="55"/>
                </a:lnTo>
                <a:lnTo>
                  <a:pt x="292" y="55"/>
                </a:lnTo>
                <a:lnTo>
                  <a:pt x="293" y="46"/>
                </a:lnTo>
                <a:lnTo>
                  <a:pt x="295" y="38"/>
                </a:lnTo>
                <a:lnTo>
                  <a:pt x="298" y="31"/>
                </a:lnTo>
                <a:lnTo>
                  <a:pt x="299" y="25"/>
                </a:lnTo>
                <a:lnTo>
                  <a:pt x="279" y="25"/>
                </a:lnTo>
                <a:lnTo>
                  <a:pt x="260" y="25"/>
                </a:lnTo>
                <a:lnTo>
                  <a:pt x="244" y="25"/>
                </a:lnTo>
                <a:lnTo>
                  <a:pt x="232" y="25"/>
                </a:lnTo>
                <a:lnTo>
                  <a:pt x="225" y="25"/>
                </a:lnTo>
                <a:lnTo>
                  <a:pt x="220" y="26"/>
                </a:lnTo>
                <a:lnTo>
                  <a:pt x="214" y="27"/>
                </a:lnTo>
                <a:lnTo>
                  <a:pt x="211" y="29"/>
                </a:lnTo>
                <a:lnTo>
                  <a:pt x="204" y="33"/>
                </a:lnTo>
                <a:lnTo>
                  <a:pt x="199" y="37"/>
                </a:lnTo>
                <a:lnTo>
                  <a:pt x="172" y="37"/>
                </a:lnTo>
                <a:lnTo>
                  <a:pt x="174" y="32"/>
                </a:lnTo>
                <a:lnTo>
                  <a:pt x="176" y="28"/>
                </a:lnTo>
                <a:lnTo>
                  <a:pt x="178" y="24"/>
                </a:lnTo>
                <a:lnTo>
                  <a:pt x="180" y="21"/>
                </a:lnTo>
                <a:lnTo>
                  <a:pt x="187" y="16"/>
                </a:lnTo>
                <a:lnTo>
                  <a:pt x="194" y="13"/>
                </a:lnTo>
                <a:lnTo>
                  <a:pt x="202" y="11"/>
                </a:lnTo>
                <a:lnTo>
                  <a:pt x="210" y="9"/>
                </a:lnTo>
                <a:lnTo>
                  <a:pt x="217" y="5"/>
                </a:lnTo>
                <a:lnTo>
                  <a:pt x="225" y="0"/>
                </a:lnTo>
                <a:lnTo>
                  <a:pt x="199" y="0"/>
                </a:lnTo>
                <a:lnTo>
                  <a:pt x="185" y="3"/>
                </a:lnTo>
                <a:lnTo>
                  <a:pt x="170" y="7"/>
                </a:lnTo>
                <a:lnTo>
                  <a:pt x="157" y="11"/>
                </a:lnTo>
                <a:lnTo>
                  <a:pt x="145" y="18"/>
                </a:lnTo>
                <a:lnTo>
                  <a:pt x="134" y="25"/>
                </a:lnTo>
                <a:lnTo>
                  <a:pt x="123" y="32"/>
                </a:lnTo>
                <a:lnTo>
                  <a:pt x="114" y="40"/>
                </a:lnTo>
                <a:lnTo>
                  <a:pt x="105" y="49"/>
                </a:lnTo>
                <a:lnTo>
                  <a:pt x="100" y="53"/>
                </a:lnTo>
                <a:lnTo>
                  <a:pt x="95" y="56"/>
                </a:lnTo>
                <a:lnTo>
                  <a:pt x="87" y="59"/>
                </a:lnTo>
                <a:lnTo>
                  <a:pt x="80" y="61"/>
                </a:lnTo>
                <a:lnTo>
                  <a:pt x="64" y="63"/>
                </a:lnTo>
                <a:lnTo>
                  <a:pt x="47" y="64"/>
                </a:lnTo>
                <a:lnTo>
                  <a:pt x="32" y="64"/>
                </a:lnTo>
                <a:lnTo>
                  <a:pt x="18" y="65"/>
                </a:lnTo>
                <a:lnTo>
                  <a:pt x="12" y="67"/>
                </a:lnTo>
                <a:lnTo>
                  <a:pt x="7" y="68"/>
                </a:lnTo>
                <a:lnTo>
                  <a:pt x="2" y="70"/>
                </a:lnTo>
                <a:lnTo>
                  <a:pt x="0" y="74"/>
                </a:lnTo>
                <a:lnTo>
                  <a:pt x="39" y="74"/>
                </a:lnTo>
                <a:lnTo>
                  <a:pt x="73" y="74"/>
                </a:lnTo>
                <a:lnTo>
                  <a:pt x="102" y="74"/>
                </a:lnTo>
                <a:lnTo>
                  <a:pt x="126" y="7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537" name="Freeform 489"/>
          <p:cNvSpPr>
            <a:spLocks/>
          </p:cNvSpPr>
          <p:nvPr>
            <p:custDataLst>
              <p:tags r:id="rId327"/>
            </p:custDataLst>
          </p:nvPr>
        </p:nvSpPr>
        <p:spPr bwMode="auto">
          <a:xfrm>
            <a:off x="5400682" y="1056090"/>
            <a:ext cx="41275" cy="42863"/>
          </a:xfrm>
          <a:custGeom>
            <a:avLst/>
            <a:gdLst/>
            <a:ahLst/>
            <a:cxnLst>
              <a:cxn ang="0">
                <a:pos x="93" y="0"/>
              </a:cxn>
              <a:cxn ang="0">
                <a:pos x="97" y="7"/>
              </a:cxn>
              <a:cxn ang="0">
                <a:pos x="100" y="18"/>
              </a:cxn>
              <a:cxn ang="0">
                <a:pos x="92" y="24"/>
              </a:cxn>
              <a:cxn ang="0">
                <a:pos x="86" y="29"/>
              </a:cxn>
              <a:cxn ang="0">
                <a:pos x="79" y="34"/>
              </a:cxn>
              <a:cxn ang="0">
                <a:pos x="72" y="37"/>
              </a:cxn>
              <a:cxn ang="0">
                <a:pos x="65" y="39"/>
              </a:cxn>
              <a:cxn ang="0">
                <a:pos x="57" y="41"/>
              </a:cxn>
              <a:cxn ang="0">
                <a:pos x="49" y="42"/>
              </a:cxn>
              <a:cxn ang="0">
                <a:pos x="40" y="42"/>
              </a:cxn>
              <a:cxn ang="0">
                <a:pos x="27" y="41"/>
              </a:cxn>
              <a:cxn ang="0">
                <a:pos x="12" y="39"/>
              </a:cxn>
              <a:cxn ang="0">
                <a:pos x="1" y="37"/>
              </a:cxn>
              <a:cxn ang="0">
                <a:pos x="0" y="36"/>
              </a:cxn>
              <a:cxn ang="0">
                <a:pos x="6" y="36"/>
              </a:cxn>
              <a:cxn ang="0">
                <a:pos x="12" y="35"/>
              </a:cxn>
              <a:cxn ang="0">
                <a:pos x="18" y="33"/>
              </a:cxn>
              <a:cxn ang="0">
                <a:pos x="23" y="30"/>
              </a:cxn>
              <a:cxn ang="0">
                <a:pos x="33" y="25"/>
              </a:cxn>
              <a:cxn ang="0">
                <a:pos x="44" y="18"/>
              </a:cxn>
              <a:cxn ang="0">
                <a:pos x="55" y="11"/>
              </a:cxn>
              <a:cxn ang="0">
                <a:pos x="66" y="5"/>
              </a:cxn>
              <a:cxn ang="0">
                <a:pos x="72" y="3"/>
              </a:cxn>
              <a:cxn ang="0">
                <a:pos x="79" y="1"/>
              </a:cxn>
              <a:cxn ang="0">
                <a:pos x="86" y="0"/>
              </a:cxn>
              <a:cxn ang="0">
                <a:pos x="93" y="0"/>
              </a:cxn>
            </a:cxnLst>
            <a:rect l="0" t="0" r="r" b="b"/>
            <a:pathLst>
              <a:path w="100" h="42">
                <a:moveTo>
                  <a:pt x="93" y="0"/>
                </a:moveTo>
                <a:lnTo>
                  <a:pt x="97" y="7"/>
                </a:lnTo>
                <a:lnTo>
                  <a:pt x="100" y="18"/>
                </a:lnTo>
                <a:lnTo>
                  <a:pt x="92" y="24"/>
                </a:lnTo>
                <a:lnTo>
                  <a:pt x="86" y="29"/>
                </a:lnTo>
                <a:lnTo>
                  <a:pt x="79" y="34"/>
                </a:lnTo>
                <a:lnTo>
                  <a:pt x="72" y="37"/>
                </a:lnTo>
                <a:lnTo>
                  <a:pt x="65" y="39"/>
                </a:lnTo>
                <a:lnTo>
                  <a:pt x="57" y="41"/>
                </a:lnTo>
                <a:lnTo>
                  <a:pt x="49" y="42"/>
                </a:lnTo>
                <a:lnTo>
                  <a:pt x="40" y="42"/>
                </a:lnTo>
                <a:lnTo>
                  <a:pt x="27" y="41"/>
                </a:lnTo>
                <a:lnTo>
                  <a:pt x="12" y="39"/>
                </a:lnTo>
                <a:lnTo>
                  <a:pt x="1" y="37"/>
                </a:lnTo>
                <a:lnTo>
                  <a:pt x="0" y="36"/>
                </a:lnTo>
                <a:lnTo>
                  <a:pt x="6" y="36"/>
                </a:lnTo>
                <a:lnTo>
                  <a:pt x="12" y="35"/>
                </a:lnTo>
                <a:lnTo>
                  <a:pt x="18" y="33"/>
                </a:lnTo>
                <a:lnTo>
                  <a:pt x="23" y="30"/>
                </a:lnTo>
                <a:lnTo>
                  <a:pt x="33" y="25"/>
                </a:lnTo>
                <a:lnTo>
                  <a:pt x="44" y="18"/>
                </a:lnTo>
                <a:lnTo>
                  <a:pt x="55" y="11"/>
                </a:lnTo>
                <a:lnTo>
                  <a:pt x="66" y="5"/>
                </a:lnTo>
                <a:lnTo>
                  <a:pt x="72" y="3"/>
                </a:lnTo>
                <a:lnTo>
                  <a:pt x="79" y="1"/>
                </a:lnTo>
                <a:lnTo>
                  <a:pt x="86" y="0"/>
                </a:lnTo>
                <a:lnTo>
                  <a:pt x="9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538" name="Freeform 490"/>
          <p:cNvSpPr>
            <a:spLocks/>
          </p:cNvSpPr>
          <p:nvPr>
            <p:custDataLst>
              <p:tags r:id="rId328"/>
            </p:custDataLst>
          </p:nvPr>
        </p:nvSpPr>
        <p:spPr bwMode="auto">
          <a:xfrm>
            <a:off x="5310188" y="950121"/>
            <a:ext cx="15875" cy="44054"/>
          </a:xfrm>
          <a:custGeom>
            <a:avLst/>
            <a:gdLst/>
            <a:ahLst/>
            <a:cxnLst>
              <a:cxn ang="0">
                <a:pos x="40" y="5"/>
              </a:cxn>
              <a:cxn ang="0">
                <a:pos x="0" y="5"/>
              </a:cxn>
              <a:cxn ang="0">
                <a:pos x="5" y="3"/>
              </a:cxn>
              <a:cxn ang="0">
                <a:pos x="9" y="1"/>
              </a:cxn>
              <a:cxn ang="0">
                <a:pos x="15" y="0"/>
              </a:cxn>
              <a:cxn ang="0">
                <a:pos x="20" y="0"/>
              </a:cxn>
              <a:cxn ang="0">
                <a:pos x="25" y="0"/>
              </a:cxn>
              <a:cxn ang="0">
                <a:pos x="30" y="1"/>
              </a:cxn>
              <a:cxn ang="0">
                <a:pos x="35" y="3"/>
              </a:cxn>
              <a:cxn ang="0">
                <a:pos x="40" y="5"/>
              </a:cxn>
            </a:cxnLst>
            <a:rect l="0" t="0" r="r" b="b"/>
            <a:pathLst>
              <a:path w="40" h="5">
                <a:moveTo>
                  <a:pt x="40" y="5"/>
                </a:moveTo>
                <a:lnTo>
                  <a:pt x="0" y="5"/>
                </a:lnTo>
                <a:lnTo>
                  <a:pt x="5" y="3"/>
                </a:lnTo>
                <a:lnTo>
                  <a:pt x="9" y="1"/>
                </a:lnTo>
                <a:lnTo>
                  <a:pt x="15" y="0"/>
                </a:lnTo>
                <a:lnTo>
                  <a:pt x="20" y="0"/>
                </a:lnTo>
                <a:lnTo>
                  <a:pt x="25" y="0"/>
                </a:lnTo>
                <a:lnTo>
                  <a:pt x="30" y="1"/>
                </a:lnTo>
                <a:lnTo>
                  <a:pt x="35" y="3"/>
                </a:lnTo>
                <a:lnTo>
                  <a:pt x="40" y="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539" name="Freeform 491"/>
          <p:cNvSpPr>
            <a:spLocks/>
          </p:cNvSpPr>
          <p:nvPr>
            <p:custDataLst>
              <p:tags r:id="rId329"/>
            </p:custDataLst>
          </p:nvPr>
        </p:nvSpPr>
        <p:spPr bwMode="auto">
          <a:xfrm>
            <a:off x="5332413" y="919169"/>
            <a:ext cx="14287" cy="45244"/>
          </a:xfrm>
          <a:custGeom>
            <a:avLst/>
            <a:gdLst/>
            <a:ahLst/>
            <a:cxnLst>
              <a:cxn ang="0">
                <a:pos x="0" y="19"/>
              </a:cxn>
              <a:cxn ang="0">
                <a:pos x="20" y="0"/>
              </a:cxn>
              <a:cxn ang="0">
                <a:pos x="20" y="4"/>
              </a:cxn>
              <a:cxn ang="0">
                <a:pos x="22" y="10"/>
              </a:cxn>
              <a:cxn ang="0">
                <a:pos x="25" y="14"/>
              </a:cxn>
              <a:cxn ang="0">
                <a:pos x="27" y="18"/>
              </a:cxn>
              <a:cxn ang="0">
                <a:pos x="31" y="26"/>
              </a:cxn>
              <a:cxn ang="0">
                <a:pos x="33" y="31"/>
              </a:cxn>
              <a:cxn ang="0">
                <a:pos x="0" y="31"/>
              </a:cxn>
              <a:cxn ang="0">
                <a:pos x="0" y="25"/>
              </a:cxn>
              <a:cxn ang="0">
                <a:pos x="0" y="19"/>
              </a:cxn>
            </a:cxnLst>
            <a:rect l="0" t="0" r="r" b="b"/>
            <a:pathLst>
              <a:path w="33" h="31">
                <a:moveTo>
                  <a:pt x="0" y="19"/>
                </a:moveTo>
                <a:lnTo>
                  <a:pt x="20" y="0"/>
                </a:lnTo>
                <a:lnTo>
                  <a:pt x="20" y="4"/>
                </a:lnTo>
                <a:lnTo>
                  <a:pt x="22" y="10"/>
                </a:lnTo>
                <a:lnTo>
                  <a:pt x="25" y="14"/>
                </a:lnTo>
                <a:lnTo>
                  <a:pt x="27" y="18"/>
                </a:lnTo>
                <a:lnTo>
                  <a:pt x="31" y="26"/>
                </a:lnTo>
                <a:lnTo>
                  <a:pt x="33" y="31"/>
                </a:lnTo>
                <a:lnTo>
                  <a:pt x="0" y="31"/>
                </a:lnTo>
                <a:lnTo>
                  <a:pt x="0" y="25"/>
                </a:lnTo>
                <a:lnTo>
                  <a:pt x="0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540" name="Freeform 492"/>
          <p:cNvSpPr>
            <a:spLocks/>
          </p:cNvSpPr>
          <p:nvPr>
            <p:custDataLst>
              <p:tags r:id="rId330"/>
            </p:custDataLst>
          </p:nvPr>
        </p:nvSpPr>
        <p:spPr bwMode="auto">
          <a:xfrm>
            <a:off x="5476877" y="1006083"/>
            <a:ext cx="17463" cy="42863"/>
          </a:xfrm>
          <a:custGeom>
            <a:avLst/>
            <a:gdLst/>
            <a:ahLst/>
            <a:cxnLst>
              <a:cxn ang="0">
                <a:pos x="41" y="0"/>
              </a:cxn>
              <a:cxn ang="0">
                <a:pos x="41" y="43"/>
              </a:cxn>
              <a:cxn ang="0">
                <a:pos x="31" y="42"/>
              </a:cxn>
              <a:cxn ang="0">
                <a:pos x="24" y="40"/>
              </a:cxn>
              <a:cxn ang="0">
                <a:pos x="18" y="37"/>
              </a:cxn>
              <a:cxn ang="0">
                <a:pos x="13" y="33"/>
              </a:cxn>
              <a:cxn ang="0">
                <a:pos x="5" y="25"/>
              </a:cxn>
              <a:cxn ang="0">
                <a:pos x="0" y="19"/>
              </a:cxn>
              <a:cxn ang="0">
                <a:pos x="12" y="13"/>
              </a:cxn>
              <a:cxn ang="0">
                <a:pos x="25" y="7"/>
              </a:cxn>
              <a:cxn ang="0">
                <a:pos x="36" y="2"/>
              </a:cxn>
              <a:cxn ang="0">
                <a:pos x="41" y="0"/>
              </a:cxn>
            </a:cxnLst>
            <a:rect l="0" t="0" r="r" b="b"/>
            <a:pathLst>
              <a:path w="41" h="43">
                <a:moveTo>
                  <a:pt x="41" y="0"/>
                </a:moveTo>
                <a:lnTo>
                  <a:pt x="41" y="43"/>
                </a:lnTo>
                <a:lnTo>
                  <a:pt x="31" y="42"/>
                </a:lnTo>
                <a:lnTo>
                  <a:pt x="24" y="40"/>
                </a:lnTo>
                <a:lnTo>
                  <a:pt x="18" y="37"/>
                </a:lnTo>
                <a:lnTo>
                  <a:pt x="13" y="33"/>
                </a:lnTo>
                <a:lnTo>
                  <a:pt x="5" y="25"/>
                </a:lnTo>
                <a:lnTo>
                  <a:pt x="0" y="19"/>
                </a:lnTo>
                <a:lnTo>
                  <a:pt x="12" y="13"/>
                </a:lnTo>
                <a:lnTo>
                  <a:pt x="25" y="7"/>
                </a:lnTo>
                <a:lnTo>
                  <a:pt x="36" y="2"/>
                </a:lnTo>
                <a:lnTo>
                  <a:pt x="41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541" name="Freeform 493"/>
          <p:cNvSpPr>
            <a:spLocks/>
          </p:cNvSpPr>
          <p:nvPr>
            <p:custDataLst>
              <p:tags r:id="rId331"/>
            </p:custDataLst>
          </p:nvPr>
        </p:nvSpPr>
        <p:spPr bwMode="auto">
          <a:xfrm>
            <a:off x="5530853" y="919169"/>
            <a:ext cx="93663" cy="45244"/>
          </a:xfrm>
          <a:custGeom>
            <a:avLst/>
            <a:gdLst/>
            <a:ahLst/>
            <a:cxnLst>
              <a:cxn ang="0">
                <a:pos x="61" y="0"/>
              </a:cxn>
              <a:cxn ang="0">
                <a:pos x="83" y="0"/>
              </a:cxn>
              <a:cxn ang="0">
                <a:pos x="105" y="1"/>
              </a:cxn>
              <a:cxn ang="0">
                <a:pos x="127" y="3"/>
              </a:cxn>
              <a:cxn ang="0">
                <a:pos x="146" y="7"/>
              </a:cxn>
              <a:cxn ang="0">
                <a:pos x="166" y="11"/>
              </a:cxn>
              <a:cxn ang="0">
                <a:pos x="184" y="16"/>
              </a:cxn>
              <a:cxn ang="0">
                <a:pos x="191" y="19"/>
              </a:cxn>
              <a:cxn ang="0">
                <a:pos x="199" y="23"/>
              </a:cxn>
              <a:cxn ang="0">
                <a:pos x="207" y="27"/>
              </a:cxn>
              <a:cxn ang="0">
                <a:pos x="213" y="31"/>
              </a:cxn>
              <a:cxn ang="0">
                <a:pos x="211" y="35"/>
              </a:cxn>
              <a:cxn ang="0">
                <a:pos x="207" y="38"/>
              </a:cxn>
              <a:cxn ang="0">
                <a:pos x="201" y="41"/>
              </a:cxn>
              <a:cxn ang="0">
                <a:pos x="195" y="44"/>
              </a:cxn>
              <a:cxn ang="0">
                <a:pos x="177" y="49"/>
              </a:cxn>
              <a:cxn ang="0">
                <a:pos x="156" y="53"/>
              </a:cxn>
              <a:cxn ang="0">
                <a:pos x="135" y="57"/>
              </a:cxn>
              <a:cxn ang="0">
                <a:pos x="114" y="59"/>
              </a:cxn>
              <a:cxn ang="0">
                <a:pos x="95" y="62"/>
              </a:cxn>
              <a:cxn ang="0">
                <a:pos x="80" y="62"/>
              </a:cxn>
              <a:cxn ang="0">
                <a:pos x="62" y="62"/>
              </a:cxn>
              <a:cxn ang="0">
                <a:pos x="43" y="59"/>
              </a:cxn>
              <a:cxn ang="0">
                <a:pos x="33" y="59"/>
              </a:cxn>
              <a:cxn ang="0">
                <a:pos x="23" y="59"/>
              </a:cxn>
              <a:cxn ang="0">
                <a:pos x="12" y="60"/>
              </a:cxn>
              <a:cxn ang="0">
                <a:pos x="0" y="62"/>
              </a:cxn>
              <a:cxn ang="0">
                <a:pos x="6" y="50"/>
              </a:cxn>
              <a:cxn ang="0">
                <a:pos x="11" y="39"/>
              </a:cxn>
              <a:cxn ang="0">
                <a:pos x="17" y="29"/>
              </a:cxn>
              <a:cxn ang="0">
                <a:pos x="23" y="20"/>
              </a:cxn>
              <a:cxn ang="0">
                <a:pos x="27" y="16"/>
              </a:cxn>
              <a:cxn ang="0">
                <a:pos x="30" y="12"/>
              </a:cxn>
              <a:cxn ang="0">
                <a:pos x="34" y="9"/>
              </a:cxn>
              <a:cxn ang="0">
                <a:pos x="39" y="6"/>
              </a:cxn>
              <a:cxn ang="0">
                <a:pos x="43" y="3"/>
              </a:cxn>
              <a:cxn ang="0">
                <a:pos x="49" y="1"/>
              </a:cxn>
              <a:cxn ang="0">
                <a:pos x="54" y="0"/>
              </a:cxn>
              <a:cxn ang="0">
                <a:pos x="61" y="0"/>
              </a:cxn>
            </a:cxnLst>
            <a:rect l="0" t="0" r="r" b="b"/>
            <a:pathLst>
              <a:path w="213" h="62">
                <a:moveTo>
                  <a:pt x="61" y="0"/>
                </a:moveTo>
                <a:lnTo>
                  <a:pt x="83" y="0"/>
                </a:lnTo>
                <a:lnTo>
                  <a:pt x="105" y="1"/>
                </a:lnTo>
                <a:lnTo>
                  <a:pt x="127" y="3"/>
                </a:lnTo>
                <a:lnTo>
                  <a:pt x="146" y="7"/>
                </a:lnTo>
                <a:lnTo>
                  <a:pt x="166" y="11"/>
                </a:lnTo>
                <a:lnTo>
                  <a:pt x="184" y="16"/>
                </a:lnTo>
                <a:lnTo>
                  <a:pt x="191" y="19"/>
                </a:lnTo>
                <a:lnTo>
                  <a:pt x="199" y="23"/>
                </a:lnTo>
                <a:lnTo>
                  <a:pt x="207" y="27"/>
                </a:lnTo>
                <a:lnTo>
                  <a:pt x="213" y="31"/>
                </a:lnTo>
                <a:lnTo>
                  <a:pt x="211" y="35"/>
                </a:lnTo>
                <a:lnTo>
                  <a:pt x="207" y="38"/>
                </a:lnTo>
                <a:lnTo>
                  <a:pt x="201" y="41"/>
                </a:lnTo>
                <a:lnTo>
                  <a:pt x="195" y="44"/>
                </a:lnTo>
                <a:lnTo>
                  <a:pt x="177" y="49"/>
                </a:lnTo>
                <a:lnTo>
                  <a:pt x="156" y="53"/>
                </a:lnTo>
                <a:lnTo>
                  <a:pt x="135" y="57"/>
                </a:lnTo>
                <a:lnTo>
                  <a:pt x="114" y="59"/>
                </a:lnTo>
                <a:lnTo>
                  <a:pt x="95" y="62"/>
                </a:lnTo>
                <a:lnTo>
                  <a:pt x="80" y="62"/>
                </a:lnTo>
                <a:lnTo>
                  <a:pt x="62" y="62"/>
                </a:lnTo>
                <a:lnTo>
                  <a:pt x="43" y="59"/>
                </a:lnTo>
                <a:lnTo>
                  <a:pt x="33" y="59"/>
                </a:lnTo>
                <a:lnTo>
                  <a:pt x="23" y="59"/>
                </a:lnTo>
                <a:lnTo>
                  <a:pt x="12" y="60"/>
                </a:lnTo>
                <a:lnTo>
                  <a:pt x="0" y="62"/>
                </a:lnTo>
                <a:lnTo>
                  <a:pt x="6" y="50"/>
                </a:lnTo>
                <a:lnTo>
                  <a:pt x="11" y="39"/>
                </a:lnTo>
                <a:lnTo>
                  <a:pt x="17" y="29"/>
                </a:lnTo>
                <a:lnTo>
                  <a:pt x="23" y="20"/>
                </a:lnTo>
                <a:lnTo>
                  <a:pt x="27" y="16"/>
                </a:lnTo>
                <a:lnTo>
                  <a:pt x="30" y="12"/>
                </a:lnTo>
                <a:lnTo>
                  <a:pt x="34" y="9"/>
                </a:lnTo>
                <a:lnTo>
                  <a:pt x="39" y="6"/>
                </a:lnTo>
                <a:lnTo>
                  <a:pt x="43" y="3"/>
                </a:lnTo>
                <a:lnTo>
                  <a:pt x="49" y="1"/>
                </a:lnTo>
                <a:lnTo>
                  <a:pt x="54" y="0"/>
                </a:lnTo>
                <a:lnTo>
                  <a:pt x="61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542" name="Freeform 494"/>
          <p:cNvSpPr>
            <a:spLocks/>
          </p:cNvSpPr>
          <p:nvPr>
            <p:custDataLst>
              <p:tags r:id="rId332"/>
            </p:custDataLst>
          </p:nvPr>
        </p:nvSpPr>
        <p:spPr bwMode="auto">
          <a:xfrm>
            <a:off x="5591175" y="938219"/>
            <a:ext cx="103188" cy="45244"/>
          </a:xfrm>
          <a:custGeom>
            <a:avLst/>
            <a:gdLst/>
            <a:ahLst/>
            <a:cxnLst>
              <a:cxn ang="0">
                <a:pos x="41" y="0"/>
              </a:cxn>
              <a:cxn ang="0">
                <a:pos x="30" y="3"/>
              </a:cxn>
              <a:cxn ang="0">
                <a:pos x="23" y="5"/>
              </a:cxn>
              <a:cxn ang="0">
                <a:pos x="19" y="7"/>
              </a:cxn>
              <a:cxn ang="0">
                <a:pos x="15" y="9"/>
              </a:cxn>
              <a:cxn ang="0">
                <a:pos x="13" y="13"/>
              </a:cxn>
              <a:cxn ang="0">
                <a:pos x="10" y="15"/>
              </a:cxn>
              <a:cxn ang="0">
                <a:pos x="7" y="17"/>
              </a:cxn>
              <a:cxn ang="0">
                <a:pos x="0" y="19"/>
              </a:cxn>
              <a:cxn ang="0">
                <a:pos x="2" y="24"/>
              </a:cxn>
              <a:cxn ang="0">
                <a:pos x="5" y="27"/>
              </a:cxn>
              <a:cxn ang="0">
                <a:pos x="7" y="30"/>
              </a:cxn>
              <a:cxn ang="0">
                <a:pos x="10" y="33"/>
              </a:cxn>
              <a:cxn ang="0">
                <a:pos x="17" y="36"/>
              </a:cxn>
              <a:cxn ang="0">
                <a:pos x="24" y="38"/>
              </a:cxn>
              <a:cxn ang="0">
                <a:pos x="41" y="38"/>
              </a:cxn>
              <a:cxn ang="0">
                <a:pos x="54" y="38"/>
              </a:cxn>
              <a:cxn ang="0">
                <a:pos x="153" y="38"/>
              </a:cxn>
              <a:cxn ang="0">
                <a:pos x="155" y="41"/>
              </a:cxn>
              <a:cxn ang="0">
                <a:pos x="156" y="44"/>
              </a:cxn>
              <a:cxn ang="0">
                <a:pos x="159" y="46"/>
              </a:cxn>
              <a:cxn ang="0">
                <a:pos x="162" y="48"/>
              </a:cxn>
              <a:cxn ang="0">
                <a:pos x="167" y="51"/>
              </a:cxn>
              <a:cxn ang="0">
                <a:pos x="174" y="54"/>
              </a:cxn>
              <a:cxn ang="0">
                <a:pos x="188" y="56"/>
              </a:cxn>
              <a:cxn ang="0">
                <a:pos x="200" y="56"/>
              </a:cxn>
              <a:cxn ang="0">
                <a:pos x="204" y="55"/>
              </a:cxn>
              <a:cxn ang="0">
                <a:pos x="210" y="54"/>
              </a:cxn>
              <a:cxn ang="0">
                <a:pos x="214" y="52"/>
              </a:cxn>
              <a:cxn ang="0">
                <a:pos x="220" y="49"/>
              </a:cxn>
              <a:cxn ang="0">
                <a:pos x="230" y="43"/>
              </a:cxn>
              <a:cxn ang="0">
                <a:pos x="239" y="38"/>
              </a:cxn>
              <a:cxn ang="0">
                <a:pos x="232" y="37"/>
              </a:cxn>
              <a:cxn ang="0">
                <a:pos x="225" y="36"/>
              </a:cxn>
              <a:cxn ang="0">
                <a:pos x="219" y="34"/>
              </a:cxn>
              <a:cxn ang="0">
                <a:pos x="213" y="32"/>
              </a:cxn>
              <a:cxn ang="0">
                <a:pos x="201" y="26"/>
              </a:cxn>
              <a:cxn ang="0">
                <a:pos x="190" y="19"/>
              </a:cxn>
              <a:cxn ang="0">
                <a:pos x="178" y="13"/>
              </a:cxn>
              <a:cxn ang="0">
                <a:pos x="167" y="6"/>
              </a:cxn>
              <a:cxn ang="0">
                <a:pos x="160" y="4"/>
              </a:cxn>
              <a:cxn ang="0">
                <a:pos x="154" y="2"/>
              </a:cxn>
              <a:cxn ang="0">
                <a:pos x="147" y="1"/>
              </a:cxn>
              <a:cxn ang="0">
                <a:pos x="140" y="0"/>
              </a:cxn>
              <a:cxn ang="0">
                <a:pos x="134" y="1"/>
              </a:cxn>
              <a:cxn ang="0">
                <a:pos x="127" y="4"/>
              </a:cxn>
              <a:cxn ang="0">
                <a:pos x="124" y="6"/>
              </a:cxn>
              <a:cxn ang="0">
                <a:pos x="122" y="8"/>
              </a:cxn>
              <a:cxn ang="0">
                <a:pos x="121" y="10"/>
              </a:cxn>
              <a:cxn ang="0">
                <a:pos x="120" y="13"/>
              </a:cxn>
              <a:cxn ang="0">
                <a:pos x="100" y="8"/>
              </a:cxn>
              <a:cxn ang="0">
                <a:pos x="80" y="4"/>
              </a:cxn>
              <a:cxn ang="0">
                <a:pos x="61" y="1"/>
              </a:cxn>
              <a:cxn ang="0">
                <a:pos x="41" y="0"/>
              </a:cxn>
            </a:cxnLst>
            <a:rect l="0" t="0" r="r" b="b"/>
            <a:pathLst>
              <a:path w="239" h="56">
                <a:moveTo>
                  <a:pt x="41" y="0"/>
                </a:moveTo>
                <a:lnTo>
                  <a:pt x="30" y="3"/>
                </a:lnTo>
                <a:lnTo>
                  <a:pt x="23" y="5"/>
                </a:lnTo>
                <a:lnTo>
                  <a:pt x="19" y="7"/>
                </a:lnTo>
                <a:lnTo>
                  <a:pt x="15" y="9"/>
                </a:lnTo>
                <a:lnTo>
                  <a:pt x="13" y="13"/>
                </a:lnTo>
                <a:lnTo>
                  <a:pt x="10" y="15"/>
                </a:lnTo>
                <a:lnTo>
                  <a:pt x="7" y="17"/>
                </a:lnTo>
                <a:lnTo>
                  <a:pt x="0" y="19"/>
                </a:lnTo>
                <a:lnTo>
                  <a:pt x="2" y="24"/>
                </a:lnTo>
                <a:lnTo>
                  <a:pt x="5" y="27"/>
                </a:lnTo>
                <a:lnTo>
                  <a:pt x="7" y="30"/>
                </a:lnTo>
                <a:lnTo>
                  <a:pt x="10" y="33"/>
                </a:lnTo>
                <a:lnTo>
                  <a:pt x="17" y="36"/>
                </a:lnTo>
                <a:lnTo>
                  <a:pt x="24" y="38"/>
                </a:lnTo>
                <a:lnTo>
                  <a:pt x="41" y="38"/>
                </a:lnTo>
                <a:lnTo>
                  <a:pt x="54" y="38"/>
                </a:lnTo>
                <a:lnTo>
                  <a:pt x="153" y="38"/>
                </a:lnTo>
                <a:lnTo>
                  <a:pt x="155" y="41"/>
                </a:lnTo>
                <a:lnTo>
                  <a:pt x="156" y="44"/>
                </a:lnTo>
                <a:lnTo>
                  <a:pt x="159" y="46"/>
                </a:lnTo>
                <a:lnTo>
                  <a:pt x="162" y="48"/>
                </a:lnTo>
                <a:lnTo>
                  <a:pt x="167" y="51"/>
                </a:lnTo>
                <a:lnTo>
                  <a:pt x="174" y="54"/>
                </a:lnTo>
                <a:lnTo>
                  <a:pt x="188" y="56"/>
                </a:lnTo>
                <a:lnTo>
                  <a:pt x="200" y="56"/>
                </a:lnTo>
                <a:lnTo>
                  <a:pt x="204" y="55"/>
                </a:lnTo>
                <a:lnTo>
                  <a:pt x="210" y="54"/>
                </a:lnTo>
                <a:lnTo>
                  <a:pt x="214" y="52"/>
                </a:lnTo>
                <a:lnTo>
                  <a:pt x="220" y="49"/>
                </a:lnTo>
                <a:lnTo>
                  <a:pt x="230" y="43"/>
                </a:lnTo>
                <a:lnTo>
                  <a:pt x="239" y="38"/>
                </a:lnTo>
                <a:lnTo>
                  <a:pt x="232" y="37"/>
                </a:lnTo>
                <a:lnTo>
                  <a:pt x="225" y="36"/>
                </a:lnTo>
                <a:lnTo>
                  <a:pt x="219" y="34"/>
                </a:lnTo>
                <a:lnTo>
                  <a:pt x="213" y="32"/>
                </a:lnTo>
                <a:lnTo>
                  <a:pt x="201" y="26"/>
                </a:lnTo>
                <a:lnTo>
                  <a:pt x="190" y="19"/>
                </a:lnTo>
                <a:lnTo>
                  <a:pt x="178" y="13"/>
                </a:lnTo>
                <a:lnTo>
                  <a:pt x="167" y="6"/>
                </a:lnTo>
                <a:lnTo>
                  <a:pt x="160" y="4"/>
                </a:lnTo>
                <a:lnTo>
                  <a:pt x="154" y="2"/>
                </a:lnTo>
                <a:lnTo>
                  <a:pt x="147" y="1"/>
                </a:lnTo>
                <a:lnTo>
                  <a:pt x="140" y="0"/>
                </a:lnTo>
                <a:lnTo>
                  <a:pt x="134" y="1"/>
                </a:lnTo>
                <a:lnTo>
                  <a:pt x="127" y="4"/>
                </a:lnTo>
                <a:lnTo>
                  <a:pt x="124" y="6"/>
                </a:lnTo>
                <a:lnTo>
                  <a:pt x="122" y="8"/>
                </a:lnTo>
                <a:lnTo>
                  <a:pt x="121" y="10"/>
                </a:lnTo>
                <a:lnTo>
                  <a:pt x="120" y="13"/>
                </a:lnTo>
                <a:lnTo>
                  <a:pt x="100" y="8"/>
                </a:lnTo>
                <a:lnTo>
                  <a:pt x="80" y="4"/>
                </a:lnTo>
                <a:lnTo>
                  <a:pt x="61" y="1"/>
                </a:lnTo>
                <a:lnTo>
                  <a:pt x="41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543" name="Freeform 495"/>
          <p:cNvSpPr>
            <a:spLocks/>
          </p:cNvSpPr>
          <p:nvPr>
            <p:custDataLst>
              <p:tags r:id="rId333"/>
            </p:custDataLst>
          </p:nvPr>
        </p:nvSpPr>
        <p:spPr bwMode="auto">
          <a:xfrm>
            <a:off x="5708651" y="948933"/>
            <a:ext cx="82550" cy="42863"/>
          </a:xfrm>
          <a:custGeom>
            <a:avLst/>
            <a:gdLst/>
            <a:ahLst/>
            <a:cxnLst>
              <a:cxn ang="0">
                <a:pos x="14" y="19"/>
              </a:cxn>
              <a:cxn ang="0">
                <a:pos x="41" y="0"/>
              </a:cxn>
              <a:cxn ang="0">
                <a:pos x="44" y="3"/>
              </a:cxn>
              <a:cxn ang="0">
                <a:pos x="50" y="6"/>
              </a:cxn>
              <a:cxn ang="0">
                <a:pos x="58" y="9"/>
              </a:cxn>
              <a:cxn ang="0">
                <a:pos x="67" y="12"/>
              </a:cxn>
              <a:cxn ang="0">
                <a:pos x="89" y="19"/>
              </a:cxn>
              <a:cxn ang="0">
                <a:pos x="114" y="26"/>
              </a:cxn>
              <a:cxn ang="0">
                <a:pos x="139" y="33"/>
              </a:cxn>
              <a:cxn ang="0">
                <a:pos x="161" y="38"/>
              </a:cxn>
              <a:cxn ang="0">
                <a:pos x="177" y="42"/>
              </a:cxn>
              <a:cxn ang="0">
                <a:pos x="187" y="43"/>
              </a:cxn>
              <a:cxn ang="0">
                <a:pos x="187" y="56"/>
              </a:cxn>
              <a:cxn ang="0">
                <a:pos x="187" y="68"/>
              </a:cxn>
              <a:cxn ang="0">
                <a:pos x="170" y="70"/>
              </a:cxn>
              <a:cxn ang="0">
                <a:pos x="151" y="71"/>
              </a:cxn>
              <a:cxn ang="0">
                <a:pos x="133" y="71"/>
              </a:cxn>
              <a:cxn ang="0">
                <a:pos x="116" y="70"/>
              </a:cxn>
              <a:cxn ang="0">
                <a:pos x="85" y="69"/>
              </a:cxn>
              <a:cxn ang="0">
                <a:pos x="61" y="68"/>
              </a:cxn>
              <a:cxn ang="0">
                <a:pos x="55" y="69"/>
              </a:cxn>
              <a:cxn ang="0">
                <a:pos x="51" y="70"/>
              </a:cxn>
              <a:cxn ang="0">
                <a:pos x="45" y="72"/>
              </a:cxn>
              <a:cxn ang="0">
                <a:pos x="41" y="74"/>
              </a:cxn>
              <a:cxn ang="0">
                <a:pos x="33" y="78"/>
              </a:cxn>
              <a:cxn ang="0">
                <a:pos x="28" y="80"/>
              </a:cxn>
              <a:cxn ang="0">
                <a:pos x="22" y="79"/>
              </a:cxn>
              <a:cxn ang="0">
                <a:pos x="18" y="76"/>
              </a:cxn>
              <a:cxn ang="0">
                <a:pos x="14" y="72"/>
              </a:cxn>
              <a:cxn ang="0">
                <a:pos x="9" y="67"/>
              </a:cxn>
              <a:cxn ang="0">
                <a:pos x="6" y="62"/>
              </a:cxn>
              <a:cxn ang="0">
                <a:pos x="3" y="57"/>
              </a:cxn>
              <a:cxn ang="0">
                <a:pos x="2" y="53"/>
              </a:cxn>
              <a:cxn ang="0">
                <a:pos x="0" y="50"/>
              </a:cxn>
              <a:cxn ang="0">
                <a:pos x="2" y="44"/>
              </a:cxn>
              <a:cxn ang="0">
                <a:pos x="3" y="40"/>
              </a:cxn>
              <a:cxn ang="0">
                <a:pos x="5" y="36"/>
              </a:cxn>
              <a:cxn ang="0">
                <a:pos x="7" y="31"/>
              </a:cxn>
              <a:cxn ang="0">
                <a:pos x="13" y="24"/>
              </a:cxn>
              <a:cxn ang="0">
                <a:pos x="14" y="19"/>
              </a:cxn>
            </a:cxnLst>
            <a:rect l="0" t="0" r="r" b="b"/>
            <a:pathLst>
              <a:path w="187" h="80">
                <a:moveTo>
                  <a:pt x="14" y="19"/>
                </a:moveTo>
                <a:lnTo>
                  <a:pt x="41" y="0"/>
                </a:lnTo>
                <a:lnTo>
                  <a:pt x="44" y="3"/>
                </a:lnTo>
                <a:lnTo>
                  <a:pt x="50" y="6"/>
                </a:lnTo>
                <a:lnTo>
                  <a:pt x="58" y="9"/>
                </a:lnTo>
                <a:lnTo>
                  <a:pt x="67" y="12"/>
                </a:lnTo>
                <a:lnTo>
                  <a:pt x="89" y="19"/>
                </a:lnTo>
                <a:lnTo>
                  <a:pt x="114" y="26"/>
                </a:lnTo>
                <a:lnTo>
                  <a:pt x="139" y="33"/>
                </a:lnTo>
                <a:lnTo>
                  <a:pt x="161" y="38"/>
                </a:lnTo>
                <a:lnTo>
                  <a:pt x="177" y="42"/>
                </a:lnTo>
                <a:lnTo>
                  <a:pt x="187" y="43"/>
                </a:lnTo>
                <a:lnTo>
                  <a:pt x="187" y="56"/>
                </a:lnTo>
                <a:lnTo>
                  <a:pt x="187" y="68"/>
                </a:lnTo>
                <a:lnTo>
                  <a:pt x="170" y="70"/>
                </a:lnTo>
                <a:lnTo>
                  <a:pt x="151" y="71"/>
                </a:lnTo>
                <a:lnTo>
                  <a:pt x="133" y="71"/>
                </a:lnTo>
                <a:lnTo>
                  <a:pt x="116" y="70"/>
                </a:lnTo>
                <a:lnTo>
                  <a:pt x="85" y="69"/>
                </a:lnTo>
                <a:lnTo>
                  <a:pt x="61" y="68"/>
                </a:lnTo>
                <a:lnTo>
                  <a:pt x="55" y="69"/>
                </a:lnTo>
                <a:lnTo>
                  <a:pt x="51" y="70"/>
                </a:lnTo>
                <a:lnTo>
                  <a:pt x="45" y="72"/>
                </a:lnTo>
                <a:lnTo>
                  <a:pt x="41" y="74"/>
                </a:lnTo>
                <a:lnTo>
                  <a:pt x="33" y="78"/>
                </a:lnTo>
                <a:lnTo>
                  <a:pt x="28" y="80"/>
                </a:lnTo>
                <a:lnTo>
                  <a:pt x="22" y="79"/>
                </a:lnTo>
                <a:lnTo>
                  <a:pt x="18" y="76"/>
                </a:lnTo>
                <a:lnTo>
                  <a:pt x="14" y="72"/>
                </a:lnTo>
                <a:lnTo>
                  <a:pt x="9" y="67"/>
                </a:lnTo>
                <a:lnTo>
                  <a:pt x="6" y="62"/>
                </a:lnTo>
                <a:lnTo>
                  <a:pt x="3" y="57"/>
                </a:lnTo>
                <a:lnTo>
                  <a:pt x="2" y="53"/>
                </a:lnTo>
                <a:lnTo>
                  <a:pt x="0" y="50"/>
                </a:lnTo>
                <a:lnTo>
                  <a:pt x="2" y="44"/>
                </a:lnTo>
                <a:lnTo>
                  <a:pt x="3" y="40"/>
                </a:lnTo>
                <a:lnTo>
                  <a:pt x="5" y="36"/>
                </a:lnTo>
                <a:lnTo>
                  <a:pt x="7" y="31"/>
                </a:lnTo>
                <a:lnTo>
                  <a:pt x="13" y="24"/>
                </a:lnTo>
                <a:lnTo>
                  <a:pt x="14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544" name="Freeform 496"/>
          <p:cNvSpPr>
            <a:spLocks/>
          </p:cNvSpPr>
          <p:nvPr>
            <p:custDataLst>
              <p:tags r:id="rId334"/>
            </p:custDataLst>
          </p:nvPr>
        </p:nvSpPr>
        <p:spPr bwMode="auto">
          <a:xfrm>
            <a:off x="6235701" y="1042989"/>
            <a:ext cx="79375" cy="44054"/>
          </a:xfrm>
          <a:custGeom>
            <a:avLst/>
            <a:gdLst/>
            <a:ahLst/>
            <a:cxnLst>
              <a:cxn ang="0">
                <a:pos x="50" y="0"/>
              </a:cxn>
              <a:cxn ang="0">
                <a:pos x="63" y="0"/>
              </a:cxn>
              <a:cxn ang="0">
                <a:pos x="75" y="1"/>
              </a:cxn>
              <a:cxn ang="0">
                <a:pos x="86" y="4"/>
              </a:cxn>
              <a:cxn ang="0">
                <a:pos x="97" y="7"/>
              </a:cxn>
              <a:cxn ang="0">
                <a:pos x="106" y="10"/>
              </a:cxn>
              <a:cxn ang="0">
                <a:pos x="116" y="15"/>
              </a:cxn>
              <a:cxn ang="0">
                <a:pos x="124" y="19"/>
              </a:cxn>
              <a:cxn ang="0">
                <a:pos x="131" y="25"/>
              </a:cxn>
              <a:cxn ang="0">
                <a:pos x="159" y="49"/>
              </a:cxn>
              <a:cxn ang="0">
                <a:pos x="183" y="73"/>
              </a:cxn>
              <a:cxn ang="0">
                <a:pos x="137" y="73"/>
              </a:cxn>
              <a:cxn ang="0">
                <a:pos x="128" y="72"/>
              </a:cxn>
              <a:cxn ang="0">
                <a:pos x="117" y="70"/>
              </a:cxn>
              <a:cxn ang="0">
                <a:pos x="104" y="66"/>
              </a:cxn>
              <a:cxn ang="0">
                <a:pos x="90" y="62"/>
              </a:cxn>
              <a:cxn ang="0">
                <a:pos x="73" y="56"/>
              </a:cxn>
              <a:cxn ang="0">
                <a:pos x="58" y="50"/>
              </a:cxn>
              <a:cxn ang="0">
                <a:pos x="42" y="44"/>
              </a:cxn>
              <a:cxn ang="0">
                <a:pos x="28" y="37"/>
              </a:cxn>
              <a:cxn ang="0">
                <a:pos x="16" y="30"/>
              </a:cxn>
              <a:cxn ang="0">
                <a:pos x="7" y="23"/>
              </a:cxn>
              <a:cxn ang="0">
                <a:pos x="4" y="19"/>
              </a:cxn>
              <a:cxn ang="0">
                <a:pos x="2" y="16"/>
              </a:cxn>
              <a:cxn ang="0">
                <a:pos x="1" y="14"/>
              </a:cxn>
              <a:cxn ang="0">
                <a:pos x="0" y="11"/>
              </a:cxn>
              <a:cxn ang="0">
                <a:pos x="1" y="8"/>
              </a:cxn>
              <a:cxn ang="0">
                <a:pos x="3" y="6"/>
              </a:cxn>
              <a:cxn ang="0">
                <a:pos x="7" y="4"/>
              </a:cxn>
              <a:cxn ang="0">
                <a:pos x="13" y="3"/>
              </a:cxn>
              <a:cxn ang="0">
                <a:pos x="19" y="1"/>
              </a:cxn>
              <a:cxn ang="0">
                <a:pos x="28" y="0"/>
              </a:cxn>
              <a:cxn ang="0">
                <a:pos x="38" y="0"/>
              </a:cxn>
              <a:cxn ang="0">
                <a:pos x="50" y="0"/>
              </a:cxn>
            </a:cxnLst>
            <a:rect l="0" t="0" r="r" b="b"/>
            <a:pathLst>
              <a:path w="183" h="73">
                <a:moveTo>
                  <a:pt x="50" y="0"/>
                </a:moveTo>
                <a:lnTo>
                  <a:pt x="63" y="0"/>
                </a:lnTo>
                <a:lnTo>
                  <a:pt x="75" y="1"/>
                </a:lnTo>
                <a:lnTo>
                  <a:pt x="86" y="4"/>
                </a:lnTo>
                <a:lnTo>
                  <a:pt x="97" y="7"/>
                </a:lnTo>
                <a:lnTo>
                  <a:pt x="106" y="10"/>
                </a:lnTo>
                <a:lnTo>
                  <a:pt x="116" y="15"/>
                </a:lnTo>
                <a:lnTo>
                  <a:pt x="124" y="19"/>
                </a:lnTo>
                <a:lnTo>
                  <a:pt x="131" y="25"/>
                </a:lnTo>
                <a:lnTo>
                  <a:pt x="159" y="49"/>
                </a:lnTo>
                <a:lnTo>
                  <a:pt x="183" y="73"/>
                </a:lnTo>
                <a:lnTo>
                  <a:pt x="137" y="73"/>
                </a:lnTo>
                <a:lnTo>
                  <a:pt x="128" y="72"/>
                </a:lnTo>
                <a:lnTo>
                  <a:pt x="117" y="70"/>
                </a:lnTo>
                <a:lnTo>
                  <a:pt x="104" y="66"/>
                </a:lnTo>
                <a:lnTo>
                  <a:pt x="90" y="62"/>
                </a:lnTo>
                <a:lnTo>
                  <a:pt x="73" y="56"/>
                </a:lnTo>
                <a:lnTo>
                  <a:pt x="58" y="50"/>
                </a:lnTo>
                <a:lnTo>
                  <a:pt x="42" y="44"/>
                </a:lnTo>
                <a:lnTo>
                  <a:pt x="28" y="37"/>
                </a:lnTo>
                <a:lnTo>
                  <a:pt x="16" y="30"/>
                </a:lnTo>
                <a:lnTo>
                  <a:pt x="7" y="23"/>
                </a:lnTo>
                <a:lnTo>
                  <a:pt x="4" y="19"/>
                </a:lnTo>
                <a:lnTo>
                  <a:pt x="2" y="16"/>
                </a:lnTo>
                <a:lnTo>
                  <a:pt x="1" y="14"/>
                </a:lnTo>
                <a:lnTo>
                  <a:pt x="0" y="11"/>
                </a:lnTo>
                <a:lnTo>
                  <a:pt x="1" y="8"/>
                </a:lnTo>
                <a:lnTo>
                  <a:pt x="3" y="6"/>
                </a:lnTo>
                <a:lnTo>
                  <a:pt x="7" y="4"/>
                </a:lnTo>
                <a:lnTo>
                  <a:pt x="13" y="3"/>
                </a:lnTo>
                <a:lnTo>
                  <a:pt x="19" y="1"/>
                </a:lnTo>
                <a:lnTo>
                  <a:pt x="28" y="0"/>
                </a:lnTo>
                <a:lnTo>
                  <a:pt x="38" y="0"/>
                </a:lnTo>
                <a:lnTo>
                  <a:pt x="5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545" name="Freeform 497"/>
          <p:cNvSpPr>
            <a:spLocks/>
          </p:cNvSpPr>
          <p:nvPr>
            <p:custDataLst>
              <p:tags r:id="rId335"/>
            </p:custDataLst>
          </p:nvPr>
        </p:nvSpPr>
        <p:spPr bwMode="auto">
          <a:xfrm>
            <a:off x="6302375" y="1056090"/>
            <a:ext cx="33338" cy="42863"/>
          </a:xfrm>
          <a:custGeom>
            <a:avLst/>
            <a:gdLst/>
            <a:ahLst/>
            <a:cxnLst>
              <a:cxn ang="0">
                <a:pos x="0" y="6"/>
              </a:cxn>
              <a:cxn ang="0">
                <a:pos x="23" y="2"/>
              </a:cxn>
              <a:cxn ang="0">
                <a:pos x="41" y="1"/>
              </a:cxn>
              <a:cxn ang="0">
                <a:pos x="60" y="0"/>
              </a:cxn>
              <a:cxn ang="0">
                <a:pos x="79" y="0"/>
              </a:cxn>
              <a:cxn ang="0">
                <a:pos x="79" y="9"/>
              </a:cxn>
              <a:cxn ang="0">
                <a:pos x="79" y="18"/>
              </a:cxn>
              <a:cxn ang="0">
                <a:pos x="79" y="22"/>
              </a:cxn>
              <a:cxn ang="0">
                <a:pos x="75" y="27"/>
              </a:cxn>
              <a:cxn ang="0">
                <a:pos x="72" y="31"/>
              </a:cxn>
              <a:cxn ang="0">
                <a:pos x="68" y="35"/>
              </a:cxn>
              <a:cxn ang="0">
                <a:pos x="62" y="38"/>
              </a:cxn>
              <a:cxn ang="0">
                <a:pos x="57" y="40"/>
              </a:cxn>
              <a:cxn ang="0">
                <a:pos x="51" y="42"/>
              </a:cxn>
              <a:cxn ang="0">
                <a:pos x="46" y="42"/>
              </a:cxn>
              <a:cxn ang="0">
                <a:pos x="40" y="42"/>
              </a:cxn>
              <a:cxn ang="0">
                <a:pos x="35" y="41"/>
              </a:cxn>
              <a:cxn ang="0">
                <a:pos x="29" y="39"/>
              </a:cxn>
              <a:cxn ang="0">
                <a:pos x="25" y="37"/>
              </a:cxn>
              <a:cxn ang="0">
                <a:pos x="16" y="32"/>
              </a:cxn>
              <a:cxn ang="0">
                <a:pos x="11" y="26"/>
              </a:cxn>
              <a:cxn ang="0">
                <a:pos x="5" y="20"/>
              </a:cxn>
              <a:cxn ang="0">
                <a:pos x="2" y="14"/>
              </a:cxn>
              <a:cxn ang="0">
                <a:pos x="0" y="9"/>
              </a:cxn>
              <a:cxn ang="0">
                <a:pos x="0" y="6"/>
              </a:cxn>
            </a:cxnLst>
            <a:rect l="0" t="0" r="r" b="b"/>
            <a:pathLst>
              <a:path w="79" h="42">
                <a:moveTo>
                  <a:pt x="0" y="6"/>
                </a:moveTo>
                <a:lnTo>
                  <a:pt x="23" y="2"/>
                </a:lnTo>
                <a:lnTo>
                  <a:pt x="41" y="1"/>
                </a:lnTo>
                <a:lnTo>
                  <a:pt x="60" y="0"/>
                </a:lnTo>
                <a:lnTo>
                  <a:pt x="79" y="0"/>
                </a:lnTo>
                <a:lnTo>
                  <a:pt x="79" y="9"/>
                </a:lnTo>
                <a:lnTo>
                  <a:pt x="79" y="18"/>
                </a:lnTo>
                <a:lnTo>
                  <a:pt x="79" y="22"/>
                </a:lnTo>
                <a:lnTo>
                  <a:pt x="75" y="27"/>
                </a:lnTo>
                <a:lnTo>
                  <a:pt x="72" y="31"/>
                </a:lnTo>
                <a:lnTo>
                  <a:pt x="68" y="35"/>
                </a:lnTo>
                <a:lnTo>
                  <a:pt x="62" y="38"/>
                </a:lnTo>
                <a:lnTo>
                  <a:pt x="57" y="40"/>
                </a:lnTo>
                <a:lnTo>
                  <a:pt x="51" y="42"/>
                </a:lnTo>
                <a:lnTo>
                  <a:pt x="46" y="42"/>
                </a:lnTo>
                <a:lnTo>
                  <a:pt x="40" y="42"/>
                </a:lnTo>
                <a:lnTo>
                  <a:pt x="35" y="41"/>
                </a:lnTo>
                <a:lnTo>
                  <a:pt x="29" y="39"/>
                </a:lnTo>
                <a:lnTo>
                  <a:pt x="25" y="37"/>
                </a:lnTo>
                <a:lnTo>
                  <a:pt x="16" y="32"/>
                </a:lnTo>
                <a:lnTo>
                  <a:pt x="11" y="26"/>
                </a:lnTo>
                <a:lnTo>
                  <a:pt x="5" y="20"/>
                </a:lnTo>
                <a:lnTo>
                  <a:pt x="2" y="14"/>
                </a:lnTo>
                <a:lnTo>
                  <a:pt x="0" y="9"/>
                </a:lnTo>
                <a:lnTo>
                  <a:pt x="0" y="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546" name="Freeform 498"/>
          <p:cNvSpPr>
            <a:spLocks/>
          </p:cNvSpPr>
          <p:nvPr>
            <p:custDataLst>
              <p:tags r:id="rId336"/>
            </p:custDataLst>
          </p:nvPr>
        </p:nvSpPr>
        <p:spPr bwMode="auto">
          <a:xfrm>
            <a:off x="6332545" y="1064421"/>
            <a:ext cx="52387" cy="44054"/>
          </a:xfrm>
          <a:custGeom>
            <a:avLst/>
            <a:gdLst/>
            <a:ahLst/>
            <a:cxnLst>
              <a:cxn ang="0">
                <a:pos x="113" y="39"/>
              </a:cxn>
              <a:cxn ang="0">
                <a:pos x="112" y="42"/>
              </a:cxn>
              <a:cxn ang="0">
                <a:pos x="109" y="45"/>
              </a:cxn>
              <a:cxn ang="0">
                <a:pos x="106" y="47"/>
              </a:cxn>
              <a:cxn ang="0">
                <a:pos x="103" y="49"/>
              </a:cxn>
              <a:cxn ang="0">
                <a:pos x="94" y="51"/>
              </a:cxn>
              <a:cxn ang="0">
                <a:pos x="85" y="52"/>
              </a:cxn>
              <a:cxn ang="0">
                <a:pos x="66" y="52"/>
              </a:cxn>
              <a:cxn ang="0">
                <a:pos x="53" y="51"/>
              </a:cxn>
              <a:cxn ang="0">
                <a:pos x="47" y="51"/>
              </a:cxn>
              <a:cxn ang="0">
                <a:pos x="39" y="48"/>
              </a:cxn>
              <a:cxn ang="0">
                <a:pos x="30" y="45"/>
              </a:cxn>
              <a:cxn ang="0">
                <a:pos x="21" y="41"/>
              </a:cxn>
              <a:cxn ang="0">
                <a:pos x="13" y="36"/>
              </a:cxn>
              <a:cxn ang="0">
                <a:pos x="6" y="31"/>
              </a:cxn>
              <a:cxn ang="0">
                <a:pos x="4" y="28"/>
              </a:cxn>
              <a:cxn ang="0">
                <a:pos x="2" y="25"/>
              </a:cxn>
              <a:cxn ang="0">
                <a:pos x="1" y="22"/>
              </a:cxn>
              <a:cxn ang="0">
                <a:pos x="0" y="20"/>
              </a:cxn>
              <a:cxn ang="0">
                <a:pos x="1" y="15"/>
              </a:cxn>
              <a:cxn ang="0">
                <a:pos x="1" y="11"/>
              </a:cxn>
              <a:cxn ang="0">
                <a:pos x="3" y="8"/>
              </a:cxn>
              <a:cxn ang="0">
                <a:pos x="5" y="5"/>
              </a:cxn>
              <a:cxn ang="0">
                <a:pos x="7" y="3"/>
              </a:cxn>
              <a:cxn ang="0">
                <a:pos x="10" y="2"/>
              </a:cxn>
              <a:cxn ang="0">
                <a:pos x="14" y="1"/>
              </a:cxn>
              <a:cxn ang="0">
                <a:pos x="17" y="0"/>
              </a:cxn>
              <a:cxn ang="0">
                <a:pos x="26" y="0"/>
              </a:cxn>
              <a:cxn ang="0">
                <a:pos x="36" y="2"/>
              </a:cxn>
              <a:cxn ang="0">
                <a:pos x="46" y="5"/>
              </a:cxn>
              <a:cxn ang="0">
                <a:pos x="57" y="9"/>
              </a:cxn>
              <a:cxn ang="0">
                <a:pos x="77" y="18"/>
              </a:cxn>
              <a:cxn ang="0">
                <a:pos x="95" y="29"/>
              </a:cxn>
              <a:cxn ang="0">
                <a:pos x="108" y="36"/>
              </a:cxn>
              <a:cxn ang="0">
                <a:pos x="113" y="39"/>
              </a:cxn>
            </a:cxnLst>
            <a:rect l="0" t="0" r="r" b="b"/>
            <a:pathLst>
              <a:path w="113" h="52">
                <a:moveTo>
                  <a:pt x="113" y="39"/>
                </a:moveTo>
                <a:lnTo>
                  <a:pt x="112" y="42"/>
                </a:lnTo>
                <a:lnTo>
                  <a:pt x="109" y="45"/>
                </a:lnTo>
                <a:lnTo>
                  <a:pt x="106" y="47"/>
                </a:lnTo>
                <a:lnTo>
                  <a:pt x="103" y="49"/>
                </a:lnTo>
                <a:lnTo>
                  <a:pt x="94" y="51"/>
                </a:lnTo>
                <a:lnTo>
                  <a:pt x="85" y="52"/>
                </a:lnTo>
                <a:lnTo>
                  <a:pt x="66" y="52"/>
                </a:lnTo>
                <a:lnTo>
                  <a:pt x="53" y="51"/>
                </a:lnTo>
                <a:lnTo>
                  <a:pt x="47" y="51"/>
                </a:lnTo>
                <a:lnTo>
                  <a:pt x="39" y="48"/>
                </a:lnTo>
                <a:lnTo>
                  <a:pt x="30" y="45"/>
                </a:lnTo>
                <a:lnTo>
                  <a:pt x="21" y="41"/>
                </a:lnTo>
                <a:lnTo>
                  <a:pt x="13" y="36"/>
                </a:lnTo>
                <a:lnTo>
                  <a:pt x="6" y="31"/>
                </a:lnTo>
                <a:lnTo>
                  <a:pt x="4" y="28"/>
                </a:lnTo>
                <a:lnTo>
                  <a:pt x="2" y="25"/>
                </a:lnTo>
                <a:lnTo>
                  <a:pt x="1" y="22"/>
                </a:lnTo>
                <a:lnTo>
                  <a:pt x="0" y="20"/>
                </a:lnTo>
                <a:lnTo>
                  <a:pt x="1" y="15"/>
                </a:lnTo>
                <a:lnTo>
                  <a:pt x="1" y="11"/>
                </a:lnTo>
                <a:lnTo>
                  <a:pt x="3" y="8"/>
                </a:lnTo>
                <a:lnTo>
                  <a:pt x="5" y="5"/>
                </a:lnTo>
                <a:lnTo>
                  <a:pt x="7" y="3"/>
                </a:lnTo>
                <a:lnTo>
                  <a:pt x="10" y="2"/>
                </a:lnTo>
                <a:lnTo>
                  <a:pt x="14" y="1"/>
                </a:lnTo>
                <a:lnTo>
                  <a:pt x="17" y="0"/>
                </a:lnTo>
                <a:lnTo>
                  <a:pt x="26" y="0"/>
                </a:lnTo>
                <a:lnTo>
                  <a:pt x="36" y="2"/>
                </a:lnTo>
                <a:lnTo>
                  <a:pt x="46" y="5"/>
                </a:lnTo>
                <a:lnTo>
                  <a:pt x="57" y="9"/>
                </a:lnTo>
                <a:lnTo>
                  <a:pt x="77" y="18"/>
                </a:lnTo>
                <a:lnTo>
                  <a:pt x="95" y="29"/>
                </a:lnTo>
                <a:lnTo>
                  <a:pt x="108" y="36"/>
                </a:lnTo>
                <a:lnTo>
                  <a:pt x="113" y="3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547" name="Freeform 499"/>
          <p:cNvSpPr>
            <a:spLocks/>
          </p:cNvSpPr>
          <p:nvPr>
            <p:custDataLst>
              <p:tags r:id="rId337"/>
            </p:custDataLst>
          </p:nvPr>
        </p:nvSpPr>
        <p:spPr bwMode="auto">
          <a:xfrm>
            <a:off x="6103942" y="1044188"/>
            <a:ext cx="61912" cy="44053"/>
          </a:xfrm>
          <a:custGeom>
            <a:avLst/>
            <a:gdLst/>
            <a:ahLst/>
            <a:cxnLst>
              <a:cxn ang="0">
                <a:pos x="0" y="8"/>
              </a:cxn>
              <a:cxn ang="0">
                <a:pos x="8" y="9"/>
              </a:cxn>
              <a:cxn ang="0">
                <a:pos x="19" y="8"/>
              </a:cxn>
              <a:cxn ang="0">
                <a:pos x="30" y="7"/>
              </a:cxn>
              <a:cxn ang="0">
                <a:pos x="42" y="5"/>
              </a:cxn>
              <a:cxn ang="0">
                <a:pos x="53" y="2"/>
              </a:cxn>
              <a:cxn ang="0">
                <a:pos x="64" y="1"/>
              </a:cxn>
              <a:cxn ang="0">
                <a:pos x="73" y="0"/>
              </a:cxn>
              <a:cxn ang="0">
                <a:pos x="80" y="2"/>
              </a:cxn>
              <a:cxn ang="0">
                <a:pos x="139" y="39"/>
              </a:cxn>
              <a:cxn ang="0">
                <a:pos x="133" y="40"/>
              </a:cxn>
              <a:cxn ang="0">
                <a:pos x="125" y="39"/>
              </a:cxn>
              <a:cxn ang="0">
                <a:pos x="116" y="38"/>
              </a:cxn>
              <a:cxn ang="0">
                <a:pos x="106" y="36"/>
              </a:cxn>
              <a:cxn ang="0">
                <a:pos x="86" y="30"/>
              </a:cxn>
              <a:cxn ang="0">
                <a:pos x="64" y="24"/>
              </a:cxn>
              <a:cxn ang="0">
                <a:pos x="44" y="16"/>
              </a:cxn>
              <a:cxn ang="0">
                <a:pos x="26" y="11"/>
              </a:cxn>
              <a:cxn ang="0">
                <a:pos x="17" y="9"/>
              </a:cxn>
              <a:cxn ang="0">
                <a:pos x="11" y="7"/>
              </a:cxn>
              <a:cxn ang="0">
                <a:pos x="4" y="7"/>
              </a:cxn>
              <a:cxn ang="0">
                <a:pos x="0" y="8"/>
              </a:cxn>
            </a:cxnLst>
            <a:rect l="0" t="0" r="r" b="b"/>
            <a:pathLst>
              <a:path w="139" h="40">
                <a:moveTo>
                  <a:pt x="0" y="8"/>
                </a:moveTo>
                <a:lnTo>
                  <a:pt x="8" y="9"/>
                </a:lnTo>
                <a:lnTo>
                  <a:pt x="19" y="8"/>
                </a:lnTo>
                <a:lnTo>
                  <a:pt x="30" y="7"/>
                </a:lnTo>
                <a:lnTo>
                  <a:pt x="42" y="5"/>
                </a:lnTo>
                <a:lnTo>
                  <a:pt x="53" y="2"/>
                </a:lnTo>
                <a:lnTo>
                  <a:pt x="64" y="1"/>
                </a:lnTo>
                <a:lnTo>
                  <a:pt x="73" y="0"/>
                </a:lnTo>
                <a:lnTo>
                  <a:pt x="80" y="2"/>
                </a:lnTo>
                <a:lnTo>
                  <a:pt x="139" y="39"/>
                </a:lnTo>
                <a:lnTo>
                  <a:pt x="133" y="40"/>
                </a:lnTo>
                <a:lnTo>
                  <a:pt x="125" y="39"/>
                </a:lnTo>
                <a:lnTo>
                  <a:pt x="116" y="38"/>
                </a:lnTo>
                <a:lnTo>
                  <a:pt x="106" y="36"/>
                </a:lnTo>
                <a:lnTo>
                  <a:pt x="86" y="30"/>
                </a:lnTo>
                <a:lnTo>
                  <a:pt x="64" y="24"/>
                </a:lnTo>
                <a:lnTo>
                  <a:pt x="44" y="16"/>
                </a:lnTo>
                <a:lnTo>
                  <a:pt x="26" y="11"/>
                </a:lnTo>
                <a:lnTo>
                  <a:pt x="17" y="9"/>
                </a:lnTo>
                <a:lnTo>
                  <a:pt x="11" y="7"/>
                </a:lnTo>
                <a:lnTo>
                  <a:pt x="4" y="7"/>
                </a:lnTo>
                <a:lnTo>
                  <a:pt x="0" y="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548" name="Freeform 500"/>
          <p:cNvSpPr>
            <a:spLocks/>
          </p:cNvSpPr>
          <p:nvPr>
            <p:custDataLst>
              <p:tags r:id="rId338"/>
            </p:custDataLst>
          </p:nvPr>
        </p:nvSpPr>
        <p:spPr bwMode="auto">
          <a:xfrm>
            <a:off x="6403975" y="1000129"/>
            <a:ext cx="139700" cy="42863"/>
          </a:xfrm>
          <a:custGeom>
            <a:avLst/>
            <a:gdLst/>
            <a:ahLst/>
            <a:cxnLst>
              <a:cxn ang="0">
                <a:pos x="10" y="7"/>
              </a:cxn>
              <a:cxn ang="0">
                <a:pos x="31" y="1"/>
              </a:cxn>
              <a:cxn ang="0">
                <a:pos x="53" y="0"/>
              </a:cxn>
              <a:cxn ang="0">
                <a:pos x="73" y="4"/>
              </a:cxn>
              <a:cxn ang="0">
                <a:pos x="92" y="10"/>
              </a:cxn>
              <a:cxn ang="0">
                <a:pos x="110" y="18"/>
              </a:cxn>
              <a:cxn ang="0">
                <a:pos x="122" y="29"/>
              </a:cxn>
              <a:cxn ang="0">
                <a:pos x="130" y="38"/>
              </a:cxn>
              <a:cxn ang="0">
                <a:pos x="136" y="34"/>
              </a:cxn>
              <a:cxn ang="0">
                <a:pos x="139" y="15"/>
              </a:cxn>
              <a:cxn ang="0">
                <a:pos x="161" y="7"/>
              </a:cxn>
              <a:cxn ang="0">
                <a:pos x="216" y="13"/>
              </a:cxn>
              <a:cxn ang="0">
                <a:pos x="258" y="23"/>
              </a:cxn>
              <a:cxn ang="0">
                <a:pos x="283" y="32"/>
              </a:cxn>
              <a:cxn ang="0">
                <a:pos x="305" y="43"/>
              </a:cxn>
              <a:cxn ang="0">
                <a:pos x="320" y="55"/>
              </a:cxn>
              <a:cxn ang="0">
                <a:pos x="316" y="64"/>
              </a:cxn>
              <a:cxn ang="0">
                <a:pos x="294" y="68"/>
              </a:cxn>
              <a:cxn ang="0">
                <a:pos x="259" y="71"/>
              </a:cxn>
              <a:cxn ang="0">
                <a:pos x="210" y="70"/>
              </a:cxn>
              <a:cxn ang="0">
                <a:pos x="167" y="68"/>
              </a:cxn>
              <a:cxn ang="0">
                <a:pos x="133" y="69"/>
              </a:cxn>
              <a:cxn ang="0">
                <a:pos x="90" y="71"/>
              </a:cxn>
              <a:cxn ang="0">
                <a:pos x="72" y="68"/>
              </a:cxn>
              <a:cxn ang="0">
                <a:pos x="67" y="64"/>
              </a:cxn>
              <a:cxn ang="0">
                <a:pos x="58" y="61"/>
              </a:cxn>
              <a:cxn ang="0">
                <a:pos x="46" y="59"/>
              </a:cxn>
              <a:cxn ang="0">
                <a:pos x="35" y="53"/>
              </a:cxn>
              <a:cxn ang="0">
                <a:pos x="25" y="45"/>
              </a:cxn>
              <a:cxn ang="0">
                <a:pos x="16" y="39"/>
              </a:cxn>
              <a:cxn ang="0">
                <a:pos x="6" y="37"/>
              </a:cxn>
              <a:cxn ang="0">
                <a:pos x="0" y="22"/>
              </a:cxn>
            </a:cxnLst>
            <a:rect l="0" t="0" r="r" b="b"/>
            <a:pathLst>
              <a:path w="325" h="71">
                <a:moveTo>
                  <a:pt x="0" y="12"/>
                </a:moveTo>
                <a:lnTo>
                  <a:pt x="10" y="7"/>
                </a:lnTo>
                <a:lnTo>
                  <a:pt x="20" y="3"/>
                </a:lnTo>
                <a:lnTo>
                  <a:pt x="31" y="1"/>
                </a:lnTo>
                <a:lnTo>
                  <a:pt x="42" y="0"/>
                </a:lnTo>
                <a:lnTo>
                  <a:pt x="53" y="0"/>
                </a:lnTo>
                <a:lnTo>
                  <a:pt x="62" y="2"/>
                </a:lnTo>
                <a:lnTo>
                  <a:pt x="73" y="4"/>
                </a:lnTo>
                <a:lnTo>
                  <a:pt x="83" y="6"/>
                </a:lnTo>
                <a:lnTo>
                  <a:pt x="92" y="10"/>
                </a:lnTo>
                <a:lnTo>
                  <a:pt x="101" y="14"/>
                </a:lnTo>
                <a:lnTo>
                  <a:pt x="110" y="18"/>
                </a:lnTo>
                <a:lnTo>
                  <a:pt x="116" y="23"/>
                </a:lnTo>
                <a:lnTo>
                  <a:pt x="122" y="29"/>
                </a:lnTo>
                <a:lnTo>
                  <a:pt x="127" y="33"/>
                </a:lnTo>
                <a:lnTo>
                  <a:pt x="130" y="38"/>
                </a:lnTo>
                <a:lnTo>
                  <a:pt x="133" y="43"/>
                </a:lnTo>
                <a:lnTo>
                  <a:pt x="136" y="34"/>
                </a:lnTo>
                <a:lnTo>
                  <a:pt x="138" y="25"/>
                </a:lnTo>
                <a:lnTo>
                  <a:pt x="139" y="15"/>
                </a:lnTo>
                <a:lnTo>
                  <a:pt x="139" y="6"/>
                </a:lnTo>
                <a:lnTo>
                  <a:pt x="161" y="7"/>
                </a:lnTo>
                <a:lnTo>
                  <a:pt x="188" y="9"/>
                </a:lnTo>
                <a:lnTo>
                  <a:pt x="216" y="13"/>
                </a:lnTo>
                <a:lnTo>
                  <a:pt x="245" y="19"/>
                </a:lnTo>
                <a:lnTo>
                  <a:pt x="258" y="23"/>
                </a:lnTo>
                <a:lnTo>
                  <a:pt x="271" y="28"/>
                </a:lnTo>
                <a:lnTo>
                  <a:pt x="283" y="32"/>
                </a:lnTo>
                <a:lnTo>
                  <a:pt x="295" y="37"/>
                </a:lnTo>
                <a:lnTo>
                  <a:pt x="305" y="43"/>
                </a:lnTo>
                <a:lnTo>
                  <a:pt x="314" y="48"/>
                </a:lnTo>
                <a:lnTo>
                  <a:pt x="320" y="55"/>
                </a:lnTo>
                <a:lnTo>
                  <a:pt x="325" y="61"/>
                </a:lnTo>
                <a:lnTo>
                  <a:pt x="316" y="64"/>
                </a:lnTo>
                <a:lnTo>
                  <a:pt x="305" y="67"/>
                </a:lnTo>
                <a:lnTo>
                  <a:pt x="294" y="68"/>
                </a:lnTo>
                <a:lnTo>
                  <a:pt x="283" y="70"/>
                </a:lnTo>
                <a:lnTo>
                  <a:pt x="259" y="71"/>
                </a:lnTo>
                <a:lnTo>
                  <a:pt x="234" y="71"/>
                </a:lnTo>
                <a:lnTo>
                  <a:pt x="210" y="70"/>
                </a:lnTo>
                <a:lnTo>
                  <a:pt x="186" y="69"/>
                </a:lnTo>
                <a:lnTo>
                  <a:pt x="167" y="68"/>
                </a:lnTo>
                <a:lnTo>
                  <a:pt x="152" y="67"/>
                </a:lnTo>
                <a:lnTo>
                  <a:pt x="133" y="69"/>
                </a:lnTo>
                <a:lnTo>
                  <a:pt x="104" y="71"/>
                </a:lnTo>
                <a:lnTo>
                  <a:pt x="90" y="71"/>
                </a:lnTo>
                <a:lnTo>
                  <a:pt x="78" y="70"/>
                </a:lnTo>
                <a:lnTo>
                  <a:pt x="72" y="68"/>
                </a:lnTo>
                <a:lnTo>
                  <a:pt x="69" y="67"/>
                </a:lnTo>
                <a:lnTo>
                  <a:pt x="67" y="64"/>
                </a:lnTo>
                <a:lnTo>
                  <a:pt x="66" y="61"/>
                </a:lnTo>
                <a:lnTo>
                  <a:pt x="58" y="61"/>
                </a:lnTo>
                <a:lnTo>
                  <a:pt x="51" y="60"/>
                </a:lnTo>
                <a:lnTo>
                  <a:pt x="46" y="59"/>
                </a:lnTo>
                <a:lnTo>
                  <a:pt x="42" y="57"/>
                </a:lnTo>
                <a:lnTo>
                  <a:pt x="35" y="53"/>
                </a:lnTo>
                <a:lnTo>
                  <a:pt x="31" y="49"/>
                </a:lnTo>
                <a:lnTo>
                  <a:pt x="25" y="45"/>
                </a:lnTo>
                <a:lnTo>
                  <a:pt x="20" y="41"/>
                </a:lnTo>
                <a:lnTo>
                  <a:pt x="16" y="39"/>
                </a:lnTo>
                <a:lnTo>
                  <a:pt x="12" y="38"/>
                </a:lnTo>
                <a:lnTo>
                  <a:pt x="6" y="37"/>
                </a:lnTo>
                <a:lnTo>
                  <a:pt x="0" y="37"/>
                </a:lnTo>
                <a:lnTo>
                  <a:pt x="0" y="22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549" name="Freeform 501"/>
          <p:cNvSpPr>
            <a:spLocks/>
          </p:cNvSpPr>
          <p:nvPr>
            <p:custDataLst>
              <p:tags r:id="rId339"/>
            </p:custDataLst>
          </p:nvPr>
        </p:nvSpPr>
        <p:spPr bwMode="auto">
          <a:xfrm>
            <a:off x="6564313" y="1006083"/>
            <a:ext cx="95250" cy="42863"/>
          </a:xfrm>
          <a:custGeom>
            <a:avLst/>
            <a:gdLst/>
            <a:ahLst/>
            <a:cxnLst>
              <a:cxn ang="0">
                <a:pos x="87" y="25"/>
              </a:cxn>
              <a:cxn ang="0">
                <a:pos x="92" y="26"/>
              </a:cxn>
              <a:cxn ang="0">
                <a:pos x="98" y="27"/>
              </a:cxn>
              <a:cxn ang="0">
                <a:pos x="101" y="28"/>
              </a:cxn>
              <a:cxn ang="0">
                <a:pos x="104" y="27"/>
              </a:cxn>
              <a:cxn ang="0">
                <a:pos x="109" y="27"/>
              </a:cxn>
              <a:cxn ang="0">
                <a:pos x="113" y="25"/>
              </a:cxn>
              <a:cxn ang="0">
                <a:pos x="114" y="26"/>
              </a:cxn>
              <a:cxn ang="0">
                <a:pos x="115" y="26"/>
              </a:cxn>
              <a:cxn ang="0">
                <a:pos x="116" y="25"/>
              </a:cxn>
              <a:cxn ang="0">
                <a:pos x="117" y="25"/>
              </a:cxn>
              <a:cxn ang="0">
                <a:pos x="119" y="22"/>
              </a:cxn>
              <a:cxn ang="0">
                <a:pos x="120" y="17"/>
              </a:cxn>
              <a:cxn ang="0">
                <a:pos x="120" y="7"/>
              </a:cxn>
              <a:cxn ang="0">
                <a:pos x="120" y="0"/>
              </a:cxn>
              <a:cxn ang="0">
                <a:pos x="125" y="5"/>
              </a:cxn>
              <a:cxn ang="0">
                <a:pos x="131" y="10"/>
              </a:cxn>
              <a:cxn ang="0">
                <a:pos x="137" y="15"/>
              </a:cxn>
              <a:cxn ang="0">
                <a:pos x="143" y="19"/>
              </a:cxn>
              <a:cxn ang="0">
                <a:pos x="156" y="25"/>
              </a:cxn>
              <a:cxn ang="0">
                <a:pos x="170" y="30"/>
              </a:cxn>
              <a:cxn ang="0">
                <a:pos x="183" y="35"/>
              </a:cxn>
              <a:cxn ang="0">
                <a:pos x="196" y="41"/>
              </a:cxn>
              <a:cxn ang="0">
                <a:pos x="203" y="44"/>
              </a:cxn>
              <a:cxn ang="0">
                <a:pos x="209" y="47"/>
              </a:cxn>
              <a:cxn ang="0">
                <a:pos x="214" y="51"/>
              </a:cxn>
              <a:cxn ang="0">
                <a:pos x="220" y="55"/>
              </a:cxn>
              <a:cxn ang="0">
                <a:pos x="206" y="56"/>
              </a:cxn>
              <a:cxn ang="0">
                <a:pos x="194" y="57"/>
              </a:cxn>
              <a:cxn ang="0">
                <a:pos x="182" y="58"/>
              </a:cxn>
              <a:cxn ang="0">
                <a:pos x="171" y="60"/>
              </a:cxn>
              <a:cxn ang="0">
                <a:pos x="151" y="65"/>
              </a:cxn>
              <a:cxn ang="0">
                <a:pos x="134" y="70"/>
              </a:cxn>
              <a:cxn ang="0">
                <a:pos x="126" y="71"/>
              </a:cxn>
              <a:cxn ang="0">
                <a:pos x="117" y="72"/>
              </a:cxn>
              <a:cxn ang="0">
                <a:pos x="110" y="72"/>
              </a:cxn>
              <a:cxn ang="0">
                <a:pos x="103" y="72"/>
              </a:cxn>
              <a:cxn ang="0">
                <a:pos x="95" y="70"/>
              </a:cxn>
              <a:cxn ang="0">
                <a:pos x="88" y="66"/>
              </a:cxn>
              <a:cxn ang="0">
                <a:pos x="81" y="61"/>
              </a:cxn>
              <a:cxn ang="0">
                <a:pos x="74" y="55"/>
              </a:cxn>
              <a:cxn ang="0">
                <a:pos x="59" y="53"/>
              </a:cxn>
              <a:cxn ang="0">
                <a:pos x="45" y="50"/>
              </a:cxn>
              <a:cxn ang="0">
                <a:pos x="33" y="47"/>
              </a:cxn>
              <a:cxn ang="0">
                <a:pos x="22" y="43"/>
              </a:cxn>
              <a:cxn ang="0">
                <a:pos x="18" y="41"/>
              </a:cxn>
              <a:cxn ang="0">
                <a:pos x="13" y="38"/>
              </a:cxn>
              <a:cxn ang="0">
                <a:pos x="9" y="35"/>
              </a:cxn>
              <a:cxn ang="0">
                <a:pos x="7" y="31"/>
              </a:cxn>
              <a:cxn ang="0">
                <a:pos x="3" y="27"/>
              </a:cxn>
              <a:cxn ang="0">
                <a:pos x="2" y="23"/>
              </a:cxn>
              <a:cxn ang="0">
                <a:pos x="1" y="18"/>
              </a:cxn>
              <a:cxn ang="0">
                <a:pos x="0" y="13"/>
              </a:cxn>
              <a:cxn ang="0">
                <a:pos x="23" y="17"/>
              </a:cxn>
              <a:cxn ang="0">
                <a:pos x="44" y="21"/>
              </a:cxn>
              <a:cxn ang="0">
                <a:pos x="64" y="24"/>
              </a:cxn>
              <a:cxn ang="0">
                <a:pos x="87" y="25"/>
              </a:cxn>
            </a:cxnLst>
            <a:rect l="0" t="0" r="r" b="b"/>
            <a:pathLst>
              <a:path w="220" h="72">
                <a:moveTo>
                  <a:pt x="87" y="25"/>
                </a:moveTo>
                <a:lnTo>
                  <a:pt x="92" y="26"/>
                </a:lnTo>
                <a:lnTo>
                  <a:pt x="98" y="27"/>
                </a:lnTo>
                <a:lnTo>
                  <a:pt x="101" y="28"/>
                </a:lnTo>
                <a:lnTo>
                  <a:pt x="104" y="27"/>
                </a:lnTo>
                <a:lnTo>
                  <a:pt x="109" y="27"/>
                </a:lnTo>
                <a:lnTo>
                  <a:pt x="113" y="25"/>
                </a:lnTo>
                <a:lnTo>
                  <a:pt x="114" y="26"/>
                </a:lnTo>
                <a:lnTo>
                  <a:pt x="115" y="26"/>
                </a:lnTo>
                <a:lnTo>
                  <a:pt x="116" y="25"/>
                </a:lnTo>
                <a:lnTo>
                  <a:pt x="117" y="25"/>
                </a:lnTo>
                <a:lnTo>
                  <a:pt x="119" y="22"/>
                </a:lnTo>
                <a:lnTo>
                  <a:pt x="120" y="17"/>
                </a:lnTo>
                <a:lnTo>
                  <a:pt x="120" y="7"/>
                </a:lnTo>
                <a:lnTo>
                  <a:pt x="120" y="0"/>
                </a:lnTo>
                <a:lnTo>
                  <a:pt x="125" y="5"/>
                </a:lnTo>
                <a:lnTo>
                  <a:pt x="131" y="10"/>
                </a:lnTo>
                <a:lnTo>
                  <a:pt x="137" y="15"/>
                </a:lnTo>
                <a:lnTo>
                  <a:pt x="143" y="19"/>
                </a:lnTo>
                <a:lnTo>
                  <a:pt x="156" y="25"/>
                </a:lnTo>
                <a:lnTo>
                  <a:pt x="170" y="30"/>
                </a:lnTo>
                <a:lnTo>
                  <a:pt x="183" y="35"/>
                </a:lnTo>
                <a:lnTo>
                  <a:pt x="196" y="41"/>
                </a:lnTo>
                <a:lnTo>
                  <a:pt x="203" y="44"/>
                </a:lnTo>
                <a:lnTo>
                  <a:pt x="209" y="47"/>
                </a:lnTo>
                <a:lnTo>
                  <a:pt x="214" y="51"/>
                </a:lnTo>
                <a:lnTo>
                  <a:pt x="220" y="55"/>
                </a:lnTo>
                <a:lnTo>
                  <a:pt x="206" y="56"/>
                </a:lnTo>
                <a:lnTo>
                  <a:pt x="194" y="57"/>
                </a:lnTo>
                <a:lnTo>
                  <a:pt x="182" y="58"/>
                </a:lnTo>
                <a:lnTo>
                  <a:pt x="171" y="60"/>
                </a:lnTo>
                <a:lnTo>
                  <a:pt x="151" y="65"/>
                </a:lnTo>
                <a:lnTo>
                  <a:pt x="134" y="70"/>
                </a:lnTo>
                <a:lnTo>
                  <a:pt x="126" y="71"/>
                </a:lnTo>
                <a:lnTo>
                  <a:pt x="117" y="72"/>
                </a:lnTo>
                <a:lnTo>
                  <a:pt x="110" y="72"/>
                </a:lnTo>
                <a:lnTo>
                  <a:pt x="103" y="72"/>
                </a:lnTo>
                <a:lnTo>
                  <a:pt x="95" y="70"/>
                </a:lnTo>
                <a:lnTo>
                  <a:pt x="88" y="66"/>
                </a:lnTo>
                <a:lnTo>
                  <a:pt x="81" y="61"/>
                </a:lnTo>
                <a:lnTo>
                  <a:pt x="74" y="55"/>
                </a:lnTo>
                <a:lnTo>
                  <a:pt x="59" y="53"/>
                </a:lnTo>
                <a:lnTo>
                  <a:pt x="45" y="50"/>
                </a:lnTo>
                <a:lnTo>
                  <a:pt x="33" y="47"/>
                </a:lnTo>
                <a:lnTo>
                  <a:pt x="22" y="43"/>
                </a:lnTo>
                <a:lnTo>
                  <a:pt x="18" y="41"/>
                </a:lnTo>
                <a:lnTo>
                  <a:pt x="13" y="38"/>
                </a:lnTo>
                <a:lnTo>
                  <a:pt x="9" y="35"/>
                </a:lnTo>
                <a:lnTo>
                  <a:pt x="7" y="31"/>
                </a:lnTo>
                <a:lnTo>
                  <a:pt x="3" y="27"/>
                </a:lnTo>
                <a:lnTo>
                  <a:pt x="2" y="23"/>
                </a:lnTo>
                <a:lnTo>
                  <a:pt x="1" y="18"/>
                </a:lnTo>
                <a:lnTo>
                  <a:pt x="0" y="13"/>
                </a:lnTo>
                <a:lnTo>
                  <a:pt x="23" y="17"/>
                </a:lnTo>
                <a:lnTo>
                  <a:pt x="44" y="21"/>
                </a:lnTo>
                <a:lnTo>
                  <a:pt x="64" y="24"/>
                </a:lnTo>
                <a:lnTo>
                  <a:pt x="87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550" name="Freeform 502"/>
          <p:cNvSpPr>
            <a:spLocks/>
          </p:cNvSpPr>
          <p:nvPr>
            <p:custDataLst>
              <p:tags r:id="rId340"/>
            </p:custDataLst>
          </p:nvPr>
        </p:nvSpPr>
        <p:spPr bwMode="auto">
          <a:xfrm>
            <a:off x="6524625" y="1041806"/>
            <a:ext cx="63500" cy="44053"/>
          </a:xfrm>
          <a:custGeom>
            <a:avLst/>
            <a:gdLst/>
            <a:ahLst/>
            <a:cxnLst>
              <a:cxn ang="0">
                <a:pos x="146" y="25"/>
              </a:cxn>
              <a:cxn ang="0">
                <a:pos x="140" y="16"/>
              </a:cxn>
              <a:cxn ang="0">
                <a:pos x="137" y="9"/>
              </a:cxn>
              <a:cxn ang="0">
                <a:pos x="133" y="4"/>
              </a:cxn>
              <a:cxn ang="0">
                <a:pos x="128" y="1"/>
              </a:cxn>
              <a:cxn ang="0">
                <a:pos x="126" y="1"/>
              </a:cxn>
              <a:cxn ang="0">
                <a:pos x="124" y="1"/>
              </a:cxn>
              <a:cxn ang="0">
                <a:pos x="120" y="2"/>
              </a:cxn>
              <a:cxn ang="0">
                <a:pos x="118" y="3"/>
              </a:cxn>
              <a:cxn ang="0">
                <a:pos x="113" y="9"/>
              </a:cxn>
              <a:cxn ang="0">
                <a:pos x="105" y="19"/>
              </a:cxn>
              <a:cxn ang="0">
                <a:pos x="72" y="19"/>
              </a:cxn>
              <a:cxn ang="0">
                <a:pos x="63" y="18"/>
              </a:cxn>
              <a:cxn ang="0">
                <a:pos x="55" y="17"/>
              </a:cxn>
              <a:cxn ang="0">
                <a:pos x="47" y="14"/>
              </a:cxn>
              <a:cxn ang="0">
                <a:pos x="40" y="12"/>
              </a:cxn>
              <a:cxn ang="0">
                <a:pos x="29" y="6"/>
              </a:cxn>
              <a:cxn ang="0">
                <a:pos x="19" y="0"/>
              </a:cxn>
              <a:cxn ang="0">
                <a:pos x="14" y="9"/>
              </a:cxn>
              <a:cxn ang="0">
                <a:pos x="10" y="15"/>
              </a:cxn>
              <a:cxn ang="0">
                <a:pos x="4" y="20"/>
              </a:cxn>
              <a:cxn ang="0">
                <a:pos x="0" y="25"/>
              </a:cxn>
              <a:cxn ang="0">
                <a:pos x="33" y="25"/>
              </a:cxn>
              <a:cxn ang="0">
                <a:pos x="57" y="25"/>
              </a:cxn>
              <a:cxn ang="0">
                <a:pos x="77" y="25"/>
              </a:cxn>
              <a:cxn ang="0">
                <a:pos x="99" y="25"/>
              </a:cxn>
              <a:cxn ang="0">
                <a:pos x="110" y="26"/>
              </a:cxn>
              <a:cxn ang="0">
                <a:pos x="123" y="29"/>
              </a:cxn>
              <a:cxn ang="0">
                <a:pos x="128" y="30"/>
              </a:cxn>
              <a:cxn ang="0">
                <a:pos x="135" y="30"/>
              </a:cxn>
              <a:cxn ang="0">
                <a:pos x="140" y="28"/>
              </a:cxn>
              <a:cxn ang="0">
                <a:pos x="146" y="25"/>
              </a:cxn>
            </a:cxnLst>
            <a:rect l="0" t="0" r="r" b="b"/>
            <a:pathLst>
              <a:path w="146" h="30">
                <a:moveTo>
                  <a:pt x="146" y="25"/>
                </a:moveTo>
                <a:lnTo>
                  <a:pt x="140" y="16"/>
                </a:lnTo>
                <a:lnTo>
                  <a:pt x="137" y="9"/>
                </a:lnTo>
                <a:lnTo>
                  <a:pt x="133" y="4"/>
                </a:lnTo>
                <a:lnTo>
                  <a:pt x="128" y="1"/>
                </a:lnTo>
                <a:lnTo>
                  <a:pt x="126" y="1"/>
                </a:lnTo>
                <a:lnTo>
                  <a:pt x="124" y="1"/>
                </a:lnTo>
                <a:lnTo>
                  <a:pt x="120" y="2"/>
                </a:lnTo>
                <a:lnTo>
                  <a:pt x="118" y="3"/>
                </a:lnTo>
                <a:lnTo>
                  <a:pt x="113" y="9"/>
                </a:lnTo>
                <a:lnTo>
                  <a:pt x="105" y="19"/>
                </a:lnTo>
                <a:lnTo>
                  <a:pt x="72" y="19"/>
                </a:lnTo>
                <a:lnTo>
                  <a:pt x="63" y="18"/>
                </a:lnTo>
                <a:lnTo>
                  <a:pt x="55" y="17"/>
                </a:lnTo>
                <a:lnTo>
                  <a:pt x="47" y="14"/>
                </a:lnTo>
                <a:lnTo>
                  <a:pt x="40" y="12"/>
                </a:lnTo>
                <a:lnTo>
                  <a:pt x="29" y="6"/>
                </a:lnTo>
                <a:lnTo>
                  <a:pt x="19" y="0"/>
                </a:lnTo>
                <a:lnTo>
                  <a:pt x="14" y="9"/>
                </a:lnTo>
                <a:lnTo>
                  <a:pt x="10" y="15"/>
                </a:lnTo>
                <a:lnTo>
                  <a:pt x="4" y="20"/>
                </a:lnTo>
                <a:lnTo>
                  <a:pt x="0" y="25"/>
                </a:lnTo>
                <a:lnTo>
                  <a:pt x="33" y="25"/>
                </a:lnTo>
                <a:lnTo>
                  <a:pt x="57" y="25"/>
                </a:lnTo>
                <a:lnTo>
                  <a:pt x="77" y="25"/>
                </a:lnTo>
                <a:lnTo>
                  <a:pt x="99" y="25"/>
                </a:lnTo>
                <a:lnTo>
                  <a:pt x="110" y="26"/>
                </a:lnTo>
                <a:lnTo>
                  <a:pt x="123" y="29"/>
                </a:lnTo>
                <a:lnTo>
                  <a:pt x="128" y="30"/>
                </a:lnTo>
                <a:lnTo>
                  <a:pt x="135" y="30"/>
                </a:lnTo>
                <a:lnTo>
                  <a:pt x="140" y="28"/>
                </a:lnTo>
                <a:lnTo>
                  <a:pt x="146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551" name="Freeform 503"/>
          <p:cNvSpPr>
            <a:spLocks/>
          </p:cNvSpPr>
          <p:nvPr>
            <p:custDataLst>
              <p:tags r:id="rId341"/>
            </p:custDataLst>
          </p:nvPr>
        </p:nvSpPr>
        <p:spPr bwMode="auto">
          <a:xfrm>
            <a:off x="6503995" y="1039425"/>
            <a:ext cx="20637" cy="44053"/>
          </a:xfrm>
          <a:custGeom>
            <a:avLst/>
            <a:gdLst/>
            <a:ahLst/>
            <a:cxnLst>
              <a:cxn ang="0">
                <a:pos x="0" y="9"/>
              </a:cxn>
              <a:cxn ang="0">
                <a:pos x="17" y="9"/>
              </a:cxn>
              <a:cxn ang="0">
                <a:pos x="29" y="9"/>
              </a:cxn>
              <a:cxn ang="0">
                <a:pos x="40" y="9"/>
              </a:cxn>
              <a:cxn ang="0">
                <a:pos x="53" y="9"/>
              </a:cxn>
              <a:cxn ang="0">
                <a:pos x="46" y="6"/>
              </a:cxn>
              <a:cxn ang="0">
                <a:pos x="38" y="3"/>
              </a:cxn>
              <a:cxn ang="0">
                <a:pos x="31" y="1"/>
              </a:cxn>
              <a:cxn ang="0">
                <a:pos x="25" y="0"/>
              </a:cxn>
              <a:cxn ang="0">
                <a:pos x="19" y="0"/>
              </a:cxn>
              <a:cxn ang="0">
                <a:pos x="14" y="0"/>
              </a:cxn>
              <a:cxn ang="0">
                <a:pos x="9" y="1"/>
              </a:cxn>
              <a:cxn ang="0">
                <a:pos x="6" y="3"/>
              </a:cxn>
            </a:cxnLst>
            <a:rect l="0" t="0" r="r" b="b"/>
            <a:pathLst>
              <a:path w="53" h="9">
                <a:moveTo>
                  <a:pt x="0" y="9"/>
                </a:moveTo>
                <a:lnTo>
                  <a:pt x="17" y="9"/>
                </a:lnTo>
                <a:lnTo>
                  <a:pt x="29" y="9"/>
                </a:lnTo>
                <a:lnTo>
                  <a:pt x="40" y="9"/>
                </a:lnTo>
                <a:lnTo>
                  <a:pt x="53" y="9"/>
                </a:lnTo>
                <a:lnTo>
                  <a:pt x="46" y="6"/>
                </a:lnTo>
                <a:lnTo>
                  <a:pt x="38" y="3"/>
                </a:lnTo>
                <a:lnTo>
                  <a:pt x="31" y="1"/>
                </a:lnTo>
                <a:lnTo>
                  <a:pt x="25" y="0"/>
                </a:lnTo>
                <a:lnTo>
                  <a:pt x="19" y="0"/>
                </a:lnTo>
                <a:lnTo>
                  <a:pt x="14" y="0"/>
                </a:lnTo>
                <a:lnTo>
                  <a:pt x="9" y="1"/>
                </a:lnTo>
                <a:lnTo>
                  <a:pt x="6" y="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552" name="Line 504"/>
          <p:cNvSpPr>
            <a:spLocks noChangeShapeType="1"/>
          </p:cNvSpPr>
          <p:nvPr>
            <p:custDataLst>
              <p:tags r:id="rId342"/>
            </p:custDataLst>
          </p:nvPr>
        </p:nvSpPr>
        <p:spPr bwMode="auto">
          <a:xfrm flipV="1">
            <a:off x="6505575" y="1038227"/>
            <a:ext cx="0" cy="1191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553" name="Freeform 505"/>
          <p:cNvSpPr>
            <a:spLocks/>
          </p:cNvSpPr>
          <p:nvPr>
            <p:custDataLst>
              <p:tags r:id="rId343"/>
            </p:custDataLst>
          </p:nvPr>
        </p:nvSpPr>
        <p:spPr bwMode="auto">
          <a:xfrm>
            <a:off x="5675313" y="984651"/>
            <a:ext cx="11112" cy="41672"/>
          </a:xfrm>
          <a:custGeom>
            <a:avLst/>
            <a:gdLst/>
            <a:ahLst/>
            <a:cxnLst>
              <a:cxn ang="0">
                <a:pos x="0" y="25"/>
              </a:cxn>
              <a:cxn ang="0">
                <a:pos x="5" y="17"/>
              </a:cxn>
              <a:cxn ang="0">
                <a:pos x="13" y="8"/>
              </a:cxn>
              <a:cxn ang="0">
                <a:pos x="16" y="5"/>
              </a:cxn>
              <a:cxn ang="0">
                <a:pos x="20" y="2"/>
              </a:cxn>
              <a:cxn ang="0">
                <a:pos x="23" y="1"/>
              </a:cxn>
              <a:cxn ang="0">
                <a:pos x="26" y="0"/>
              </a:cxn>
              <a:cxn ang="0">
                <a:pos x="26" y="25"/>
              </a:cxn>
              <a:cxn ang="0">
                <a:pos x="20" y="25"/>
              </a:cxn>
              <a:cxn ang="0">
                <a:pos x="13" y="25"/>
              </a:cxn>
              <a:cxn ang="0">
                <a:pos x="0" y="25"/>
              </a:cxn>
            </a:cxnLst>
            <a:rect l="0" t="0" r="r" b="b"/>
            <a:pathLst>
              <a:path w="26" h="25">
                <a:moveTo>
                  <a:pt x="0" y="25"/>
                </a:moveTo>
                <a:lnTo>
                  <a:pt x="5" y="17"/>
                </a:lnTo>
                <a:lnTo>
                  <a:pt x="13" y="8"/>
                </a:lnTo>
                <a:lnTo>
                  <a:pt x="16" y="5"/>
                </a:lnTo>
                <a:lnTo>
                  <a:pt x="20" y="2"/>
                </a:lnTo>
                <a:lnTo>
                  <a:pt x="23" y="1"/>
                </a:lnTo>
                <a:lnTo>
                  <a:pt x="26" y="0"/>
                </a:lnTo>
                <a:lnTo>
                  <a:pt x="26" y="25"/>
                </a:lnTo>
                <a:lnTo>
                  <a:pt x="20" y="25"/>
                </a:lnTo>
                <a:lnTo>
                  <a:pt x="13" y="25"/>
                </a:lnTo>
                <a:lnTo>
                  <a:pt x="0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554" name="Freeform 506"/>
          <p:cNvSpPr>
            <a:spLocks/>
          </p:cNvSpPr>
          <p:nvPr>
            <p:custDataLst>
              <p:tags r:id="rId344"/>
            </p:custDataLst>
          </p:nvPr>
        </p:nvSpPr>
        <p:spPr bwMode="auto">
          <a:xfrm>
            <a:off x="6424620" y="1038229"/>
            <a:ext cx="9525" cy="42863"/>
          </a:xfrm>
          <a:custGeom>
            <a:avLst/>
            <a:gdLst/>
            <a:ahLst/>
            <a:cxnLst>
              <a:cxn ang="0">
                <a:pos x="33" y="25"/>
              </a:cxn>
              <a:cxn ang="0">
                <a:pos x="33" y="12"/>
              </a:cxn>
              <a:cxn ang="0">
                <a:pos x="33" y="0"/>
              </a:cxn>
              <a:cxn ang="0">
                <a:pos x="0" y="0"/>
              </a:cxn>
              <a:cxn ang="0">
                <a:pos x="9" y="9"/>
              </a:cxn>
              <a:cxn ang="0">
                <a:pos x="16" y="17"/>
              </a:cxn>
              <a:cxn ang="0">
                <a:pos x="20" y="20"/>
              </a:cxn>
              <a:cxn ang="0">
                <a:pos x="24" y="23"/>
              </a:cxn>
              <a:cxn ang="0">
                <a:pos x="28" y="24"/>
              </a:cxn>
              <a:cxn ang="0">
                <a:pos x="33" y="25"/>
              </a:cxn>
            </a:cxnLst>
            <a:rect l="0" t="0" r="r" b="b"/>
            <a:pathLst>
              <a:path w="33" h="25">
                <a:moveTo>
                  <a:pt x="33" y="25"/>
                </a:moveTo>
                <a:lnTo>
                  <a:pt x="33" y="12"/>
                </a:lnTo>
                <a:lnTo>
                  <a:pt x="33" y="0"/>
                </a:lnTo>
                <a:lnTo>
                  <a:pt x="0" y="0"/>
                </a:lnTo>
                <a:lnTo>
                  <a:pt x="9" y="9"/>
                </a:lnTo>
                <a:lnTo>
                  <a:pt x="16" y="17"/>
                </a:lnTo>
                <a:lnTo>
                  <a:pt x="20" y="20"/>
                </a:lnTo>
                <a:lnTo>
                  <a:pt x="24" y="23"/>
                </a:lnTo>
                <a:lnTo>
                  <a:pt x="28" y="24"/>
                </a:lnTo>
                <a:lnTo>
                  <a:pt x="33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555" name="Freeform 507"/>
          <p:cNvSpPr>
            <a:spLocks/>
          </p:cNvSpPr>
          <p:nvPr>
            <p:custDataLst>
              <p:tags r:id="rId345"/>
            </p:custDataLst>
          </p:nvPr>
        </p:nvSpPr>
        <p:spPr bwMode="auto">
          <a:xfrm>
            <a:off x="6378582" y="1010845"/>
            <a:ext cx="9525" cy="4286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3" y="18"/>
              </a:cxn>
              <a:cxn ang="0">
                <a:pos x="16" y="11"/>
              </a:cxn>
              <a:cxn ang="0">
                <a:pos x="20" y="0"/>
              </a:cxn>
              <a:cxn ang="0">
                <a:pos x="0" y="0"/>
              </a:cxn>
            </a:cxnLst>
            <a:rect l="0" t="0" r="r" b="b"/>
            <a:pathLst>
              <a:path w="20" h="18">
                <a:moveTo>
                  <a:pt x="0" y="0"/>
                </a:moveTo>
                <a:lnTo>
                  <a:pt x="13" y="18"/>
                </a:lnTo>
                <a:lnTo>
                  <a:pt x="16" y="11"/>
                </a:lnTo>
                <a:lnTo>
                  <a:pt x="2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556" name="Freeform 508"/>
          <p:cNvSpPr>
            <a:spLocks/>
          </p:cNvSpPr>
          <p:nvPr>
            <p:custDataLst>
              <p:tags r:id="rId346"/>
            </p:custDataLst>
          </p:nvPr>
        </p:nvSpPr>
        <p:spPr bwMode="auto">
          <a:xfrm>
            <a:off x="6878638" y="1438277"/>
            <a:ext cx="12700" cy="44054"/>
          </a:xfrm>
          <a:custGeom>
            <a:avLst/>
            <a:gdLst/>
            <a:ahLst/>
            <a:cxnLst>
              <a:cxn ang="0">
                <a:pos x="0" y="31"/>
              </a:cxn>
              <a:cxn ang="0">
                <a:pos x="0" y="0"/>
              </a:cxn>
              <a:cxn ang="0">
                <a:pos x="9" y="0"/>
              </a:cxn>
              <a:cxn ang="0">
                <a:pos x="16" y="0"/>
              </a:cxn>
              <a:cxn ang="0">
                <a:pos x="24" y="0"/>
              </a:cxn>
              <a:cxn ang="0">
                <a:pos x="33" y="0"/>
              </a:cxn>
              <a:cxn ang="0">
                <a:pos x="30" y="2"/>
              </a:cxn>
              <a:cxn ang="0">
                <a:pos x="29" y="5"/>
              </a:cxn>
              <a:cxn ang="0">
                <a:pos x="28" y="9"/>
              </a:cxn>
              <a:cxn ang="0">
                <a:pos x="28" y="13"/>
              </a:cxn>
              <a:cxn ang="0">
                <a:pos x="28" y="17"/>
              </a:cxn>
              <a:cxn ang="0">
                <a:pos x="29" y="21"/>
              </a:cxn>
              <a:cxn ang="0">
                <a:pos x="30" y="26"/>
              </a:cxn>
              <a:cxn ang="0">
                <a:pos x="33" y="31"/>
              </a:cxn>
              <a:cxn ang="0">
                <a:pos x="0" y="31"/>
              </a:cxn>
            </a:cxnLst>
            <a:rect l="0" t="0" r="r" b="b"/>
            <a:pathLst>
              <a:path w="33" h="31">
                <a:moveTo>
                  <a:pt x="0" y="31"/>
                </a:moveTo>
                <a:lnTo>
                  <a:pt x="0" y="0"/>
                </a:lnTo>
                <a:lnTo>
                  <a:pt x="9" y="0"/>
                </a:lnTo>
                <a:lnTo>
                  <a:pt x="16" y="0"/>
                </a:lnTo>
                <a:lnTo>
                  <a:pt x="24" y="0"/>
                </a:lnTo>
                <a:lnTo>
                  <a:pt x="33" y="0"/>
                </a:lnTo>
                <a:lnTo>
                  <a:pt x="30" y="2"/>
                </a:lnTo>
                <a:lnTo>
                  <a:pt x="29" y="5"/>
                </a:lnTo>
                <a:lnTo>
                  <a:pt x="28" y="9"/>
                </a:lnTo>
                <a:lnTo>
                  <a:pt x="28" y="13"/>
                </a:lnTo>
                <a:lnTo>
                  <a:pt x="28" y="17"/>
                </a:lnTo>
                <a:lnTo>
                  <a:pt x="29" y="21"/>
                </a:lnTo>
                <a:lnTo>
                  <a:pt x="30" y="26"/>
                </a:lnTo>
                <a:lnTo>
                  <a:pt x="33" y="31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557" name="Freeform 509"/>
          <p:cNvSpPr>
            <a:spLocks/>
          </p:cNvSpPr>
          <p:nvPr>
            <p:custDataLst>
              <p:tags r:id="rId347"/>
            </p:custDataLst>
          </p:nvPr>
        </p:nvSpPr>
        <p:spPr bwMode="auto">
          <a:xfrm>
            <a:off x="7172332" y="1079906"/>
            <a:ext cx="55563" cy="44053"/>
          </a:xfrm>
          <a:custGeom>
            <a:avLst/>
            <a:gdLst/>
            <a:ahLst/>
            <a:cxnLst>
              <a:cxn ang="0">
                <a:pos x="3" y="44"/>
              </a:cxn>
              <a:cxn ang="0">
                <a:pos x="1" y="42"/>
              </a:cxn>
              <a:cxn ang="0">
                <a:pos x="1" y="40"/>
              </a:cxn>
              <a:cxn ang="0">
                <a:pos x="0" y="37"/>
              </a:cxn>
              <a:cxn ang="0">
                <a:pos x="1" y="33"/>
              </a:cxn>
              <a:cxn ang="0">
                <a:pos x="2" y="25"/>
              </a:cxn>
              <a:cxn ang="0">
                <a:pos x="3" y="18"/>
              </a:cxn>
              <a:cxn ang="0">
                <a:pos x="9" y="13"/>
              </a:cxn>
              <a:cxn ang="0">
                <a:pos x="16" y="9"/>
              </a:cxn>
              <a:cxn ang="0">
                <a:pos x="21" y="6"/>
              </a:cxn>
              <a:cxn ang="0">
                <a:pos x="27" y="5"/>
              </a:cxn>
              <a:cxn ang="0">
                <a:pos x="39" y="3"/>
              </a:cxn>
              <a:cxn ang="0">
                <a:pos x="57" y="0"/>
              </a:cxn>
              <a:cxn ang="0">
                <a:pos x="60" y="5"/>
              </a:cxn>
              <a:cxn ang="0">
                <a:pos x="64" y="8"/>
              </a:cxn>
              <a:cxn ang="0">
                <a:pos x="69" y="11"/>
              </a:cxn>
              <a:cxn ang="0">
                <a:pos x="73" y="14"/>
              </a:cxn>
              <a:cxn ang="0">
                <a:pos x="83" y="18"/>
              </a:cxn>
              <a:cxn ang="0">
                <a:pos x="93" y="21"/>
              </a:cxn>
              <a:cxn ang="0">
                <a:pos x="103" y="25"/>
              </a:cxn>
              <a:cxn ang="0">
                <a:pos x="113" y="29"/>
              </a:cxn>
              <a:cxn ang="0">
                <a:pos x="117" y="32"/>
              </a:cxn>
              <a:cxn ang="0">
                <a:pos x="121" y="35"/>
              </a:cxn>
              <a:cxn ang="0">
                <a:pos x="126" y="38"/>
              </a:cxn>
              <a:cxn ang="0">
                <a:pos x="129" y="44"/>
              </a:cxn>
              <a:cxn ang="0">
                <a:pos x="119" y="48"/>
              </a:cxn>
              <a:cxn ang="0">
                <a:pos x="109" y="51"/>
              </a:cxn>
              <a:cxn ang="0">
                <a:pos x="99" y="53"/>
              </a:cxn>
              <a:cxn ang="0">
                <a:pos x="90" y="54"/>
              </a:cxn>
              <a:cxn ang="0">
                <a:pos x="70" y="56"/>
              </a:cxn>
              <a:cxn ang="0">
                <a:pos x="49" y="56"/>
              </a:cxn>
              <a:cxn ang="0">
                <a:pos x="40" y="55"/>
              </a:cxn>
              <a:cxn ang="0">
                <a:pos x="31" y="54"/>
              </a:cxn>
              <a:cxn ang="0">
                <a:pos x="23" y="52"/>
              </a:cxn>
              <a:cxn ang="0">
                <a:pos x="16" y="50"/>
              </a:cxn>
              <a:cxn ang="0">
                <a:pos x="6" y="46"/>
              </a:cxn>
              <a:cxn ang="0">
                <a:pos x="3" y="44"/>
              </a:cxn>
            </a:cxnLst>
            <a:rect l="0" t="0" r="r" b="b"/>
            <a:pathLst>
              <a:path w="129" h="56">
                <a:moveTo>
                  <a:pt x="3" y="44"/>
                </a:moveTo>
                <a:lnTo>
                  <a:pt x="1" y="42"/>
                </a:lnTo>
                <a:lnTo>
                  <a:pt x="1" y="40"/>
                </a:lnTo>
                <a:lnTo>
                  <a:pt x="0" y="37"/>
                </a:lnTo>
                <a:lnTo>
                  <a:pt x="1" y="33"/>
                </a:lnTo>
                <a:lnTo>
                  <a:pt x="2" y="25"/>
                </a:lnTo>
                <a:lnTo>
                  <a:pt x="3" y="18"/>
                </a:lnTo>
                <a:lnTo>
                  <a:pt x="9" y="13"/>
                </a:lnTo>
                <a:lnTo>
                  <a:pt x="16" y="9"/>
                </a:lnTo>
                <a:lnTo>
                  <a:pt x="21" y="6"/>
                </a:lnTo>
                <a:lnTo>
                  <a:pt x="27" y="5"/>
                </a:lnTo>
                <a:lnTo>
                  <a:pt x="39" y="3"/>
                </a:lnTo>
                <a:lnTo>
                  <a:pt x="57" y="0"/>
                </a:lnTo>
                <a:lnTo>
                  <a:pt x="60" y="5"/>
                </a:lnTo>
                <a:lnTo>
                  <a:pt x="64" y="8"/>
                </a:lnTo>
                <a:lnTo>
                  <a:pt x="69" y="11"/>
                </a:lnTo>
                <a:lnTo>
                  <a:pt x="73" y="14"/>
                </a:lnTo>
                <a:lnTo>
                  <a:pt x="83" y="18"/>
                </a:lnTo>
                <a:lnTo>
                  <a:pt x="93" y="21"/>
                </a:lnTo>
                <a:lnTo>
                  <a:pt x="103" y="25"/>
                </a:lnTo>
                <a:lnTo>
                  <a:pt x="113" y="29"/>
                </a:lnTo>
                <a:lnTo>
                  <a:pt x="117" y="32"/>
                </a:lnTo>
                <a:lnTo>
                  <a:pt x="121" y="35"/>
                </a:lnTo>
                <a:lnTo>
                  <a:pt x="126" y="38"/>
                </a:lnTo>
                <a:lnTo>
                  <a:pt x="129" y="44"/>
                </a:lnTo>
                <a:lnTo>
                  <a:pt x="119" y="48"/>
                </a:lnTo>
                <a:lnTo>
                  <a:pt x="109" y="51"/>
                </a:lnTo>
                <a:lnTo>
                  <a:pt x="99" y="53"/>
                </a:lnTo>
                <a:lnTo>
                  <a:pt x="90" y="54"/>
                </a:lnTo>
                <a:lnTo>
                  <a:pt x="70" y="56"/>
                </a:lnTo>
                <a:lnTo>
                  <a:pt x="49" y="56"/>
                </a:lnTo>
                <a:lnTo>
                  <a:pt x="40" y="55"/>
                </a:lnTo>
                <a:lnTo>
                  <a:pt x="31" y="54"/>
                </a:lnTo>
                <a:lnTo>
                  <a:pt x="23" y="52"/>
                </a:lnTo>
                <a:lnTo>
                  <a:pt x="16" y="50"/>
                </a:lnTo>
                <a:lnTo>
                  <a:pt x="6" y="46"/>
                </a:lnTo>
                <a:lnTo>
                  <a:pt x="3" y="4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558" name="Freeform 510"/>
          <p:cNvSpPr>
            <a:spLocks/>
          </p:cNvSpPr>
          <p:nvPr>
            <p:custDataLst>
              <p:tags r:id="rId348"/>
            </p:custDataLst>
          </p:nvPr>
        </p:nvSpPr>
        <p:spPr bwMode="auto">
          <a:xfrm>
            <a:off x="7308854" y="1344220"/>
            <a:ext cx="14288" cy="42863"/>
          </a:xfrm>
          <a:custGeom>
            <a:avLst/>
            <a:gdLst/>
            <a:ahLst/>
            <a:cxnLst>
              <a:cxn ang="0">
                <a:pos x="21" y="42"/>
              </a:cxn>
              <a:cxn ang="0">
                <a:pos x="0" y="30"/>
              </a:cxn>
              <a:cxn ang="0">
                <a:pos x="0" y="6"/>
              </a:cxn>
              <a:cxn ang="0">
                <a:pos x="7" y="5"/>
              </a:cxn>
              <a:cxn ang="0">
                <a:pos x="14" y="3"/>
              </a:cxn>
              <a:cxn ang="0">
                <a:pos x="24" y="1"/>
              </a:cxn>
              <a:cxn ang="0">
                <a:pos x="34" y="0"/>
              </a:cxn>
              <a:cxn ang="0">
                <a:pos x="34" y="18"/>
              </a:cxn>
              <a:cxn ang="0">
                <a:pos x="41" y="18"/>
              </a:cxn>
              <a:cxn ang="0">
                <a:pos x="21" y="42"/>
              </a:cxn>
            </a:cxnLst>
            <a:rect l="0" t="0" r="r" b="b"/>
            <a:pathLst>
              <a:path w="41" h="42">
                <a:moveTo>
                  <a:pt x="21" y="42"/>
                </a:moveTo>
                <a:lnTo>
                  <a:pt x="0" y="30"/>
                </a:lnTo>
                <a:lnTo>
                  <a:pt x="0" y="6"/>
                </a:lnTo>
                <a:lnTo>
                  <a:pt x="7" y="5"/>
                </a:lnTo>
                <a:lnTo>
                  <a:pt x="14" y="3"/>
                </a:lnTo>
                <a:lnTo>
                  <a:pt x="24" y="1"/>
                </a:lnTo>
                <a:lnTo>
                  <a:pt x="34" y="0"/>
                </a:lnTo>
                <a:lnTo>
                  <a:pt x="34" y="18"/>
                </a:lnTo>
                <a:lnTo>
                  <a:pt x="41" y="18"/>
                </a:lnTo>
                <a:lnTo>
                  <a:pt x="21" y="4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559" name="Freeform 511"/>
          <p:cNvSpPr>
            <a:spLocks/>
          </p:cNvSpPr>
          <p:nvPr>
            <p:custDataLst>
              <p:tags r:id="rId349"/>
            </p:custDataLst>
          </p:nvPr>
        </p:nvSpPr>
        <p:spPr bwMode="auto">
          <a:xfrm>
            <a:off x="7458082" y="1428752"/>
            <a:ext cx="42863" cy="45244"/>
          </a:xfrm>
          <a:custGeom>
            <a:avLst/>
            <a:gdLst/>
            <a:ahLst/>
            <a:cxnLst>
              <a:cxn ang="0">
                <a:pos x="60" y="9"/>
              </a:cxn>
              <a:cxn ang="0">
                <a:pos x="67" y="18"/>
              </a:cxn>
              <a:cxn ang="0">
                <a:pos x="77" y="28"/>
              </a:cxn>
              <a:cxn ang="0">
                <a:pos x="81" y="33"/>
              </a:cxn>
              <a:cxn ang="0">
                <a:pos x="86" y="36"/>
              </a:cxn>
              <a:cxn ang="0">
                <a:pos x="90" y="38"/>
              </a:cxn>
              <a:cxn ang="0">
                <a:pos x="93" y="39"/>
              </a:cxn>
              <a:cxn ang="0">
                <a:pos x="60" y="39"/>
              </a:cxn>
              <a:cxn ang="0">
                <a:pos x="50" y="36"/>
              </a:cxn>
              <a:cxn ang="0">
                <a:pos x="43" y="32"/>
              </a:cxn>
              <a:cxn ang="0">
                <a:pos x="36" y="28"/>
              </a:cxn>
              <a:cxn ang="0">
                <a:pos x="30" y="23"/>
              </a:cxn>
              <a:cxn ang="0">
                <a:pos x="24" y="18"/>
              </a:cxn>
              <a:cxn ang="0">
                <a:pos x="16" y="13"/>
              </a:cxn>
              <a:cxn ang="0">
                <a:pos x="9" y="7"/>
              </a:cxn>
              <a:cxn ang="0">
                <a:pos x="0" y="3"/>
              </a:cxn>
              <a:cxn ang="0">
                <a:pos x="11" y="1"/>
              </a:cxn>
              <a:cxn ang="0">
                <a:pos x="20" y="0"/>
              </a:cxn>
              <a:cxn ang="0">
                <a:pos x="26" y="0"/>
              </a:cxn>
              <a:cxn ang="0">
                <a:pos x="33" y="1"/>
              </a:cxn>
              <a:cxn ang="0">
                <a:pos x="44" y="4"/>
              </a:cxn>
              <a:cxn ang="0">
                <a:pos x="60" y="9"/>
              </a:cxn>
            </a:cxnLst>
            <a:rect l="0" t="0" r="r" b="b"/>
            <a:pathLst>
              <a:path w="93" h="39">
                <a:moveTo>
                  <a:pt x="60" y="9"/>
                </a:moveTo>
                <a:lnTo>
                  <a:pt x="67" y="18"/>
                </a:lnTo>
                <a:lnTo>
                  <a:pt x="77" y="28"/>
                </a:lnTo>
                <a:lnTo>
                  <a:pt x="81" y="33"/>
                </a:lnTo>
                <a:lnTo>
                  <a:pt x="86" y="36"/>
                </a:lnTo>
                <a:lnTo>
                  <a:pt x="90" y="38"/>
                </a:lnTo>
                <a:lnTo>
                  <a:pt x="93" y="39"/>
                </a:lnTo>
                <a:lnTo>
                  <a:pt x="60" y="39"/>
                </a:lnTo>
                <a:lnTo>
                  <a:pt x="50" y="36"/>
                </a:lnTo>
                <a:lnTo>
                  <a:pt x="43" y="32"/>
                </a:lnTo>
                <a:lnTo>
                  <a:pt x="36" y="28"/>
                </a:lnTo>
                <a:lnTo>
                  <a:pt x="30" y="23"/>
                </a:lnTo>
                <a:lnTo>
                  <a:pt x="24" y="18"/>
                </a:lnTo>
                <a:lnTo>
                  <a:pt x="16" y="13"/>
                </a:lnTo>
                <a:lnTo>
                  <a:pt x="9" y="7"/>
                </a:lnTo>
                <a:lnTo>
                  <a:pt x="0" y="3"/>
                </a:lnTo>
                <a:lnTo>
                  <a:pt x="11" y="1"/>
                </a:lnTo>
                <a:lnTo>
                  <a:pt x="20" y="0"/>
                </a:lnTo>
                <a:lnTo>
                  <a:pt x="26" y="0"/>
                </a:lnTo>
                <a:lnTo>
                  <a:pt x="33" y="1"/>
                </a:lnTo>
                <a:lnTo>
                  <a:pt x="44" y="4"/>
                </a:lnTo>
                <a:lnTo>
                  <a:pt x="60" y="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560" name="Freeform 512"/>
          <p:cNvSpPr>
            <a:spLocks/>
          </p:cNvSpPr>
          <p:nvPr>
            <p:custDataLst>
              <p:tags r:id="rId350"/>
            </p:custDataLst>
          </p:nvPr>
        </p:nvSpPr>
        <p:spPr bwMode="auto">
          <a:xfrm>
            <a:off x="7508875" y="1440660"/>
            <a:ext cx="19050" cy="44054"/>
          </a:xfrm>
          <a:custGeom>
            <a:avLst/>
            <a:gdLst/>
            <a:ahLst/>
            <a:cxnLst>
              <a:cxn ang="0">
                <a:pos x="39" y="19"/>
              </a:cxn>
              <a:cxn ang="0">
                <a:pos x="13" y="19"/>
              </a:cxn>
              <a:cxn ang="0">
                <a:pos x="8" y="19"/>
              </a:cxn>
              <a:cxn ang="0">
                <a:pos x="5" y="17"/>
              </a:cxn>
              <a:cxn ang="0">
                <a:pos x="3" y="14"/>
              </a:cxn>
              <a:cxn ang="0">
                <a:pos x="2" y="11"/>
              </a:cxn>
              <a:cxn ang="0">
                <a:pos x="0" y="5"/>
              </a:cxn>
              <a:cxn ang="0">
                <a:pos x="0" y="0"/>
              </a:cxn>
              <a:cxn ang="0">
                <a:pos x="13" y="4"/>
              </a:cxn>
              <a:cxn ang="0">
                <a:pos x="22" y="9"/>
              </a:cxn>
              <a:cxn ang="0">
                <a:pos x="30" y="14"/>
              </a:cxn>
              <a:cxn ang="0">
                <a:pos x="39" y="19"/>
              </a:cxn>
            </a:cxnLst>
            <a:rect l="0" t="0" r="r" b="b"/>
            <a:pathLst>
              <a:path w="39" h="19">
                <a:moveTo>
                  <a:pt x="39" y="19"/>
                </a:moveTo>
                <a:lnTo>
                  <a:pt x="13" y="19"/>
                </a:lnTo>
                <a:lnTo>
                  <a:pt x="8" y="19"/>
                </a:lnTo>
                <a:lnTo>
                  <a:pt x="5" y="17"/>
                </a:lnTo>
                <a:lnTo>
                  <a:pt x="3" y="14"/>
                </a:lnTo>
                <a:lnTo>
                  <a:pt x="2" y="11"/>
                </a:lnTo>
                <a:lnTo>
                  <a:pt x="0" y="5"/>
                </a:lnTo>
                <a:lnTo>
                  <a:pt x="0" y="0"/>
                </a:lnTo>
                <a:lnTo>
                  <a:pt x="13" y="4"/>
                </a:lnTo>
                <a:lnTo>
                  <a:pt x="22" y="9"/>
                </a:lnTo>
                <a:lnTo>
                  <a:pt x="30" y="14"/>
                </a:lnTo>
                <a:lnTo>
                  <a:pt x="39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561" name="Freeform 513"/>
          <p:cNvSpPr>
            <a:spLocks/>
          </p:cNvSpPr>
          <p:nvPr>
            <p:custDataLst>
              <p:tags r:id="rId351"/>
            </p:custDataLst>
          </p:nvPr>
        </p:nvSpPr>
        <p:spPr bwMode="auto">
          <a:xfrm>
            <a:off x="7373938" y="1535910"/>
            <a:ext cx="14287" cy="42863"/>
          </a:xfrm>
          <a:custGeom>
            <a:avLst/>
            <a:gdLst/>
            <a:ahLst/>
            <a:cxnLst>
              <a:cxn ang="0">
                <a:pos x="0" y="36"/>
              </a:cxn>
              <a:cxn ang="0">
                <a:pos x="3" y="31"/>
              </a:cxn>
              <a:cxn ang="0">
                <a:pos x="10" y="20"/>
              </a:cxn>
              <a:cxn ang="0">
                <a:pos x="18" y="8"/>
              </a:cxn>
              <a:cxn ang="0">
                <a:pos x="26" y="0"/>
              </a:cxn>
              <a:cxn ang="0">
                <a:pos x="26" y="9"/>
              </a:cxn>
              <a:cxn ang="0">
                <a:pos x="26" y="18"/>
              </a:cxn>
              <a:cxn ang="0">
                <a:pos x="25" y="22"/>
              </a:cxn>
              <a:cxn ang="0">
                <a:pos x="24" y="26"/>
              </a:cxn>
              <a:cxn ang="0">
                <a:pos x="21" y="29"/>
              </a:cxn>
              <a:cxn ang="0">
                <a:pos x="17" y="32"/>
              </a:cxn>
              <a:cxn ang="0">
                <a:pos x="14" y="34"/>
              </a:cxn>
              <a:cxn ang="0">
                <a:pos x="10" y="35"/>
              </a:cxn>
              <a:cxn ang="0">
                <a:pos x="4" y="36"/>
              </a:cxn>
              <a:cxn ang="0">
                <a:pos x="0" y="36"/>
              </a:cxn>
            </a:cxnLst>
            <a:rect l="0" t="0" r="r" b="b"/>
            <a:pathLst>
              <a:path w="26" h="36">
                <a:moveTo>
                  <a:pt x="0" y="36"/>
                </a:moveTo>
                <a:lnTo>
                  <a:pt x="3" y="31"/>
                </a:lnTo>
                <a:lnTo>
                  <a:pt x="10" y="20"/>
                </a:lnTo>
                <a:lnTo>
                  <a:pt x="18" y="8"/>
                </a:lnTo>
                <a:lnTo>
                  <a:pt x="26" y="0"/>
                </a:lnTo>
                <a:lnTo>
                  <a:pt x="26" y="9"/>
                </a:lnTo>
                <a:lnTo>
                  <a:pt x="26" y="18"/>
                </a:lnTo>
                <a:lnTo>
                  <a:pt x="25" y="22"/>
                </a:lnTo>
                <a:lnTo>
                  <a:pt x="24" y="26"/>
                </a:lnTo>
                <a:lnTo>
                  <a:pt x="21" y="29"/>
                </a:lnTo>
                <a:lnTo>
                  <a:pt x="17" y="32"/>
                </a:lnTo>
                <a:lnTo>
                  <a:pt x="14" y="34"/>
                </a:lnTo>
                <a:lnTo>
                  <a:pt x="10" y="35"/>
                </a:lnTo>
                <a:lnTo>
                  <a:pt x="4" y="36"/>
                </a:lnTo>
                <a:lnTo>
                  <a:pt x="0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562" name="Freeform 514"/>
          <p:cNvSpPr>
            <a:spLocks/>
          </p:cNvSpPr>
          <p:nvPr>
            <p:custDataLst>
              <p:tags r:id="rId352"/>
            </p:custDataLst>
          </p:nvPr>
        </p:nvSpPr>
        <p:spPr bwMode="auto">
          <a:xfrm>
            <a:off x="7385050" y="1557343"/>
            <a:ext cx="3175" cy="45244"/>
          </a:xfrm>
          <a:custGeom>
            <a:avLst/>
            <a:gdLst/>
            <a:ahLst/>
            <a:cxnLst>
              <a:cxn ang="0">
                <a:pos x="0" y="37"/>
              </a:cxn>
              <a:cxn ang="0">
                <a:pos x="0" y="0"/>
              </a:cxn>
              <a:cxn ang="0">
                <a:pos x="6" y="0"/>
              </a:cxn>
              <a:cxn ang="0">
                <a:pos x="6" y="31"/>
              </a:cxn>
              <a:cxn ang="0">
                <a:pos x="0" y="37"/>
              </a:cxn>
            </a:cxnLst>
            <a:rect l="0" t="0" r="r" b="b"/>
            <a:pathLst>
              <a:path w="6" h="37">
                <a:moveTo>
                  <a:pt x="0" y="37"/>
                </a:moveTo>
                <a:lnTo>
                  <a:pt x="0" y="0"/>
                </a:lnTo>
                <a:lnTo>
                  <a:pt x="6" y="0"/>
                </a:lnTo>
                <a:lnTo>
                  <a:pt x="6" y="31"/>
                </a:lnTo>
                <a:lnTo>
                  <a:pt x="0" y="3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563" name="Freeform 515"/>
          <p:cNvSpPr>
            <a:spLocks/>
          </p:cNvSpPr>
          <p:nvPr>
            <p:custDataLst>
              <p:tags r:id="rId353"/>
            </p:custDataLst>
          </p:nvPr>
        </p:nvSpPr>
        <p:spPr bwMode="auto">
          <a:xfrm>
            <a:off x="7372357" y="1619256"/>
            <a:ext cx="9525" cy="41672"/>
          </a:xfrm>
          <a:custGeom>
            <a:avLst/>
            <a:gdLst/>
            <a:ahLst/>
            <a:cxnLst>
              <a:cxn ang="0">
                <a:pos x="0" y="31"/>
              </a:cxn>
              <a:cxn ang="0">
                <a:pos x="0" y="25"/>
              </a:cxn>
              <a:cxn ang="0">
                <a:pos x="0" y="18"/>
              </a:cxn>
              <a:cxn ang="0">
                <a:pos x="2" y="9"/>
              </a:cxn>
              <a:cxn ang="0">
                <a:pos x="7" y="0"/>
              </a:cxn>
              <a:cxn ang="0">
                <a:pos x="11" y="7"/>
              </a:cxn>
              <a:cxn ang="0">
                <a:pos x="16" y="12"/>
              </a:cxn>
              <a:cxn ang="0">
                <a:pos x="17" y="14"/>
              </a:cxn>
              <a:cxn ang="0">
                <a:pos x="19" y="18"/>
              </a:cxn>
              <a:cxn ang="0">
                <a:pos x="19" y="21"/>
              </a:cxn>
              <a:cxn ang="0">
                <a:pos x="20" y="25"/>
              </a:cxn>
              <a:cxn ang="0">
                <a:pos x="19" y="27"/>
              </a:cxn>
              <a:cxn ang="0">
                <a:pos x="18" y="30"/>
              </a:cxn>
              <a:cxn ang="0">
                <a:pos x="16" y="33"/>
              </a:cxn>
              <a:cxn ang="0">
                <a:pos x="12" y="36"/>
              </a:cxn>
              <a:cxn ang="0">
                <a:pos x="9" y="39"/>
              </a:cxn>
              <a:cxn ang="0">
                <a:pos x="6" y="41"/>
              </a:cxn>
              <a:cxn ang="0">
                <a:pos x="2" y="42"/>
              </a:cxn>
              <a:cxn ang="0">
                <a:pos x="0" y="43"/>
              </a:cxn>
              <a:cxn ang="0">
                <a:pos x="0" y="31"/>
              </a:cxn>
            </a:cxnLst>
            <a:rect l="0" t="0" r="r" b="b"/>
            <a:pathLst>
              <a:path w="20" h="43">
                <a:moveTo>
                  <a:pt x="0" y="31"/>
                </a:moveTo>
                <a:lnTo>
                  <a:pt x="0" y="25"/>
                </a:lnTo>
                <a:lnTo>
                  <a:pt x="0" y="18"/>
                </a:lnTo>
                <a:lnTo>
                  <a:pt x="2" y="9"/>
                </a:lnTo>
                <a:lnTo>
                  <a:pt x="7" y="0"/>
                </a:lnTo>
                <a:lnTo>
                  <a:pt x="11" y="7"/>
                </a:lnTo>
                <a:lnTo>
                  <a:pt x="16" y="12"/>
                </a:lnTo>
                <a:lnTo>
                  <a:pt x="17" y="14"/>
                </a:lnTo>
                <a:lnTo>
                  <a:pt x="19" y="18"/>
                </a:lnTo>
                <a:lnTo>
                  <a:pt x="19" y="21"/>
                </a:lnTo>
                <a:lnTo>
                  <a:pt x="20" y="25"/>
                </a:lnTo>
                <a:lnTo>
                  <a:pt x="19" y="27"/>
                </a:lnTo>
                <a:lnTo>
                  <a:pt x="18" y="30"/>
                </a:lnTo>
                <a:lnTo>
                  <a:pt x="16" y="33"/>
                </a:lnTo>
                <a:lnTo>
                  <a:pt x="12" y="36"/>
                </a:lnTo>
                <a:lnTo>
                  <a:pt x="9" y="39"/>
                </a:lnTo>
                <a:lnTo>
                  <a:pt x="6" y="41"/>
                </a:lnTo>
                <a:lnTo>
                  <a:pt x="2" y="42"/>
                </a:lnTo>
                <a:lnTo>
                  <a:pt x="0" y="43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564" name="Freeform 516"/>
          <p:cNvSpPr>
            <a:spLocks/>
          </p:cNvSpPr>
          <p:nvPr>
            <p:custDataLst>
              <p:tags r:id="rId354"/>
            </p:custDataLst>
          </p:nvPr>
        </p:nvSpPr>
        <p:spPr bwMode="auto">
          <a:xfrm>
            <a:off x="7350125" y="1645445"/>
            <a:ext cx="0" cy="44054"/>
          </a:xfrm>
          <a:custGeom>
            <a:avLst/>
            <a:gdLst/>
            <a:ahLst/>
            <a:cxnLst>
              <a:cxn ang="0">
                <a:pos x="0" y="30"/>
              </a:cxn>
              <a:cxn ang="0">
                <a:pos x="0" y="25"/>
              </a:cxn>
              <a:cxn ang="0">
                <a:pos x="0" y="18"/>
              </a:cxn>
              <a:cxn ang="0">
                <a:pos x="0" y="9"/>
              </a:cxn>
              <a:cxn ang="0">
                <a:pos x="0" y="0"/>
              </a:cxn>
            </a:cxnLst>
            <a:rect l="0" t="0" r="r" b="b"/>
            <a:pathLst>
              <a:path h="30">
                <a:moveTo>
                  <a:pt x="0" y="30"/>
                </a:moveTo>
                <a:lnTo>
                  <a:pt x="0" y="25"/>
                </a:lnTo>
                <a:lnTo>
                  <a:pt x="0" y="18"/>
                </a:lnTo>
                <a:lnTo>
                  <a:pt x="0" y="9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565" name="Freeform 517"/>
          <p:cNvSpPr>
            <a:spLocks/>
          </p:cNvSpPr>
          <p:nvPr>
            <p:custDataLst>
              <p:tags r:id="rId355"/>
            </p:custDataLst>
          </p:nvPr>
        </p:nvSpPr>
        <p:spPr bwMode="auto">
          <a:xfrm>
            <a:off x="7350125" y="1645445"/>
            <a:ext cx="7938" cy="44054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0" y="0"/>
              </a:cxn>
              <a:cxn ang="0">
                <a:pos x="0" y="24"/>
              </a:cxn>
            </a:cxnLst>
            <a:rect l="0" t="0" r="r" b="b"/>
            <a:pathLst>
              <a:path w="20" h="24">
                <a:moveTo>
                  <a:pt x="0" y="0"/>
                </a:moveTo>
                <a:lnTo>
                  <a:pt x="20" y="0"/>
                </a:lnTo>
                <a:lnTo>
                  <a:pt x="0" y="2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566" name="Freeform 518"/>
          <p:cNvSpPr>
            <a:spLocks/>
          </p:cNvSpPr>
          <p:nvPr>
            <p:custDataLst>
              <p:tags r:id="rId356"/>
            </p:custDataLst>
          </p:nvPr>
        </p:nvSpPr>
        <p:spPr bwMode="auto">
          <a:xfrm>
            <a:off x="7104063" y="1335884"/>
            <a:ext cx="17462" cy="45244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9" y="3"/>
              </a:cxn>
              <a:cxn ang="0">
                <a:pos x="14" y="5"/>
              </a:cxn>
              <a:cxn ang="0">
                <a:pos x="19" y="8"/>
              </a:cxn>
              <a:cxn ang="0">
                <a:pos x="23" y="10"/>
              </a:cxn>
              <a:cxn ang="0">
                <a:pos x="26" y="12"/>
              </a:cxn>
              <a:cxn ang="0">
                <a:pos x="32" y="14"/>
              </a:cxn>
              <a:cxn ang="0">
                <a:pos x="37" y="17"/>
              </a:cxn>
              <a:cxn ang="0">
                <a:pos x="46" y="19"/>
              </a:cxn>
              <a:cxn ang="0">
                <a:pos x="33" y="19"/>
              </a:cxn>
              <a:cxn ang="0">
                <a:pos x="24" y="19"/>
              </a:cxn>
              <a:cxn ang="0">
                <a:pos x="18" y="18"/>
              </a:cxn>
              <a:cxn ang="0">
                <a:pos x="13" y="17"/>
              </a:cxn>
              <a:cxn ang="0">
                <a:pos x="10" y="14"/>
              </a:cxn>
              <a:cxn ang="0">
                <a:pos x="7" y="11"/>
              </a:cxn>
              <a:cxn ang="0">
                <a:pos x="4" y="7"/>
              </a:cxn>
              <a:cxn ang="0">
                <a:pos x="0" y="0"/>
              </a:cxn>
            </a:cxnLst>
            <a:rect l="0" t="0" r="r" b="b"/>
            <a:pathLst>
              <a:path w="46" h="19">
                <a:moveTo>
                  <a:pt x="0" y="0"/>
                </a:moveTo>
                <a:lnTo>
                  <a:pt x="9" y="3"/>
                </a:lnTo>
                <a:lnTo>
                  <a:pt x="14" y="5"/>
                </a:lnTo>
                <a:lnTo>
                  <a:pt x="19" y="8"/>
                </a:lnTo>
                <a:lnTo>
                  <a:pt x="23" y="10"/>
                </a:lnTo>
                <a:lnTo>
                  <a:pt x="26" y="12"/>
                </a:lnTo>
                <a:lnTo>
                  <a:pt x="32" y="14"/>
                </a:lnTo>
                <a:lnTo>
                  <a:pt x="37" y="17"/>
                </a:lnTo>
                <a:lnTo>
                  <a:pt x="46" y="19"/>
                </a:lnTo>
                <a:lnTo>
                  <a:pt x="33" y="19"/>
                </a:lnTo>
                <a:lnTo>
                  <a:pt x="24" y="19"/>
                </a:lnTo>
                <a:lnTo>
                  <a:pt x="18" y="18"/>
                </a:lnTo>
                <a:lnTo>
                  <a:pt x="13" y="17"/>
                </a:lnTo>
                <a:lnTo>
                  <a:pt x="10" y="14"/>
                </a:lnTo>
                <a:lnTo>
                  <a:pt x="7" y="11"/>
                </a:lnTo>
                <a:lnTo>
                  <a:pt x="4" y="7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567" name="Freeform 519"/>
          <p:cNvSpPr>
            <a:spLocks/>
          </p:cNvSpPr>
          <p:nvPr>
            <p:custDataLst>
              <p:tags r:id="rId357"/>
            </p:custDataLst>
          </p:nvPr>
        </p:nvSpPr>
        <p:spPr bwMode="auto">
          <a:xfrm>
            <a:off x="4419600" y="1440660"/>
            <a:ext cx="47625" cy="44054"/>
          </a:xfrm>
          <a:custGeom>
            <a:avLst/>
            <a:gdLst/>
            <a:ahLst/>
            <a:cxnLst>
              <a:cxn ang="0">
                <a:pos x="33" y="0"/>
              </a:cxn>
              <a:cxn ang="0">
                <a:pos x="100" y="12"/>
              </a:cxn>
              <a:cxn ang="0">
                <a:pos x="100" y="55"/>
              </a:cxn>
              <a:cxn ang="0">
                <a:pos x="13" y="55"/>
              </a:cxn>
              <a:cxn ang="0">
                <a:pos x="0" y="43"/>
              </a:cxn>
              <a:cxn ang="0">
                <a:pos x="1" y="38"/>
              </a:cxn>
              <a:cxn ang="0">
                <a:pos x="4" y="32"/>
              </a:cxn>
              <a:cxn ang="0">
                <a:pos x="10" y="25"/>
              </a:cxn>
              <a:cxn ang="0">
                <a:pos x="16" y="18"/>
              </a:cxn>
              <a:cxn ang="0">
                <a:pos x="27" y="5"/>
              </a:cxn>
              <a:cxn ang="0">
                <a:pos x="33" y="0"/>
              </a:cxn>
            </a:cxnLst>
            <a:rect l="0" t="0" r="r" b="b"/>
            <a:pathLst>
              <a:path w="100" h="55">
                <a:moveTo>
                  <a:pt x="33" y="0"/>
                </a:moveTo>
                <a:lnTo>
                  <a:pt x="100" y="12"/>
                </a:lnTo>
                <a:lnTo>
                  <a:pt x="100" y="55"/>
                </a:lnTo>
                <a:lnTo>
                  <a:pt x="13" y="55"/>
                </a:lnTo>
                <a:lnTo>
                  <a:pt x="0" y="43"/>
                </a:lnTo>
                <a:lnTo>
                  <a:pt x="1" y="38"/>
                </a:lnTo>
                <a:lnTo>
                  <a:pt x="4" y="32"/>
                </a:lnTo>
                <a:lnTo>
                  <a:pt x="10" y="25"/>
                </a:lnTo>
                <a:lnTo>
                  <a:pt x="16" y="18"/>
                </a:lnTo>
                <a:lnTo>
                  <a:pt x="27" y="5"/>
                </a:lnTo>
                <a:lnTo>
                  <a:pt x="33" y="0"/>
                </a:lnTo>
              </a:path>
            </a:pathLst>
          </a:custGeom>
          <a:solidFill>
            <a:srgbClr val="007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568" name="Freeform 520"/>
          <p:cNvSpPr>
            <a:spLocks/>
          </p:cNvSpPr>
          <p:nvPr>
            <p:custDataLst>
              <p:tags r:id="rId358"/>
            </p:custDataLst>
          </p:nvPr>
        </p:nvSpPr>
        <p:spPr bwMode="auto">
          <a:xfrm>
            <a:off x="4868863" y="1134675"/>
            <a:ext cx="42862" cy="44053"/>
          </a:xfrm>
          <a:custGeom>
            <a:avLst/>
            <a:gdLst/>
            <a:ahLst/>
            <a:cxnLst>
              <a:cxn ang="0">
                <a:pos x="53" y="2"/>
              </a:cxn>
              <a:cxn ang="0">
                <a:pos x="58" y="1"/>
              </a:cxn>
              <a:cxn ang="0">
                <a:pos x="62" y="0"/>
              </a:cxn>
              <a:cxn ang="0">
                <a:pos x="65" y="0"/>
              </a:cxn>
              <a:cxn ang="0">
                <a:pos x="69" y="1"/>
              </a:cxn>
              <a:cxn ang="0">
                <a:pos x="74" y="5"/>
              </a:cxn>
              <a:cxn ang="0">
                <a:pos x="79" y="11"/>
              </a:cxn>
              <a:cxn ang="0">
                <a:pos x="83" y="18"/>
              </a:cxn>
              <a:cxn ang="0">
                <a:pos x="87" y="25"/>
              </a:cxn>
              <a:cxn ang="0">
                <a:pos x="91" y="28"/>
              </a:cxn>
              <a:cxn ang="0">
                <a:pos x="93" y="30"/>
              </a:cxn>
              <a:cxn ang="0">
                <a:pos x="96" y="32"/>
              </a:cxn>
              <a:cxn ang="0">
                <a:pos x="99" y="34"/>
              </a:cxn>
              <a:cxn ang="0">
                <a:pos x="99" y="37"/>
              </a:cxn>
              <a:cxn ang="0">
                <a:pos x="97" y="40"/>
              </a:cxn>
              <a:cxn ang="0">
                <a:pos x="95" y="43"/>
              </a:cxn>
              <a:cxn ang="0">
                <a:pos x="91" y="45"/>
              </a:cxn>
              <a:cxn ang="0">
                <a:pos x="86" y="47"/>
              </a:cxn>
              <a:cxn ang="0">
                <a:pos x="81" y="48"/>
              </a:cxn>
              <a:cxn ang="0">
                <a:pos x="74" y="50"/>
              </a:cxn>
              <a:cxn ang="0">
                <a:pos x="68" y="50"/>
              </a:cxn>
              <a:cxn ang="0">
                <a:pos x="52" y="51"/>
              </a:cxn>
              <a:cxn ang="0">
                <a:pos x="36" y="49"/>
              </a:cxn>
              <a:cxn ang="0">
                <a:pos x="27" y="48"/>
              </a:cxn>
              <a:cxn ang="0">
                <a:pos x="18" y="45"/>
              </a:cxn>
              <a:cxn ang="0">
                <a:pos x="9" y="43"/>
              </a:cxn>
              <a:cxn ang="0">
                <a:pos x="1" y="40"/>
              </a:cxn>
              <a:cxn ang="0">
                <a:pos x="0" y="39"/>
              </a:cxn>
              <a:cxn ang="0">
                <a:pos x="1" y="37"/>
              </a:cxn>
              <a:cxn ang="0">
                <a:pos x="3" y="35"/>
              </a:cxn>
              <a:cxn ang="0">
                <a:pos x="6" y="33"/>
              </a:cxn>
              <a:cxn ang="0">
                <a:pos x="14" y="29"/>
              </a:cxn>
              <a:cxn ang="0">
                <a:pos x="25" y="24"/>
              </a:cxn>
              <a:cxn ang="0">
                <a:pos x="35" y="19"/>
              </a:cxn>
              <a:cxn ang="0">
                <a:pos x="45" y="12"/>
              </a:cxn>
              <a:cxn ang="0">
                <a:pos x="48" y="10"/>
              </a:cxn>
              <a:cxn ang="0">
                <a:pos x="51" y="7"/>
              </a:cxn>
              <a:cxn ang="0">
                <a:pos x="52" y="5"/>
              </a:cxn>
              <a:cxn ang="0">
                <a:pos x="53" y="2"/>
              </a:cxn>
            </a:cxnLst>
            <a:rect l="0" t="0" r="r" b="b"/>
            <a:pathLst>
              <a:path w="99" h="51">
                <a:moveTo>
                  <a:pt x="53" y="2"/>
                </a:moveTo>
                <a:lnTo>
                  <a:pt x="58" y="1"/>
                </a:lnTo>
                <a:lnTo>
                  <a:pt x="62" y="0"/>
                </a:lnTo>
                <a:lnTo>
                  <a:pt x="65" y="0"/>
                </a:lnTo>
                <a:lnTo>
                  <a:pt x="69" y="1"/>
                </a:lnTo>
                <a:lnTo>
                  <a:pt x="74" y="5"/>
                </a:lnTo>
                <a:lnTo>
                  <a:pt x="79" y="11"/>
                </a:lnTo>
                <a:lnTo>
                  <a:pt x="83" y="18"/>
                </a:lnTo>
                <a:lnTo>
                  <a:pt x="87" y="25"/>
                </a:lnTo>
                <a:lnTo>
                  <a:pt x="91" y="28"/>
                </a:lnTo>
                <a:lnTo>
                  <a:pt x="93" y="30"/>
                </a:lnTo>
                <a:lnTo>
                  <a:pt x="96" y="32"/>
                </a:lnTo>
                <a:lnTo>
                  <a:pt x="99" y="34"/>
                </a:lnTo>
                <a:lnTo>
                  <a:pt x="99" y="37"/>
                </a:lnTo>
                <a:lnTo>
                  <a:pt x="97" y="40"/>
                </a:lnTo>
                <a:lnTo>
                  <a:pt x="95" y="43"/>
                </a:lnTo>
                <a:lnTo>
                  <a:pt x="91" y="45"/>
                </a:lnTo>
                <a:lnTo>
                  <a:pt x="86" y="47"/>
                </a:lnTo>
                <a:lnTo>
                  <a:pt x="81" y="48"/>
                </a:lnTo>
                <a:lnTo>
                  <a:pt x="74" y="50"/>
                </a:lnTo>
                <a:lnTo>
                  <a:pt x="68" y="50"/>
                </a:lnTo>
                <a:lnTo>
                  <a:pt x="52" y="51"/>
                </a:lnTo>
                <a:lnTo>
                  <a:pt x="36" y="49"/>
                </a:lnTo>
                <a:lnTo>
                  <a:pt x="27" y="48"/>
                </a:lnTo>
                <a:lnTo>
                  <a:pt x="18" y="45"/>
                </a:lnTo>
                <a:lnTo>
                  <a:pt x="9" y="43"/>
                </a:lnTo>
                <a:lnTo>
                  <a:pt x="1" y="40"/>
                </a:lnTo>
                <a:lnTo>
                  <a:pt x="0" y="39"/>
                </a:lnTo>
                <a:lnTo>
                  <a:pt x="1" y="37"/>
                </a:lnTo>
                <a:lnTo>
                  <a:pt x="3" y="35"/>
                </a:lnTo>
                <a:lnTo>
                  <a:pt x="6" y="33"/>
                </a:lnTo>
                <a:lnTo>
                  <a:pt x="14" y="29"/>
                </a:lnTo>
                <a:lnTo>
                  <a:pt x="25" y="24"/>
                </a:lnTo>
                <a:lnTo>
                  <a:pt x="35" y="19"/>
                </a:lnTo>
                <a:lnTo>
                  <a:pt x="45" y="12"/>
                </a:lnTo>
                <a:lnTo>
                  <a:pt x="48" y="10"/>
                </a:lnTo>
                <a:lnTo>
                  <a:pt x="51" y="7"/>
                </a:lnTo>
                <a:lnTo>
                  <a:pt x="52" y="5"/>
                </a:lnTo>
                <a:lnTo>
                  <a:pt x="53" y="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569" name="Freeform 521"/>
          <p:cNvSpPr>
            <a:spLocks/>
          </p:cNvSpPr>
          <p:nvPr>
            <p:custDataLst>
              <p:tags r:id="rId359"/>
            </p:custDataLst>
          </p:nvPr>
        </p:nvSpPr>
        <p:spPr bwMode="auto">
          <a:xfrm>
            <a:off x="4903788" y="994172"/>
            <a:ext cx="228600" cy="122634"/>
          </a:xfrm>
          <a:custGeom>
            <a:avLst/>
            <a:gdLst/>
            <a:ahLst/>
            <a:cxnLst>
              <a:cxn ang="0">
                <a:pos x="315" y="27"/>
              </a:cxn>
              <a:cxn ang="0">
                <a:pos x="342" y="21"/>
              </a:cxn>
              <a:cxn ang="0">
                <a:pos x="385" y="20"/>
              </a:cxn>
              <a:cxn ang="0">
                <a:pos x="408" y="17"/>
              </a:cxn>
              <a:cxn ang="0">
                <a:pos x="427" y="7"/>
              </a:cxn>
              <a:cxn ang="0">
                <a:pos x="514" y="6"/>
              </a:cxn>
              <a:cxn ang="0">
                <a:pos x="525" y="19"/>
              </a:cxn>
              <a:cxn ang="0">
                <a:pos x="468" y="47"/>
              </a:cxn>
              <a:cxn ang="0">
                <a:pos x="392" y="73"/>
              </a:cxn>
              <a:cxn ang="0">
                <a:pos x="356" y="80"/>
              </a:cxn>
              <a:cxn ang="0">
                <a:pos x="321" y="83"/>
              </a:cxn>
              <a:cxn ang="0">
                <a:pos x="279" y="101"/>
              </a:cxn>
              <a:cxn ang="0">
                <a:pos x="244" y="121"/>
              </a:cxn>
              <a:cxn ang="0">
                <a:pos x="218" y="129"/>
              </a:cxn>
              <a:cxn ang="0">
                <a:pos x="187" y="123"/>
              </a:cxn>
              <a:cxn ang="0">
                <a:pos x="178" y="137"/>
              </a:cxn>
              <a:cxn ang="0">
                <a:pos x="175" y="145"/>
              </a:cxn>
              <a:cxn ang="0">
                <a:pos x="185" y="148"/>
              </a:cxn>
              <a:cxn ang="0">
                <a:pos x="184" y="157"/>
              </a:cxn>
              <a:cxn ang="0">
                <a:pos x="176" y="167"/>
              </a:cxn>
              <a:cxn ang="0">
                <a:pos x="180" y="179"/>
              </a:cxn>
              <a:cxn ang="0">
                <a:pos x="162" y="194"/>
              </a:cxn>
              <a:cxn ang="0">
                <a:pos x="144" y="204"/>
              </a:cxn>
              <a:cxn ang="0">
                <a:pos x="141" y="213"/>
              </a:cxn>
              <a:cxn ang="0">
                <a:pos x="144" y="228"/>
              </a:cxn>
              <a:cxn ang="0">
                <a:pos x="163" y="247"/>
              </a:cxn>
              <a:cxn ang="0">
                <a:pos x="191" y="267"/>
              </a:cxn>
              <a:cxn ang="0">
                <a:pos x="256" y="300"/>
              </a:cxn>
              <a:cxn ang="0">
                <a:pos x="243" y="311"/>
              </a:cxn>
              <a:cxn ang="0">
                <a:pos x="189" y="309"/>
              </a:cxn>
              <a:cxn ang="0">
                <a:pos x="145" y="308"/>
              </a:cxn>
              <a:cxn ang="0">
                <a:pos x="129" y="304"/>
              </a:cxn>
              <a:cxn ang="0">
                <a:pos x="123" y="298"/>
              </a:cxn>
              <a:cxn ang="0">
                <a:pos x="120" y="282"/>
              </a:cxn>
              <a:cxn ang="0">
                <a:pos x="116" y="278"/>
              </a:cxn>
              <a:cxn ang="0">
                <a:pos x="95" y="277"/>
              </a:cxn>
              <a:cxn ang="0">
                <a:pos x="80" y="296"/>
              </a:cxn>
              <a:cxn ang="0">
                <a:pos x="44" y="282"/>
              </a:cxn>
              <a:cxn ang="0">
                <a:pos x="0" y="246"/>
              </a:cxn>
              <a:cxn ang="0">
                <a:pos x="18" y="239"/>
              </a:cxn>
              <a:cxn ang="0">
                <a:pos x="34" y="222"/>
              </a:cxn>
              <a:cxn ang="0">
                <a:pos x="28" y="213"/>
              </a:cxn>
              <a:cxn ang="0">
                <a:pos x="34" y="200"/>
              </a:cxn>
              <a:cxn ang="0">
                <a:pos x="40" y="188"/>
              </a:cxn>
              <a:cxn ang="0">
                <a:pos x="34" y="179"/>
              </a:cxn>
              <a:cxn ang="0">
                <a:pos x="134" y="179"/>
              </a:cxn>
              <a:cxn ang="0">
                <a:pos x="131" y="177"/>
              </a:cxn>
              <a:cxn ang="0">
                <a:pos x="90" y="166"/>
              </a:cxn>
              <a:cxn ang="0">
                <a:pos x="54" y="148"/>
              </a:cxn>
              <a:cxn ang="0">
                <a:pos x="84" y="134"/>
              </a:cxn>
              <a:cxn ang="0">
                <a:pos x="120" y="111"/>
              </a:cxn>
              <a:cxn ang="0">
                <a:pos x="111" y="103"/>
              </a:cxn>
              <a:cxn ang="0">
                <a:pos x="100" y="80"/>
              </a:cxn>
              <a:cxn ang="0">
                <a:pos x="127" y="76"/>
              </a:cxn>
              <a:cxn ang="0">
                <a:pos x="184" y="58"/>
              </a:cxn>
              <a:cxn ang="0">
                <a:pos x="254" y="35"/>
              </a:cxn>
            </a:cxnLst>
            <a:rect l="0" t="0" r="r" b="b"/>
            <a:pathLst>
              <a:path w="525" h="311">
                <a:moveTo>
                  <a:pt x="273" y="31"/>
                </a:moveTo>
                <a:lnTo>
                  <a:pt x="307" y="31"/>
                </a:lnTo>
                <a:lnTo>
                  <a:pt x="315" y="27"/>
                </a:lnTo>
                <a:lnTo>
                  <a:pt x="324" y="24"/>
                </a:lnTo>
                <a:lnTo>
                  <a:pt x="333" y="22"/>
                </a:lnTo>
                <a:lnTo>
                  <a:pt x="342" y="21"/>
                </a:lnTo>
                <a:lnTo>
                  <a:pt x="359" y="20"/>
                </a:lnTo>
                <a:lnTo>
                  <a:pt x="377" y="20"/>
                </a:lnTo>
                <a:lnTo>
                  <a:pt x="385" y="20"/>
                </a:lnTo>
                <a:lnTo>
                  <a:pt x="393" y="20"/>
                </a:lnTo>
                <a:lnTo>
                  <a:pt x="401" y="19"/>
                </a:lnTo>
                <a:lnTo>
                  <a:pt x="408" y="17"/>
                </a:lnTo>
                <a:lnTo>
                  <a:pt x="415" y="15"/>
                </a:lnTo>
                <a:lnTo>
                  <a:pt x="421" y="11"/>
                </a:lnTo>
                <a:lnTo>
                  <a:pt x="427" y="7"/>
                </a:lnTo>
                <a:lnTo>
                  <a:pt x="433" y="0"/>
                </a:lnTo>
                <a:lnTo>
                  <a:pt x="512" y="0"/>
                </a:lnTo>
                <a:lnTo>
                  <a:pt x="514" y="6"/>
                </a:lnTo>
                <a:lnTo>
                  <a:pt x="519" y="12"/>
                </a:lnTo>
                <a:lnTo>
                  <a:pt x="523" y="17"/>
                </a:lnTo>
                <a:lnTo>
                  <a:pt x="525" y="19"/>
                </a:lnTo>
                <a:lnTo>
                  <a:pt x="511" y="26"/>
                </a:lnTo>
                <a:lnTo>
                  <a:pt x="491" y="36"/>
                </a:lnTo>
                <a:lnTo>
                  <a:pt x="468" y="47"/>
                </a:lnTo>
                <a:lnTo>
                  <a:pt x="443" y="57"/>
                </a:lnTo>
                <a:lnTo>
                  <a:pt x="418" y="66"/>
                </a:lnTo>
                <a:lnTo>
                  <a:pt x="392" y="73"/>
                </a:lnTo>
                <a:lnTo>
                  <a:pt x="379" y="76"/>
                </a:lnTo>
                <a:lnTo>
                  <a:pt x="368" y="78"/>
                </a:lnTo>
                <a:lnTo>
                  <a:pt x="356" y="80"/>
                </a:lnTo>
                <a:lnTo>
                  <a:pt x="346" y="80"/>
                </a:lnTo>
                <a:lnTo>
                  <a:pt x="333" y="81"/>
                </a:lnTo>
                <a:lnTo>
                  <a:pt x="321" y="83"/>
                </a:lnTo>
                <a:lnTo>
                  <a:pt x="309" y="86"/>
                </a:lnTo>
                <a:lnTo>
                  <a:pt x="299" y="90"/>
                </a:lnTo>
                <a:lnTo>
                  <a:pt x="279" y="101"/>
                </a:lnTo>
                <a:lnTo>
                  <a:pt x="262" y="111"/>
                </a:lnTo>
                <a:lnTo>
                  <a:pt x="253" y="116"/>
                </a:lnTo>
                <a:lnTo>
                  <a:pt x="244" y="121"/>
                </a:lnTo>
                <a:lnTo>
                  <a:pt x="235" y="124"/>
                </a:lnTo>
                <a:lnTo>
                  <a:pt x="226" y="127"/>
                </a:lnTo>
                <a:lnTo>
                  <a:pt x="218" y="129"/>
                </a:lnTo>
                <a:lnTo>
                  <a:pt x="208" y="129"/>
                </a:lnTo>
                <a:lnTo>
                  <a:pt x="198" y="127"/>
                </a:lnTo>
                <a:lnTo>
                  <a:pt x="187" y="123"/>
                </a:lnTo>
                <a:lnTo>
                  <a:pt x="186" y="128"/>
                </a:lnTo>
                <a:lnTo>
                  <a:pt x="183" y="133"/>
                </a:lnTo>
                <a:lnTo>
                  <a:pt x="178" y="137"/>
                </a:lnTo>
                <a:lnTo>
                  <a:pt x="174" y="142"/>
                </a:lnTo>
                <a:lnTo>
                  <a:pt x="174" y="144"/>
                </a:lnTo>
                <a:lnTo>
                  <a:pt x="175" y="145"/>
                </a:lnTo>
                <a:lnTo>
                  <a:pt x="177" y="146"/>
                </a:lnTo>
                <a:lnTo>
                  <a:pt x="180" y="147"/>
                </a:lnTo>
                <a:lnTo>
                  <a:pt x="185" y="148"/>
                </a:lnTo>
                <a:lnTo>
                  <a:pt x="187" y="148"/>
                </a:lnTo>
                <a:lnTo>
                  <a:pt x="186" y="152"/>
                </a:lnTo>
                <a:lnTo>
                  <a:pt x="184" y="157"/>
                </a:lnTo>
                <a:lnTo>
                  <a:pt x="181" y="160"/>
                </a:lnTo>
                <a:lnTo>
                  <a:pt x="178" y="164"/>
                </a:lnTo>
                <a:lnTo>
                  <a:pt x="176" y="167"/>
                </a:lnTo>
                <a:lnTo>
                  <a:pt x="175" y="171"/>
                </a:lnTo>
                <a:lnTo>
                  <a:pt x="176" y="175"/>
                </a:lnTo>
                <a:lnTo>
                  <a:pt x="180" y="179"/>
                </a:lnTo>
                <a:lnTo>
                  <a:pt x="175" y="185"/>
                </a:lnTo>
                <a:lnTo>
                  <a:pt x="168" y="190"/>
                </a:lnTo>
                <a:lnTo>
                  <a:pt x="162" y="194"/>
                </a:lnTo>
                <a:lnTo>
                  <a:pt x="155" y="197"/>
                </a:lnTo>
                <a:lnTo>
                  <a:pt x="150" y="201"/>
                </a:lnTo>
                <a:lnTo>
                  <a:pt x="144" y="204"/>
                </a:lnTo>
                <a:lnTo>
                  <a:pt x="143" y="207"/>
                </a:lnTo>
                <a:lnTo>
                  <a:pt x="141" y="209"/>
                </a:lnTo>
                <a:lnTo>
                  <a:pt x="141" y="213"/>
                </a:lnTo>
                <a:lnTo>
                  <a:pt x="140" y="216"/>
                </a:lnTo>
                <a:lnTo>
                  <a:pt x="141" y="222"/>
                </a:lnTo>
                <a:lnTo>
                  <a:pt x="144" y="228"/>
                </a:lnTo>
                <a:lnTo>
                  <a:pt x="149" y="234"/>
                </a:lnTo>
                <a:lnTo>
                  <a:pt x="155" y="241"/>
                </a:lnTo>
                <a:lnTo>
                  <a:pt x="163" y="247"/>
                </a:lnTo>
                <a:lnTo>
                  <a:pt x="172" y="254"/>
                </a:lnTo>
                <a:lnTo>
                  <a:pt x="181" y="260"/>
                </a:lnTo>
                <a:lnTo>
                  <a:pt x="191" y="267"/>
                </a:lnTo>
                <a:lnTo>
                  <a:pt x="213" y="279"/>
                </a:lnTo>
                <a:lnTo>
                  <a:pt x="235" y="290"/>
                </a:lnTo>
                <a:lnTo>
                  <a:pt x="256" y="300"/>
                </a:lnTo>
                <a:lnTo>
                  <a:pt x="273" y="308"/>
                </a:lnTo>
                <a:lnTo>
                  <a:pt x="258" y="310"/>
                </a:lnTo>
                <a:lnTo>
                  <a:pt x="243" y="311"/>
                </a:lnTo>
                <a:lnTo>
                  <a:pt x="229" y="311"/>
                </a:lnTo>
                <a:lnTo>
                  <a:pt x="214" y="310"/>
                </a:lnTo>
                <a:lnTo>
                  <a:pt x="189" y="309"/>
                </a:lnTo>
                <a:lnTo>
                  <a:pt x="167" y="308"/>
                </a:lnTo>
                <a:lnTo>
                  <a:pt x="155" y="308"/>
                </a:lnTo>
                <a:lnTo>
                  <a:pt x="145" y="308"/>
                </a:lnTo>
                <a:lnTo>
                  <a:pt x="138" y="307"/>
                </a:lnTo>
                <a:lnTo>
                  <a:pt x="131" y="305"/>
                </a:lnTo>
                <a:lnTo>
                  <a:pt x="129" y="304"/>
                </a:lnTo>
                <a:lnTo>
                  <a:pt x="127" y="302"/>
                </a:lnTo>
                <a:lnTo>
                  <a:pt x="124" y="300"/>
                </a:lnTo>
                <a:lnTo>
                  <a:pt x="123" y="298"/>
                </a:lnTo>
                <a:lnTo>
                  <a:pt x="121" y="292"/>
                </a:lnTo>
                <a:lnTo>
                  <a:pt x="120" y="284"/>
                </a:lnTo>
                <a:lnTo>
                  <a:pt x="120" y="282"/>
                </a:lnTo>
                <a:lnTo>
                  <a:pt x="119" y="280"/>
                </a:lnTo>
                <a:lnTo>
                  <a:pt x="118" y="279"/>
                </a:lnTo>
                <a:lnTo>
                  <a:pt x="116" y="278"/>
                </a:lnTo>
                <a:lnTo>
                  <a:pt x="111" y="277"/>
                </a:lnTo>
                <a:lnTo>
                  <a:pt x="106" y="276"/>
                </a:lnTo>
                <a:lnTo>
                  <a:pt x="95" y="277"/>
                </a:lnTo>
                <a:lnTo>
                  <a:pt x="87" y="278"/>
                </a:lnTo>
                <a:lnTo>
                  <a:pt x="84" y="287"/>
                </a:lnTo>
                <a:lnTo>
                  <a:pt x="80" y="296"/>
                </a:lnTo>
                <a:lnTo>
                  <a:pt x="66" y="291"/>
                </a:lnTo>
                <a:lnTo>
                  <a:pt x="55" y="287"/>
                </a:lnTo>
                <a:lnTo>
                  <a:pt x="44" y="282"/>
                </a:lnTo>
                <a:lnTo>
                  <a:pt x="35" y="276"/>
                </a:lnTo>
                <a:lnTo>
                  <a:pt x="19" y="263"/>
                </a:lnTo>
                <a:lnTo>
                  <a:pt x="0" y="246"/>
                </a:lnTo>
                <a:lnTo>
                  <a:pt x="8" y="244"/>
                </a:lnTo>
                <a:lnTo>
                  <a:pt x="13" y="242"/>
                </a:lnTo>
                <a:lnTo>
                  <a:pt x="18" y="239"/>
                </a:lnTo>
                <a:lnTo>
                  <a:pt x="22" y="237"/>
                </a:lnTo>
                <a:lnTo>
                  <a:pt x="29" y="230"/>
                </a:lnTo>
                <a:lnTo>
                  <a:pt x="34" y="222"/>
                </a:lnTo>
                <a:lnTo>
                  <a:pt x="31" y="219"/>
                </a:lnTo>
                <a:lnTo>
                  <a:pt x="29" y="216"/>
                </a:lnTo>
                <a:lnTo>
                  <a:pt x="28" y="213"/>
                </a:lnTo>
                <a:lnTo>
                  <a:pt x="28" y="211"/>
                </a:lnTo>
                <a:lnTo>
                  <a:pt x="30" y="205"/>
                </a:lnTo>
                <a:lnTo>
                  <a:pt x="34" y="200"/>
                </a:lnTo>
                <a:lnTo>
                  <a:pt x="38" y="196"/>
                </a:lnTo>
                <a:lnTo>
                  <a:pt x="40" y="191"/>
                </a:lnTo>
                <a:lnTo>
                  <a:pt x="40" y="188"/>
                </a:lnTo>
                <a:lnTo>
                  <a:pt x="39" y="185"/>
                </a:lnTo>
                <a:lnTo>
                  <a:pt x="37" y="182"/>
                </a:lnTo>
                <a:lnTo>
                  <a:pt x="34" y="179"/>
                </a:lnTo>
                <a:lnTo>
                  <a:pt x="73" y="179"/>
                </a:lnTo>
                <a:lnTo>
                  <a:pt x="106" y="179"/>
                </a:lnTo>
                <a:lnTo>
                  <a:pt x="134" y="179"/>
                </a:lnTo>
                <a:lnTo>
                  <a:pt x="167" y="179"/>
                </a:lnTo>
                <a:lnTo>
                  <a:pt x="147" y="178"/>
                </a:lnTo>
                <a:lnTo>
                  <a:pt x="131" y="177"/>
                </a:lnTo>
                <a:lnTo>
                  <a:pt x="117" y="174"/>
                </a:lnTo>
                <a:lnTo>
                  <a:pt x="102" y="171"/>
                </a:lnTo>
                <a:lnTo>
                  <a:pt x="90" y="166"/>
                </a:lnTo>
                <a:lnTo>
                  <a:pt x="78" y="161"/>
                </a:lnTo>
                <a:lnTo>
                  <a:pt x="66" y="155"/>
                </a:lnTo>
                <a:lnTo>
                  <a:pt x="54" y="148"/>
                </a:lnTo>
                <a:lnTo>
                  <a:pt x="65" y="143"/>
                </a:lnTo>
                <a:lnTo>
                  <a:pt x="75" y="139"/>
                </a:lnTo>
                <a:lnTo>
                  <a:pt x="84" y="134"/>
                </a:lnTo>
                <a:lnTo>
                  <a:pt x="91" y="130"/>
                </a:lnTo>
                <a:lnTo>
                  <a:pt x="106" y="120"/>
                </a:lnTo>
                <a:lnTo>
                  <a:pt x="120" y="111"/>
                </a:lnTo>
                <a:lnTo>
                  <a:pt x="118" y="110"/>
                </a:lnTo>
                <a:lnTo>
                  <a:pt x="115" y="108"/>
                </a:lnTo>
                <a:lnTo>
                  <a:pt x="111" y="103"/>
                </a:lnTo>
                <a:lnTo>
                  <a:pt x="108" y="99"/>
                </a:lnTo>
                <a:lnTo>
                  <a:pt x="102" y="87"/>
                </a:lnTo>
                <a:lnTo>
                  <a:pt x="100" y="80"/>
                </a:lnTo>
                <a:lnTo>
                  <a:pt x="108" y="80"/>
                </a:lnTo>
                <a:lnTo>
                  <a:pt x="117" y="78"/>
                </a:lnTo>
                <a:lnTo>
                  <a:pt x="127" y="76"/>
                </a:lnTo>
                <a:lnTo>
                  <a:pt x="138" y="73"/>
                </a:lnTo>
                <a:lnTo>
                  <a:pt x="161" y="66"/>
                </a:lnTo>
                <a:lnTo>
                  <a:pt x="184" y="58"/>
                </a:lnTo>
                <a:lnTo>
                  <a:pt x="209" y="50"/>
                </a:lnTo>
                <a:lnTo>
                  <a:pt x="232" y="41"/>
                </a:lnTo>
                <a:lnTo>
                  <a:pt x="254" y="35"/>
                </a:lnTo>
                <a:lnTo>
                  <a:pt x="273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570" name="Freeform 522"/>
          <p:cNvSpPr>
            <a:spLocks/>
          </p:cNvSpPr>
          <p:nvPr>
            <p:custDataLst>
              <p:tags r:id="rId360"/>
            </p:custDataLst>
          </p:nvPr>
        </p:nvSpPr>
        <p:spPr bwMode="auto">
          <a:xfrm>
            <a:off x="4695825" y="1227537"/>
            <a:ext cx="31750" cy="41672"/>
          </a:xfrm>
          <a:custGeom>
            <a:avLst/>
            <a:gdLst/>
            <a:ahLst/>
            <a:cxnLst>
              <a:cxn ang="0">
                <a:pos x="46" y="0"/>
              </a:cxn>
              <a:cxn ang="0">
                <a:pos x="54" y="1"/>
              </a:cxn>
              <a:cxn ang="0">
                <a:pos x="62" y="3"/>
              </a:cxn>
              <a:cxn ang="0">
                <a:pos x="68" y="7"/>
              </a:cxn>
              <a:cxn ang="0">
                <a:pos x="72" y="12"/>
              </a:cxn>
              <a:cxn ang="0">
                <a:pos x="75" y="17"/>
              </a:cxn>
              <a:cxn ang="0">
                <a:pos x="77" y="22"/>
              </a:cxn>
              <a:cxn ang="0">
                <a:pos x="79" y="27"/>
              </a:cxn>
              <a:cxn ang="0">
                <a:pos x="79" y="32"/>
              </a:cxn>
              <a:cxn ang="0">
                <a:pos x="77" y="34"/>
              </a:cxn>
              <a:cxn ang="0">
                <a:pos x="75" y="35"/>
              </a:cxn>
              <a:cxn ang="0">
                <a:pos x="72" y="36"/>
              </a:cxn>
              <a:cxn ang="0">
                <a:pos x="68" y="37"/>
              </a:cxn>
              <a:cxn ang="0">
                <a:pos x="57" y="38"/>
              </a:cxn>
              <a:cxn ang="0">
                <a:pos x="46" y="38"/>
              </a:cxn>
              <a:cxn ang="0">
                <a:pos x="38" y="37"/>
              </a:cxn>
              <a:cxn ang="0">
                <a:pos x="30" y="36"/>
              </a:cxn>
              <a:cxn ang="0">
                <a:pos x="21" y="35"/>
              </a:cxn>
              <a:cxn ang="0">
                <a:pos x="15" y="32"/>
              </a:cxn>
              <a:cxn ang="0">
                <a:pos x="8" y="29"/>
              </a:cxn>
              <a:cxn ang="0">
                <a:pos x="4" y="25"/>
              </a:cxn>
              <a:cxn ang="0">
                <a:pos x="2" y="22"/>
              </a:cxn>
              <a:cxn ang="0">
                <a:pos x="1" y="20"/>
              </a:cxn>
              <a:cxn ang="0">
                <a:pos x="0" y="17"/>
              </a:cxn>
              <a:cxn ang="0">
                <a:pos x="0" y="13"/>
              </a:cxn>
              <a:cxn ang="0">
                <a:pos x="1" y="11"/>
              </a:cxn>
              <a:cxn ang="0">
                <a:pos x="4" y="9"/>
              </a:cxn>
              <a:cxn ang="0">
                <a:pos x="10" y="6"/>
              </a:cxn>
              <a:cxn ang="0">
                <a:pos x="17" y="4"/>
              </a:cxn>
              <a:cxn ang="0">
                <a:pos x="32" y="1"/>
              </a:cxn>
              <a:cxn ang="0">
                <a:pos x="46" y="0"/>
              </a:cxn>
            </a:cxnLst>
            <a:rect l="0" t="0" r="r" b="b"/>
            <a:pathLst>
              <a:path w="79" h="38">
                <a:moveTo>
                  <a:pt x="46" y="0"/>
                </a:moveTo>
                <a:lnTo>
                  <a:pt x="54" y="1"/>
                </a:lnTo>
                <a:lnTo>
                  <a:pt x="62" y="3"/>
                </a:lnTo>
                <a:lnTo>
                  <a:pt x="68" y="7"/>
                </a:lnTo>
                <a:lnTo>
                  <a:pt x="72" y="12"/>
                </a:lnTo>
                <a:lnTo>
                  <a:pt x="75" y="17"/>
                </a:lnTo>
                <a:lnTo>
                  <a:pt x="77" y="22"/>
                </a:lnTo>
                <a:lnTo>
                  <a:pt x="79" y="27"/>
                </a:lnTo>
                <a:lnTo>
                  <a:pt x="79" y="32"/>
                </a:lnTo>
                <a:lnTo>
                  <a:pt x="77" y="34"/>
                </a:lnTo>
                <a:lnTo>
                  <a:pt x="75" y="35"/>
                </a:lnTo>
                <a:lnTo>
                  <a:pt x="72" y="36"/>
                </a:lnTo>
                <a:lnTo>
                  <a:pt x="68" y="37"/>
                </a:lnTo>
                <a:lnTo>
                  <a:pt x="57" y="38"/>
                </a:lnTo>
                <a:lnTo>
                  <a:pt x="46" y="38"/>
                </a:lnTo>
                <a:lnTo>
                  <a:pt x="38" y="37"/>
                </a:lnTo>
                <a:lnTo>
                  <a:pt x="30" y="36"/>
                </a:lnTo>
                <a:lnTo>
                  <a:pt x="21" y="35"/>
                </a:lnTo>
                <a:lnTo>
                  <a:pt x="15" y="32"/>
                </a:lnTo>
                <a:lnTo>
                  <a:pt x="8" y="29"/>
                </a:lnTo>
                <a:lnTo>
                  <a:pt x="4" y="25"/>
                </a:lnTo>
                <a:lnTo>
                  <a:pt x="2" y="22"/>
                </a:lnTo>
                <a:lnTo>
                  <a:pt x="1" y="20"/>
                </a:lnTo>
                <a:lnTo>
                  <a:pt x="0" y="17"/>
                </a:lnTo>
                <a:lnTo>
                  <a:pt x="0" y="13"/>
                </a:lnTo>
                <a:lnTo>
                  <a:pt x="1" y="11"/>
                </a:lnTo>
                <a:lnTo>
                  <a:pt x="4" y="9"/>
                </a:lnTo>
                <a:lnTo>
                  <a:pt x="10" y="6"/>
                </a:lnTo>
                <a:lnTo>
                  <a:pt x="17" y="4"/>
                </a:lnTo>
                <a:lnTo>
                  <a:pt x="32" y="1"/>
                </a:lnTo>
                <a:lnTo>
                  <a:pt x="46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571" name="Freeform 523"/>
          <p:cNvSpPr>
            <a:spLocks/>
          </p:cNvSpPr>
          <p:nvPr>
            <p:custDataLst>
              <p:tags r:id="rId361"/>
            </p:custDataLst>
          </p:nvPr>
        </p:nvSpPr>
        <p:spPr bwMode="auto">
          <a:xfrm>
            <a:off x="7000875" y="1450181"/>
            <a:ext cx="196850" cy="201216"/>
          </a:xfrm>
          <a:custGeom>
            <a:avLst/>
            <a:gdLst/>
            <a:ahLst/>
            <a:cxnLst>
              <a:cxn ang="0">
                <a:pos x="26" y="45"/>
              </a:cxn>
              <a:cxn ang="0">
                <a:pos x="12" y="25"/>
              </a:cxn>
              <a:cxn ang="0">
                <a:pos x="0" y="0"/>
              </a:cxn>
              <a:cxn ang="0">
                <a:pos x="22" y="7"/>
              </a:cxn>
              <a:cxn ang="0">
                <a:pos x="33" y="6"/>
              </a:cxn>
              <a:cxn ang="0">
                <a:pos x="95" y="67"/>
              </a:cxn>
              <a:cxn ang="0">
                <a:pos x="146" y="123"/>
              </a:cxn>
              <a:cxn ang="0">
                <a:pos x="216" y="198"/>
              </a:cxn>
              <a:cxn ang="0">
                <a:pos x="258" y="237"/>
              </a:cxn>
              <a:cxn ang="0">
                <a:pos x="303" y="266"/>
              </a:cxn>
              <a:cxn ang="0">
                <a:pos x="372" y="311"/>
              </a:cxn>
              <a:cxn ang="0">
                <a:pos x="398" y="336"/>
              </a:cxn>
              <a:cxn ang="0">
                <a:pos x="365" y="320"/>
              </a:cxn>
              <a:cxn ang="0">
                <a:pos x="324" y="296"/>
              </a:cxn>
              <a:cxn ang="0">
                <a:pos x="314" y="298"/>
              </a:cxn>
              <a:cxn ang="0">
                <a:pos x="313" y="311"/>
              </a:cxn>
              <a:cxn ang="0">
                <a:pos x="317" y="337"/>
              </a:cxn>
              <a:cxn ang="0">
                <a:pos x="326" y="358"/>
              </a:cxn>
              <a:cxn ang="0">
                <a:pos x="348" y="387"/>
              </a:cxn>
              <a:cxn ang="0">
                <a:pos x="394" y="421"/>
              </a:cxn>
              <a:cxn ang="0">
                <a:pos x="440" y="458"/>
              </a:cxn>
              <a:cxn ang="0">
                <a:pos x="448" y="476"/>
              </a:cxn>
              <a:cxn ang="0">
                <a:pos x="428" y="469"/>
              </a:cxn>
              <a:cxn ang="0">
                <a:pos x="392" y="462"/>
              </a:cxn>
              <a:cxn ang="0">
                <a:pos x="393" y="494"/>
              </a:cxn>
              <a:cxn ang="0">
                <a:pos x="398" y="511"/>
              </a:cxn>
              <a:cxn ang="0">
                <a:pos x="388" y="492"/>
              </a:cxn>
              <a:cxn ang="0">
                <a:pos x="363" y="466"/>
              </a:cxn>
              <a:cxn ang="0">
                <a:pos x="343" y="445"/>
              </a:cxn>
              <a:cxn ang="0">
                <a:pos x="339" y="431"/>
              </a:cxn>
              <a:cxn ang="0">
                <a:pos x="328" y="411"/>
              </a:cxn>
              <a:cxn ang="0">
                <a:pos x="310" y="384"/>
              </a:cxn>
              <a:cxn ang="0">
                <a:pos x="298" y="367"/>
              </a:cxn>
              <a:cxn ang="0">
                <a:pos x="280" y="358"/>
              </a:cxn>
              <a:cxn ang="0">
                <a:pos x="264" y="343"/>
              </a:cxn>
              <a:cxn ang="0">
                <a:pos x="249" y="314"/>
              </a:cxn>
              <a:cxn ang="0">
                <a:pos x="245" y="293"/>
              </a:cxn>
              <a:cxn ang="0">
                <a:pos x="234" y="281"/>
              </a:cxn>
              <a:cxn ang="0">
                <a:pos x="194" y="244"/>
              </a:cxn>
              <a:cxn ang="0">
                <a:pos x="171" y="220"/>
              </a:cxn>
              <a:cxn ang="0">
                <a:pos x="163" y="203"/>
              </a:cxn>
              <a:cxn ang="0">
                <a:pos x="154" y="187"/>
              </a:cxn>
              <a:cxn ang="0">
                <a:pos x="115" y="155"/>
              </a:cxn>
              <a:cxn ang="0">
                <a:pos x="70" y="130"/>
              </a:cxn>
              <a:cxn ang="0">
                <a:pos x="47" y="110"/>
              </a:cxn>
              <a:cxn ang="0">
                <a:pos x="38" y="93"/>
              </a:cxn>
              <a:cxn ang="0">
                <a:pos x="34" y="75"/>
              </a:cxn>
            </a:cxnLst>
            <a:rect l="0" t="0" r="r" b="b"/>
            <a:pathLst>
              <a:path w="459" h="511">
                <a:moveTo>
                  <a:pt x="33" y="68"/>
                </a:moveTo>
                <a:lnTo>
                  <a:pt x="29" y="56"/>
                </a:lnTo>
                <a:lnTo>
                  <a:pt x="26" y="45"/>
                </a:lnTo>
                <a:lnTo>
                  <a:pt x="22" y="38"/>
                </a:lnTo>
                <a:lnTo>
                  <a:pt x="16" y="31"/>
                </a:lnTo>
                <a:lnTo>
                  <a:pt x="12" y="25"/>
                </a:lnTo>
                <a:lnTo>
                  <a:pt x="6" y="18"/>
                </a:lnTo>
                <a:lnTo>
                  <a:pt x="3" y="10"/>
                </a:lnTo>
                <a:lnTo>
                  <a:pt x="0" y="0"/>
                </a:lnTo>
                <a:lnTo>
                  <a:pt x="6" y="2"/>
                </a:lnTo>
                <a:lnTo>
                  <a:pt x="16" y="5"/>
                </a:lnTo>
                <a:lnTo>
                  <a:pt x="22" y="7"/>
                </a:lnTo>
                <a:lnTo>
                  <a:pt x="26" y="8"/>
                </a:lnTo>
                <a:lnTo>
                  <a:pt x="29" y="8"/>
                </a:lnTo>
                <a:lnTo>
                  <a:pt x="33" y="6"/>
                </a:lnTo>
                <a:lnTo>
                  <a:pt x="59" y="31"/>
                </a:lnTo>
                <a:lnTo>
                  <a:pt x="80" y="50"/>
                </a:lnTo>
                <a:lnTo>
                  <a:pt x="95" y="67"/>
                </a:lnTo>
                <a:lnTo>
                  <a:pt x="107" y="80"/>
                </a:lnTo>
                <a:lnTo>
                  <a:pt x="125" y="102"/>
                </a:lnTo>
                <a:lnTo>
                  <a:pt x="146" y="123"/>
                </a:lnTo>
                <a:lnTo>
                  <a:pt x="172" y="149"/>
                </a:lnTo>
                <a:lnTo>
                  <a:pt x="195" y="175"/>
                </a:lnTo>
                <a:lnTo>
                  <a:pt x="216" y="198"/>
                </a:lnTo>
                <a:lnTo>
                  <a:pt x="239" y="222"/>
                </a:lnTo>
                <a:lnTo>
                  <a:pt x="248" y="230"/>
                </a:lnTo>
                <a:lnTo>
                  <a:pt x="258" y="237"/>
                </a:lnTo>
                <a:lnTo>
                  <a:pt x="269" y="245"/>
                </a:lnTo>
                <a:lnTo>
                  <a:pt x="280" y="252"/>
                </a:lnTo>
                <a:lnTo>
                  <a:pt x="303" y="266"/>
                </a:lnTo>
                <a:lnTo>
                  <a:pt x="327" y="281"/>
                </a:lnTo>
                <a:lnTo>
                  <a:pt x="350" y="295"/>
                </a:lnTo>
                <a:lnTo>
                  <a:pt x="372" y="311"/>
                </a:lnTo>
                <a:lnTo>
                  <a:pt x="382" y="318"/>
                </a:lnTo>
                <a:lnTo>
                  <a:pt x="391" y="327"/>
                </a:lnTo>
                <a:lnTo>
                  <a:pt x="398" y="336"/>
                </a:lnTo>
                <a:lnTo>
                  <a:pt x="405" y="345"/>
                </a:lnTo>
                <a:lnTo>
                  <a:pt x="387" y="334"/>
                </a:lnTo>
                <a:lnTo>
                  <a:pt x="365" y="320"/>
                </a:lnTo>
                <a:lnTo>
                  <a:pt x="343" y="306"/>
                </a:lnTo>
                <a:lnTo>
                  <a:pt x="326" y="295"/>
                </a:lnTo>
                <a:lnTo>
                  <a:pt x="324" y="296"/>
                </a:lnTo>
                <a:lnTo>
                  <a:pt x="318" y="296"/>
                </a:lnTo>
                <a:lnTo>
                  <a:pt x="316" y="297"/>
                </a:lnTo>
                <a:lnTo>
                  <a:pt x="314" y="298"/>
                </a:lnTo>
                <a:lnTo>
                  <a:pt x="313" y="300"/>
                </a:lnTo>
                <a:lnTo>
                  <a:pt x="311" y="301"/>
                </a:lnTo>
                <a:lnTo>
                  <a:pt x="313" y="311"/>
                </a:lnTo>
                <a:lnTo>
                  <a:pt x="313" y="320"/>
                </a:lnTo>
                <a:lnTo>
                  <a:pt x="315" y="328"/>
                </a:lnTo>
                <a:lnTo>
                  <a:pt x="317" y="337"/>
                </a:lnTo>
                <a:lnTo>
                  <a:pt x="319" y="344"/>
                </a:lnTo>
                <a:lnTo>
                  <a:pt x="322" y="351"/>
                </a:lnTo>
                <a:lnTo>
                  <a:pt x="326" y="358"/>
                </a:lnTo>
                <a:lnTo>
                  <a:pt x="329" y="364"/>
                </a:lnTo>
                <a:lnTo>
                  <a:pt x="338" y="375"/>
                </a:lnTo>
                <a:lnTo>
                  <a:pt x="348" y="387"/>
                </a:lnTo>
                <a:lnTo>
                  <a:pt x="359" y="396"/>
                </a:lnTo>
                <a:lnTo>
                  <a:pt x="370" y="405"/>
                </a:lnTo>
                <a:lnTo>
                  <a:pt x="394" y="421"/>
                </a:lnTo>
                <a:lnTo>
                  <a:pt x="418" y="438"/>
                </a:lnTo>
                <a:lnTo>
                  <a:pt x="430" y="448"/>
                </a:lnTo>
                <a:lnTo>
                  <a:pt x="440" y="458"/>
                </a:lnTo>
                <a:lnTo>
                  <a:pt x="450" y="468"/>
                </a:lnTo>
                <a:lnTo>
                  <a:pt x="459" y="480"/>
                </a:lnTo>
                <a:lnTo>
                  <a:pt x="448" y="476"/>
                </a:lnTo>
                <a:lnTo>
                  <a:pt x="437" y="473"/>
                </a:lnTo>
                <a:lnTo>
                  <a:pt x="432" y="471"/>
                </a:lnTo>
                <a:lnTo>
                  <a:pt x="428" y="469"/>
                </a:lnTo>
                <a:lnTo>
                  <a:pt x="426" y="466"/>
                </a:lnTo>
                <a:lnTo>
                  <a:pt x="425" y="462"/>
                </a:lnTo>
                <a:lnTo>
                  <a:pt x="392" y="462"/>
                </a:lnTo>
                <a:lnTo>
                  <a:pt x="392" y="475"/>
                </a:lnTo>
                <a:lnTo>
                  <a:pt x="393" y="488"/>
                </a:lnTo>
                <a:lnTo>
                  <a:pt x="393" y="494"/>
                </a:lnTo>
                <a:lnTo>
                  <a:pt x="395" y="501"/>
                </a:lnTo>
                <a:lnTo>
                  <a:pt x="396" y="506"/>
                </a:lnTo>
                <a:lnTo>
                  <a:pt x="398" y="511"/>
                </a:lnTo>
                <a:lnTo>
                  <a:pt x="395" y="505"/>
                </a:lnTo>
                <a:lnTo>
                  <a:pt x="392" y="498"/>
                </a:lnTo>
                <a:lnTo>
                  <a:pt x="388" y="492"/>
                </a:lnTo>
                <a:lnTo>
                  <a:pt x="383" y="486"/>
                </a:lnTo>
                <a:lnTo>
                  <a:pt x="374" y="476"/>
                </a:lnTo>
                <a:lnTo>
                  <a:pt x="363" y="466"/>
                </a:lnTo>
                <a:lnTo>
                  <a:pt x="354" y="458"/>
                </a:lnTo>
                <a:lnTo>
                  <a:pt x="346" y="449"/>
                </a:lnTo>
                <a:lnTo>
                  <a:pt x="343" y="445"/>
                </a:lnTo>
                <a:lnTo>
                  <a:pt x="340" y="439"/>
                </a:lnTo>
                <a:lnTo>
                  <a:pt x="339" y="435"/>
                </a:lnTo>
                <a:lnTo>
                  <a:pt x="339" y="431"/>
                </a:lnTo>
                <a:lnTo>
                  <a:pt x="337" y="425"/>
                </a:lnTo>
                <a:lnTo>
                  <a:pt x="333" y="419"/>
                </a:lnTo>
                <a:lnTo>
                  <a:pt x="328" y="411"/>
                </a:lnTo>
                <a:lnTo>
                  <a:pt x="321" y="403"/>
                </a:lnTo>
                <a:lnTo>
                  <a:pt x="316" y="394"/>
                </a:lnTo>
                <a:lnTo>
                  <a:pt x="310" y="384"/>
                </a:lnTo>
                <a:lnTo>
                  <a:pt x="307" y="376"/>
                </a:lnTo>
                <a:lnTo>
                  <a:pt x="305" y="369"/>
                </a:lnTo>
                <a:lnTo>
                  <a:pt x="298" y="367"/>
                </a:lnTo>
                <a:lnTo>
                  <a:pt x="292" y="365"/>
                </a:lnTo>
                <a:lnTo>
                  <a:pt x="285" y="362"/>
                </a:lnTo>
                <a:lnTo>
                  <a:pt x="280" y="358"/>
                </a:lnTo>
                <a:lnTo>
                  <a:pt x="274" y="353"/>
                </a:lnTo>
                <a:lnTo>
                  <a:pt x="269" y="348"/>
                </a:lnTo>
                <a:lnTo>
                  <a:pt x="264" y="343"/>
                </a:lnTo>
                <a:lnTo>
                  <a:pt x="261" y="337"/>
                </a:lnTo>
                <a:lnTo>
                  <a:pt x="254" y="325"/>
                </a:lnTo>
                <a:lnTo>
                  <a:pt x="249" y="314"/>
                </a:lnTo>
                <a:lnTo>
                  <a:pt x="247" y="304"/>
                </a:lnTo>
                <a:lnTo>
                  <a:pt x="246" y="295"/>
                </a:lnTo>
                <a:lnTo>
                  <a:pt x="245" y="293"/>
                </a:lnTo>
                <a:lnTo>
                  <a:pt x="242" y="289"/>
                </a:lnTo>
                <a:lnTo>
                  <a:pt x="239" y="285"/>
                </a:lnTo>
                <a:lnTo>
                  <a:pt x="234" y="281"/>
                </a:lnTo>
                <a:lnTo>
                  <a:pt x="221" y="269"/>
                </a:lnTo>
                <a:lnTo>
                  <a:pt x="208" y="257"/>
                </a:lnTo>
                <a:lnTo>
                  <a:pt x="194" y="244"/>
                </a:lnTo>
                <a:lnTo>
                  <a:pt x="181" y="232"/>
                </a:lnTo>
                <a:lnTo>
                  <a:pt x="175" y="226"/>
                </a:lnTo>
                <a:lnTo>
                  <a:pt x="171" y="220"/>
                </a:lnTo>
                <a:lnTo>
                  <a:pt x="168" y="214"/>
                </a:lnTo>
                <a:lnTo>
                  <a:pt x="165" y="209"/>
                </a:lnTo>
                <a:lnTo>
                  <a:pt x="163" y="203"/>
                </a:lnTo>
                <a:lnTo>
                  <a:pt x="161" y="197"/>
                </a:lnTo>
                <a:lnTo>
                  <a:pt x="158" y="192"/>
                </a:lnTo>
                <a:lnTo>
                  <a:pt x="154" y="187"/>
                </a:lnTo>
                <a:lnTo>
                  <a:pt x="146" y="178"/>
                </a:lnTo>
                <a:lnTo>
                  <a:pt x="137" y="170"/>
                </a:lnTo>
                <a:lnTo>
                  <a:pt x="115" y="155"/>
                </a:lnTo>
                <a:lnTo>
                  <a:pt x="92" y="143"/>
                </a:lnTo>
                <a:lnTo>
                  <a:pt x="81" y="136"/>
                </a:lnTo>
                <a:lnTo>
                  <a:pt x="70" y="130"/>
                </a:lnTo>
                <a:lnTo>
                  <a:pt x="60" y="122"/>
                </a:lnTo>
                <a:lnTo>
                  <a:pt x="51" y="114"/>
                </a:lnTo>
                <a:lnTo>
                  <a:pt x="47" y="110"/>
                </a:lnTo>
                <a:lnTo>
                  <a:pt x="44" y="104"/>
                </a:lnTo>
                <a:lnTo>
                  <a:pt x="40" y="99"/>
                </a:lnTo>
                <a:lnTo>
                  <a:pt x="38" y="93"/>
                </a:lnTo>
                <a:lnTo>
                  <a:pt x="36" y="88"/>
                </a:lnTo>
                <a:lnTo>
                  <a:pt x="34" y="81"/>
                </a:lnTo>
                <a:lnTo>
                  <a:pt x="34" y="75"/>
                </a:lnTo>
                <a:lnTo>
                  <a:pt x="33" y="6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grpSp>
        <p:nvGrpSpPr>
          <p:cNvPr id="16" name="Group 524"/>
          <p:cNvGrpSpPr>
            <a:grpSpLocks/>
          </p:cNvGrpSpPr>
          <p:nvPr>
            <p:custDataLst>
              <p:tags r:id="rId362"/>
            </p:custDataLst>
          </p:nvPr>
        </p:nvGrpSpPr>
        <p:grpSpPr bwMode="auto">
          <a:xfrm>
            <a:off x="5791204" y="1416851"/>
            <a:ext cx="671513" cy="288131"/>
            <a:chOff x="4115" y="1551"/>
            <a:chExt cx="504" cy="244"/>
          </a:xfrm>
        </p:grpSpPr>
        <p:sp>
          <p:nvSpPr>
            <p:cNvPr id="2573" name="Freeform 525"/>
            <p:cNvSpPr>
              <a:spLocks/>
            </p:cNvSpPr>
            <p:nvPr/>
          </p:nvSpPr>
          <p:spPr bwMode="auto">
            <a:xfrm>
              <a:off x="4540" y="1551"/>
              <a:ext cx="79" cy="86"/>
            </a:xfrm>
            <a:custGeom>
              <a:avLst/>
              <a:gdLst/>
              <a:ahLst/>
              <a:cxnLst>
                <a:cxn ang="0">
                  <a:pos x="13" y="247"/>
                </a:cxn>
                <a:cxn ang="0">
                  <a:pos x="79" y="259"/>
                </a:cxn>
                <a:cxn ang="0">
                  <a:pos x="120" y="240"/>
                </a:cxn>
                <a:cxn ang="0">
                  <a:pos x="133" y="210"/>
                </a:cxn>
                <a:cxn ang="0">
                  <a:pos x="192" y="161"/>
                </a:cxn>
                <a:cxn ang="0">
                  <a:pos x="212" y="111"/>
                </a:cxn>
                <a:cxn ang="0">
                  <a:pos x="240" y="26"/>
                </a:cxn>
                <a:cxn ang="0">
                  <a:pos x="212" y="0"/>
                </a:cxn>
                <a:cxn ang="0">
                  <a:pos x="206" y="32"/>
                </a:cxn>
                <a:cxn ang="0">
                  <a:pos x="199" y="74"/>
                </a:cxn>
                <a:cxn ang="0">
                  <a:pos x="166" y="105"/>
                </a:cxn>
                <a:cxn ang="0">
                  <a:pos x="133" y="149"/>
                </a:cxn>
                <a:cxn ang="0">
                  <a:pos x="113" y="179"/>
                </a:cxn>
                <a:cxn ang="0">
                  <a:pos x="93" y="216"/>
                </a:cxn>
                <a:cxn ang="0">
                  <a:pos x="20" y="222"/>
                </a:cxn>
                <a:cxn ang="0">
                  <a:pos x="0" y="222"/>
                </a:cxn>
                <a:cxn ang="0">
                  <a:pos x="13" y="247"/>
                </a:cxn>
              </a:cxnLst>
              <a:rect l="0" t="0" r="r" b="b"/>
              <a:pathLst>
                <a:path w="240" h="259">
                  <a:moveTo>
                    <a:pt x="13" y="247"/>
                  </a:moveTo>
                  <a:lnTo>
                    <a:pt x="79" y="259"/>
                  </a:lnTo>
                  <a:lnTo>
                    <a:pt x="120" y="240"/>
                  </a:lnTo>
                  <a:lnTo>
                    <a:pt x="133" y="210"/>
                  </a:lnTo>
                  <a:lnTo>
                    <a:pt x="192" y="161"/>
                  </a:lnTo>
                  <a:lnTo>
                    <a:pt x="212" y="111"/>
                  </a:lnTo>
                  <a:lnTo>
                    <a:pt x="240" y="26"/>
                  </a:lnTo>
                  <a:lnTo>
                    <a:pt x="212" y="0"/>
                  </a:lnTo>
                  <a:lnTo>
                    <a:pt x="206" y="32"/>
                  </a:lnTo>
                  <a:lnTo>
                    <a:pt x="199" y="74"/>
                  </a:lnTo>
                  <a:lnTo>
                    <a:pt x="166" y="105"/>
                  </a:lnTo>
                  <a:lnTo>
                    <a:pt x="133" y="149"/>
                  </a:lnTo>
                  <a:lnTo>
                    <a:pt x="113" y="179"/>
                  </a:lnTo>
                  <a:lnTo>
                    <a:pt x="93" y="216"/>
                  </a:lnTo>
                  <a:lnTo>
                    <a:pt x="20" y="222"/>
                  </a:lnTo>
                  <a:lnTo>
                    <a:pt x="0" y="222"/>
                  </a:lnTo>
                  <a:lnTo>
                    <a:pt x="13" y="24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574" name="Freeform 526"/>
            <p:cNvSpPr>
              <a:spLocks/>
            </p:cNvSpPr>
            <p:nvPr/>
          </p:nvSpPr>
          <p:spPr bwMode="auto">
            <a:xfrm>
              <a:off x="4115" y="1761"/>
              <a:ext cx="84" cy="34"/>
            </a:xfrm>
            <a:custGeom>
              <a:avLst/>
              <a:gdLst/>
              <a:ahLst/>
              <a:cxnLst>
                <a:cxn ang="0">
                  <a:pos x="33" y="104"/>
                </a:cxn>
                <a:cxn ang="0">
                  <a:pos x="26" y="86"/>
                </a:cxn>
                <a:cxn ang="0">
                  <a:pos x="52" y="62"/>
                </a:cxn>
                <a:cxn ang="0">
                  <a:pos x="72" y="49"/>
                </a:cxn>
                <a:cxn ang="0">
                  <a:pos x="126" y="43"/>
                </a:cxn>
                <a:cxn ang="0">
                  <a:pos x="172" y="43"/>
                </a:cxn>
                <a:cxn ang="0">
                  <a:pos x="246" y="31"/>
                </a:cxn>
                <a:cxn ang="0">
                  <a:pos x="259" y="7"/>
                </a:cxn>
                <a:cxn ang="0">
                  <a:pos x="246" y="0"/>
                </a:cxn>
                <a:cxn ang="0">
                  <a:pos x="205" y="13"/>
                </a:cxn>
                <a:cxn ang="0">
                  <a:pos x="152" y="7"/>
                </a:cxn>
                <a:cxn ang="0">
                  <a:pos x="106" y="13"/>
                </a:cxn>
                <a:cxn ang="0">
                  <a:pos x="52" y="19"/>
                </a:cxn>
                <a:cxn ang="0">
                  <a:pos x="26" y="43"/>
                </a:cxn>
                <a:cxn ang="0">
                  <a:pos x="0" y="68"/>
                </a:cxn>
                <a:cxn ang="0">
                  <a:pos x="0" y="104"/>
                </a:cxn>
                <a:cxn ang="0">
                  <a:pos x="33" y="104"/>
                </a:cxn>
              </a:cxnLst>
              <a:rect l="0" t="0" r="r" b="b"/>
              <a:pathLst>
                <a:path w="259" h="104">
                  <a:moveTo>
                    <a:pt x="33" y="104"/>
                  </a:moveTo>
                  <a:lnTo>
                    <a:pt x="26" y="86"/>
                  </a:lnTo>
                  <a:lnTo>
                    <a:pt x="52" y="62"/>
                  </a:lnTo>
                  <a:lnTo>
                    <a:pt x="72" y="49"/>
                  </a:lnTo>
                  <a:lnTo>
                    <a:pt x="126" y="43"/>
                  </a:lnTo>
                  <a:lnTo>
                    <a:pt x="172" y="43"/>
                  </a:lnTo>
                  <a:lnTo>
                    <a:pt x="246" y="31"/>
                  </a:lnTo>
                  <a:lnTo>
                    <a:pt x="259" y="7"/>
                  </a:lnTo>
                  <a:lnTo>
                    <a:pt x="246" y="0"/>
                  </a:lnTo>
                  <a:lnTo>
                    <a:pt x="205" y="13"/>
                  </a:lnTo>
                  <a:lnTo>
                    <a:pt x="152" y="7"/>
                  </a:lnTo>
                  <a:lnTo>
                    <a:pt x="106" y="13"/>
                  </a:lnTo>
                  <a:lnTo>
                    <a:pt x="52" y="19"/>
                  </a:lnTo>
                  <a:lnTo>
                    <a:pt x="26" y="43"/>
                  </a:lnTo>
                  <a:lnTo>
                    <a:pt x="0" y="68"/>
                  </a:lnTo>
                  <a:lnTo>
                    <a:pt x="0" y="104"/>
                  </a:lnTo>
                  <a:lnTo>
                    <a:pt x="33" y="10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2575" name="Freeform 527"/>
          <p:cNvSpPr>
            <a:spLocks/>
          </p:cNvSpPr>
          <p:nvPr>
            <p:custDataLst>
              <p:tags r:id="rId363"/>
            </p:custDataLst>
          </p:nvPr>
        </p:nvSpPr>
        <p:spPr bwMode="auto">
          <a:xfrm>
            <a:off x="4848232" y="1978828"/>
            <a:ext cx="530225" cy="383381"/>
          </a:xfrm>
          <a:custGeom>
            <a:avLst/>
            <a:gdLst/>
            <a:ahLst/>
            <a:cxnLst>
              <a:cxn ang="0">
                <a:pos x="932" y="466"/>
              </a:cxn>
              <a:cxn ang="0">
                <a:pos x="932" y="442"/>
              </a:cxn>
              <a:cxn ang="0">
                <a:pos x="930" y="412"/>
              </a:cxn>
              <a:cxn ang="0">
                <a:pos x="908" y="385"/>
              </a:cxn>
              <a:cxn ang="0">
                <a:pos x="899" y="367"/>
              </a:cxn>
              <a:cxn ang="0">
                <a:pos x="817" y="312"/>
              </a:cxn>
              <a:cxn ang="0">
                <a:pos x="759" y="263"/>
              </a:cxn>
              <a:cxn ang="0">
                <a:pos x="752" y="229"/>
              </a:cxn>
              <a:cxn ang="0">
                <a:pos x="726" y="218"/>
              </a:cxn>
              <a:cxn ang="0">
                <a:pos x="695" y="207"/>
              </a:cxn>
              <a:cxn ang="0">
                <a:pos x="638" y="196"/>
              </a:cxn>
              <a:cxn ang="0">
                <a:pos x="596" y="201"/>
              </a:cxn>
              <a:cxn ang="0">
                <a:pos x="570" y="204"/>
              </a:cxn>
              <a:cxn ang="0">
                <a:pos x="530" y="195"/>
              </a:cxn>
              <a:cxn ang="0">
                <a:pos x="505" y="179"/>
              </a:cxn>
              <a:cxn ang="0">
                <a:pos x="483" y="128"/>
              </a:cxn>
              <a:cxn ang="0">
                <a:pos x="465" y="103"/>
              </a:cxn>
              <a:cxn ang="0">
                <a:pos x="432" y="81"/>
              </a:cxn>
              <a:cxn ang="0">
                <a:pos x="365" y="61"/>
              </a:cxn>
              <a:cxn ang="0">
                <a:pos x="303" y="32"/>
              </a:cxn>
              <a:cxn ang="0">
                <a:pos x="214" y="10"/>
              </a:cxn>
              <a:cxn ang="0">
                <a:pos x="166" y="38"/>
              </a:cxn>
              <a:cxn ang="0">
                <a:pos x="151" y="61"/>
              </a:cxn>
              <a:cxn ang="0">
                <a:pos x="153" y="90"/>
              </a:cxn>
              <a:cxn ang="0">
                <a:pos x="169" y="118"/>
              </a:cxn>
              <a:cxn ang="0">
                <a:pos x="151" y="150"/>
              </a:cxn>
              <a:cxn ang="0">
                <a:pos x="95" y="186"/>
              </a:cxn>
              <a:cxn ang="0">
                <a:pos x="54" y="190"/>
              </a:cxn>
              <a:cxn ang="0">
                <a:pos x="9" y="183"/>
              </a:cxn>
              <a:cxn ang="0">
                <a:pos x="0" y="236"/>
              </a:cxn>
              <a:cxn ang="0">
                <a:pos x="9" y="269"/>
              </a:cxn>
              <a:cxn ang="0">
                <a:pos x="25" y="282"/>
              </a:cxn>
              <a:cxn ang="0">
                <a:pos x="40" y="307"/>
              </a:cxn>
              <a:cxn ang="0">
                <a:pos x="83" y="364"/>
              </a:cxn>
              <a:cxn ang="0">
                <a:pos x="102" y="414"/>
              </a:cxn>
              <a:cxn ang="0">
                <a:pos x="121" y="427"/>
              </a:cxn>
              <a:cxn ang="0">
                <a:pos x="133" y="438"/>
              </a:cxn>
              <a:cxn ang="0">
                <a:pos x="148" y="469"/>
              </a:cxn>
              <a:cxn ang="0">
                <a:pos x="224" y="546"/>
              </a:cxn>
              <a:cxn ang="0">
                <a:pos x="249" y="585"/>
              </a:cxn>
              <a:cxn ang="0">
                <a:pos x="256" y="624"/>
              </a:cxn>
              <a:cxn ang="0">
                <a:pos x="266" y="659"/>
              </a:cxn>
              <a:cxn ang="0">
                <a:pos x="299" y="701"/>
              </a:cxn>
              <a:cxn ang="0">
                <a:pos x="361" y="761"/>
              </a:cxn>
              <a:cxn ang="0">
                <a:pos x="388" y="814"/>
              </a:cxn>
              <a:cxn ang="0">
                <a:pos x="425" y="867"/>
              </a:cxn>
              <a:cxn ang="0">
                <a:pos x="483" y="938"/>
              </a:cxn>
              <a:cxn ang="0">
                <a:pos x="528" y="979"/>
              </a:cxn>
              <a:cxn ang="0">
                <a:pos x="543" y="953"/>
              </a:cxn>
              <a:cxn ang="0">
                <a:pos x="546" y="909"/>
              </a:cxn>
              <a:cxn ang="0">
                <a:pos x="570" y="896"/>
              </a:cxn>
              <a:cxn ang="0">
                <a:pos x="605" y="895"/>
              </a:cxn>
              <a:cxn ang="0">
                <a:pos x="660" y="909"/>
              </a:cxn>
              <a:cxn ang="0">
                <a:pos x="708" y="943"/>
              </a:cxn>
              <a:cxn ang="0">
                <a:pos x="787" y="838"/>
              </a:cxn>
              <a:cxn ang="0">
                <a:pos x="1199" y="567"/>
              </a:cxn>
              <a:cxn ang="0">
                <a:pos x="940" y="468"/>
              </a:cxn>
            </a:cxnLst>
            <a:rect l="0" t="0" r="r" b="b"/>
            <a:pathLst>
              <a:path w="1227" h="979">
                <a:moveTo>
                  <a:pt x="940" y="468"/>
                </a:moveTo>
                <a:lnTo>
                  <a:pt x="937" y="468"/>
                </a:lnTo>
                <a:lnTo>
                  <a:pt x="935" y="467"/>
                </a:lnTo>
                <a:lnTo>
                  <a:pt x="932" y="466"/>
                </a:lnTo>
                <a:lnTo>
                  <a:pt x="931" y="465"/>
                </a:lnTo>
                <a:lnTo>
                  <a:pt x="930" y="461"/>
                </a:lnTo>
                <a:lnTo>
                  <a:pt x="930" y="456"/>
                </a:lnTo>
                <a:lnTo>
                  <a:pt x="932" y="442"/>
                </a:lnTo>
                <a:lnTo>
                  <a:pt x="933" y="425"/>
                </a:lnTo>
                <a:lnTo>
                  <a:pt x="933" y="420"/>
                </a:lnTo>
                <a:lnTo>
                  <a:pt x="932" y="416"/>
                </a:lnTo>
                <a:lnTo>
                  <a:pt x="930" y="412"/>
                </a:lnTo>
                <a:lnTo>
                  <a:pt x="928" y="407"/>
                </a:lnTo>
                <a:lnTo>
                  <a:pt x="921" y="400"/>
                </a:lnTo>
                <a:lnTo>
                  <a:pt x="915" y="392"/>
                </a:lnTo>
                <a:lnTo>
                  <a:pt x="908" y="385"/>
                </a:lnTo>
                <a:lnTo>
                  <a:pt x="903" y="378"/>
                </a:lnTo>
                <a:lnTo>
                  <a:pt x="902" y="373"/>
                </a:lnTo>
                <a:lnTo>
                  <a:pt x="901" y="370"/>
                </a:lnTo>
                <a:lnTo>
                  <a:pt x="899" y="367"/>
                </a:lnTo>
                <a:lnTo>
                  <a:pt x="901" y="363"/>
                </a:lnTo>
                <a:lnTo>
                  <a:pt x="865" y="344"/>
                </a:lnTo>
                <a:lnTo>
                  <a:pt x="838" y="328"/>
                </a:lnTo>
                <a:lnTo>
                  <a:pt x="817" y="312"/>
                </a:lnTo>
                <a:lnTo>
                  <a:pt x="801" y="300"/>
                </a:lnTo>
                <a:lnTo>
                  <a:pt x="779" y="280"/>
                </a:lnTo>
                <a:lnTo>
                  <a:pt x="761" y="264"/>
                </a:lnTo>
                <a:lnTo>
                  <a:pt x="759" y="263"/>
                </a:lnTo>
                <a:lnTo>
                  <a:pt x="757" y="258"/>
                </a:lnTo>
                <a:lnTo>
                  <a:pt x="756" y="252"/>
                </a:lnTo>
                <a:lnTo>
                  <a:pt x="754" y="245"/>
                </a:lnTo>
                <a:lnTo>
                  <a:pt x="752" y="229"/>
                </a:lnTo>
                <a:lnTo>
                  <a:pt x="748" y="216"/>
                </a:lnTo>
                <a:lnTo>
                  <a:pt x="740" y="218"/>
                </a:lnTo>
                <a:lnTo>
                  <a:pt x="733" y="218"/>
                </a:lnTo>
                <a:lnTo>
                  <a:pt x="726" y="218"/>
                </a:lnTo>
                <a:lnTo>
                  <a:pt x="718" y="217"/>
                </a:lnTo>
                <a:lnTo>
                  <a:pt x="711" y="215"/>
                </a:lnTo>
                <a:lnTo>
                  <a:pt x="703" y="212"/>
                </a:lnTo>
                <a:lnTo>
                  <a:pt x="695" y="207"/>
                </a:lnTo>
                <a:lnTo>
                  <a:pt x="688" y="203"/>
                </a:lnTo>
                <a:lnTo>
                  <a:pt x="667" y="199"/>
                </a:lnTo>
                <a:lnTo>
                  <a:pt x="650" y="197"/>
                </a:lnTo>
                <a:lnTo>
                  <a:pt x="638" y="196"/>
                </a:lnTo>
                <a:lnTo>
                  <a:pt x="630" y="196"/>
                </a:lnTo>
                <a:lnTo>
                  <a:pt x="617" y="199"/>
                </a:lnTo>
                <a:lnTo>
                  <a:pt x="602" y="203"/>
                </a:lnTo>
                <a:lnTo>
                  <a:pt x="596" y="201"/>
                </a:lnTo>
                <a:lnTo>
                  <a:pt x="591" y="201"/>
                </a:lnTo>
                <a:lnTo>
                  <a:pt x="584" y="202"/>
                </a:lnTo>
                <a:lnTo>
                  <a:pt x="578" y="203"/>
                </a:lnTo>
                <a:lnTo>
                  <a:pt x="570" y="204"/>
                </a:lnTo>
                <a:lnTo>
                  <a:pt x="563" y="205"/>
                </a:lnTo>
                <a:lnTo>
                  <a:pt x="556" y="204"/>
                </a:lnTo>
                <a:lnTo>
                  <a:pt x="548" y="203"/>
                </a:lnTo>
                <a:lnTo>
                  <a:pt x="530" y="195"/>
                </a:lnTo>
                <a:lnTo>
                  <a:pt x="517" y="190"/>
                </a:lnTo>
                <a:lnTo>
                  <a:pt x="513" y="187"/>
                </a:lnTo>
                <a:lnTo>
                  <a:pt x="509" y="183"/>
                </a:lnTo>
                <a:lnTo>
                  <a:pt x="505" y="179"/>
                </a:lnTo>
                <a:lnTo>
                  <a:pt x="502" y="173"/>
                </a:lnTo>
                <a:lnTo>
                  <a:pt x="493" y="152"/>
                </a:lnTo>
                <a:lnTo>
                  <a:pt x="487" y="136"/>
                </a:lnTo>
                <a:lnTo>
                  <a:pt x="483" y="128"/>
                </a:lnTo>
                <a:lnTo>
                  <a:pt x="479" y="121"/>
                </a:lnTo>
                <a:lnTo>
                  <a:pt x="476" y="115"/>
                </a:lnTo>
                <a:lnTo>
                  <a:pt x="470" y="109"/>
                </a:lnTo>
                <a:lnTo>
                  <a:pt x="465" y="103"/>
                </a:lnTo>
                <a:lnTo>
                  <a:pt x="459" y="96"/>
                </a:lnTo>
                <a:lnTo>
                  <a:pt x="451" y="91"/>
                </a:lnTo>
                <a:lnTo>
                  <a:pt x="443" y="86"/>
                </a:lnTo>
                <a:lnTo>
                  <a:pt x="432" y="81"/>
                </a:lnTo>
                <a:lnTo>
                  <a:pt x="420" y="77"/>
                </a:lnTo>
                <a:lnTo>
                  <a:pt x="405" y="72"/>
                </a:lnTo>
                <a:lnTo>
                  <a:pt x="389" y="68"/>
                </a:lnTo>
                <a:lnTo>
                  <a:pt x="365" y="61"/>
                </a:lnTo>
                <a:lnTo>
                  <a:pt x="346" y="55"/>
                </a:lnTo>
                <a:lnTo>
                  <a:pt x="332" y="48"/>
                </a:lnTo>
                <a:lnTo>
                  <a:pt x="317" y="40"/>
                </a:lnTo>
                <a:lnTo>
                  <a:pt x="303" y="32"/>
                </a:lnTo>
                <a:lnTo>
                  <a:pt x="287" y="23"/>
                </a:lnTo>
                <a:lnTo>
                  <a:pt x="265" y="13"/>
                </a:lnTo>
                <a:lnTo>
                  <a:pt x="236" y="0"/>
                </a:lnTo>
                <a:lnTo>
                  <a:pt x="214" y="10"/>
                </a:lnTo>
                <a:lnTo>
                  <a:pt x="186" y="24"/>
                </a:lnTo>
                <a:lnTo>
                  <a:pt x="178" y="28"/>
                </a:lnTo>
                <a:lnTo>
                  <a:pt x="171" y="33"/>
                </a:lnTo>
                <a:lnTo>
                  <a:pt x="166" y="38"/>
                </a:lnTo>
                <a:lnTo>
                  <a:pt x="160" y="44"/>
                </a:lnTo>
                <a:lnTo>
                  <a:pt x="156" y="49"/>
                </a:lnTo>
                <a:lnTo>
                  <a:pt x="153" y="55"/>
                </a:lnTo>
                <a:lnTo>
                  <a:pt x="151" y="61"/>
                </a:lnTo>
                <a:lnTo>
                  <a:pt x="149" y="68"/>
                </a:lnTo>
                <a:lnTo>
                  <a:pt x="151" y="75"/>
                </a:lnTo>
                <a:lnTo>
                  <a:pt x="152" y="82"/>
                </a:lnTo>
                <a:lnTo>
                  <a:pt x="153" y="90"/>
                </a:lnTo>
                <a:lnTo>
                  <a:pt x="156" y="97"/>
                </a:lnTo>
                <a:lnTo>
                  <a:pt x="159" y="105"/>
                </a:lnTo>
                <a:lnTo>
                  <a:pt x="164" y="112"/>
                </a:lnTo>
                <a:lnTo>
                  <a:pt x="169" y="118"/>
                </a:lnTo>
                <a:lnTo>
                  <a:pt x="177" y="123"/>
                </a:lnTo>
                <a:lnTo>
                  <a:pt x="171" y="129"/>
                </a:lnTo>
                <a:lnTo>
                  <a:pt x="163" y="139"/>
                </a:lnTo>
                <a:lnTo>
                  <a:pt x="151" y="150"/>
                </a:lnTo>
                <a:lnTo>
                  <a:pt x="136" y="162"/>
                </a:lnTo>
                <a:lnTo>
                  <a:pt x="120" y="173"/>
                </a:lnTo>
                <a:lnTo>
                  <a:pt x="102" y="182"/>
                </a:lnTo>
                <a:lnTo>
                  <a:pt x="95" y="186"/>
                </a:lnTo>
                <a:lnTo>
                  <a:pt x="86" y="188"/>
                </a:lnTo>
                <a:lnTo>
                  <a:pt x="78" y="190"/>
                </a:lnTo>
                <a:lnTo>
                  <a:pt x="70" y="191"/>
                </a:lnTo>
                <a:lnTo>
                  <a:pt x="54" y="190"/>
                </a:lnTo>
                <a:lnTo>
                  <a:pt x="37" y="187"/>
                </a:lnTo>
                <a:lnTo>
                  <a:pt x="22" y="183"/>
                </a:lnTo>
                <a:lnTo>
                  <a:pt x="10" y="179"/>
                </a:lnTo>
                <a:lnTo>
                  <a:pt x="9" y="183"/>
                </a:lnTo>
                <a:lnTo>
                  <a:pt x="6" y="193"/>
                </a:lnTo>
                <a:lnTo>
                  <a:pt x="2" y="208"/>
                </a:lnTo>
                <a:lnTo>
                  <a:pt x="0" y="226"/>
                </a:lnTo>
                <a:lnTo>
                  <a:pt x="0" y="236"/>
                </a:lnTo>
                <a:lnTo>
                  <a:pt x="0" y="245"/>
                </a:lnTo>
                <a:lnTo>
                  <a:pt x="2" y="253"/>
                </a:lnTo>
                <a:lnTo>
                  <a:pt x="5" y="261"/>
                </a:lnTo>
                <a:lnTo>
                  <a:pt x="9" y="269"/>
                </a:lnTo>
                <a:lnTo>
                  <a:pt x="14" y="276"/>
                </a:lnTo>
                <a:lnTo>
                  <a:pt x="18" y="278"/>
                </a:lnTo>
                <a:lnTo>
                  <a:pt x="21" y="280"/>
                </a:lnTo>
                <a:lnTo>
                  <a:pt x="25" y="282"/>
                </a:lnTo>
                <a:lnTo>
                  <a:pt x="30" y="283"/>
                </a:lnTo>
                <a:lnTo>
                  <a:pt x="32" y="291"/>
                </a:lnTo>
                <a:lnTo>
                  <a:pt x="35" y="299"/>
                </a:lnTo>
                <a:lnTo>
                  <a:pt x="40" y="307"/>
                </a:lnTo>
                <a:lnTo>
                  <a:pt x="44" y="315"/>
                </a:lnTo>
                <a:lnTo>
                  <a:pt x="56" y="331"/>
                </a:lnTo>
                <a:lnTo>
                  <a:pt x="69" y="347"/>
                </a:lnTo>
                <a:lnTo>
                  <a:pt x="83" y="364"/>
                </a:lnTo>
                <a:lnTo>
                  <a:pt x="92" y="383"/>
                </a:lnTo>
                <a:lnTo>
                  <a:pt x="97" y="393"/>
                </a:lnTo>
                <a:lnTo>
                  <a:pt x="100" y="403"/>
                </a:lnTo>
                <a:lnTo>
                  <a:pt x="102" y="414"/>
                </a:lnTo>
                <a:lnTo>
                  <a:pt x="103" y="425"/>
                </a:lnTo>
                <a:lnTo>
                  <a:pt x="110" y="425"/>
                </a:lnTo>
                <a:lnTo>
                  <a:pt x="117" y="426"/>
                </a:lnTo>
                <a:lnTo>
                  <a:pt x="121" y="427"/>
                </a:lnTo>
                <a:lnTo>
                  <a:pt x="124" y="429"/>
                </a:lnTo>
                <a:lnTo>
                  <a:pt x="128" y="431"/>
                </a:lnTo>
                <a:lnTo>
                  <a:pt x="131" y="435"/>
                </a:lnTo>
                <a:lnTo>
                  <a:pt x="133" y="438"/>
                </a:lnTo>
                <a:lnTo>
                  <a:pt x="135" y="441"/>
                </a:lnTo>
                <a:lnTo>
                  <a:pt x="139" y="450"/>
                </a:lnTo>
                <a:lnTo>
                  <a:pt x="143" y="459"/>
                </a:lnTo>
                <a:lnTo>
                  <a:pt x="148" y="469"/>
                </a:lnTo>
                <a:lnTo>
                  <a:pt x="156" y="480"/>
                </a:lnTo>
                <a:lnTo>
                  <a:pt x="184" y="504"/>
                </a:lnTo>
                <a:lnTo>
                  <a:pt x="216" y="536"/>
                </a:lnTo>
                <a:lnTo>
                  <a:pt x="224" y="546"/>
                </a:lnTo>
                <a:lnTo>
                  <a:pt x="232" y="556"/>
                </a:lnTo>
                <a:lnTo>
                  <a:pt x="238" y="565"/>
                </a:lnTo>
                <a:lnTo>
                  <a:pt x="244" y="575"/>
                </a:lnTo>
                <a:lnTo>
                  <a:pt x="249" y="585"/>
                </a:lnTo>
                <a:lnTo>
                  <a:pt x="253" y="595"/>
                </a:lnTo>
                <a:lnTo>
                  <a:pt x="255" y="606"/>
                </a:lnTo>
                <a:lnTo>
                  <a:pt x="256" y="616"/>
                </a:lnTo>
                <a:lnTo>
                  <a:pt x="256" y="624"/>
                </a:lnTo>
                <a:lnTo>
                  <a:pt x="257" y="631"/>
                </a:lnTo>
                <a:lnTo>
                  <a:pt x="258" y="638"/>
                </a:lnTo>
                <a:lnTo>
                  <a:pt x="260" y="645"/>
                </a:lnTo>
                <a:lnTo>
                  <a:pt x="266" y="659"/>
                </a:lnTo>
                <a:lnTo>
                  <a:pt x="272" y="670"/>
                </a:lnTo>
                <a:lnTo>
                  <a:pt x="280" y="681"/>
                </a:lnTo>
                <a:lnTo>
                  <a:pt x="289" y="691"/>
                </a:lnTo>
                <a:lnTo>
                  <a:pt x="299" y="701"/>
                </a:lnTo>
                <a:lnTo>
                  <a:pt x="310" y="710"/>
                </a:lnTo>
                <a:lnTo>
                  <a:pt x="331" y="730"/>
                </a:lnTo>
                <a:lnTo>
                  <a:pt x="352" y="750"/>
                </a:lnTo>
                <a:lnTo>
                  <a:pt x="361" y="761"/>
                </a:lnTo>
                <a:lnTo>
                  <a:pt x="369" y="774"/>
                </a:lnTo>
                <a:lnTo>
                  <a:pt x="377" y="787"/>
                </a:lnTo>
                <a:lnTo>
                  <a:pt x="382" y="801"/>
                </a:lnTo>
                <a:lnTo>
                  <a:pt x="388" y="814"/>
                </a:lnTo>
                <a:lnTo>
                  <a:pt x="394" y="827"/>
                </a:lnTo>
                <a:lnTo>
                  <a:pt x="401" y="838"/>
                </a:lnTo>
                <a:lnTo>
                  <a:pt x="409" y="848"/>
                </a:lnTo>
                <a:lnTo>
                  <a:pt x="425" y="867"/>
                </a:lnTo>
                <a:lnTo>
                  <a:pt x="443" y="886"/>
                </a:lnTo>
                <a:lnTo>
                  <a:pt x="459" y="905"/>
                </a:lnTo>
                <a:lnTo>
                  <a:pt x="476" y="925"/>
                </a:lnTo>
                <a:lnTo>
                  <a:pt x="483" y="938"/>
                </a:lnTo>
                <a:lnTo>
                  <a:pt x="490" y="950"/>
                </a:lnTo>
                <a:lnTo>
                  <a:pt x="496" y="964"/>
                </a:lnTo>
                <a:lnTo>
                  <a:pt x="502" y="979"/>
                </a:lnTo>
                <a:lnTo>
                  <a:pt x="528" y="979"/>
                </a:lnTo>
                <a:lnTo>
                  <a:pt x="535" y="973"/>
                </a:lnTo>
                <a:lnTo>
                  <a:pt x="539" y="966"/>
                </a:lnTo>
                <a:lnTo>
                  <a:pt x="541" y="960"/>
                </a:lnTo>
                <a:lnTo>
                  <a:pt x="543" y="953"/>
                </a:lnTo>
                <a:lnTo>
                  <a:pt x="543" y="938"/>
                </a:lnTo>
                <a:lnTo>
                  <a:pt x="541" y="918"/>
                </a:lnTo>
                <a:lnTo>
                  <a:pt x="543" y="913"/>
                </a:lnTo>
                <a:lnTo>
                  <a:pt x="546" y="909"/>
                </a:lnTo>
                <a:lnTo>
                  <a:pt x="551" y="905"/>
                </a:lnTo>
                <a:lnTo>
                  <a:pt x="557" y="901"/>
                </a:lnTo>
                <a:lnTo>
                  <a:pt x="563" y="898"/>
                </a:lnTo>
                <a:lnTo>
                  <a:pt x="570" y="896"/>
                </a:lnTo>
                <a:lnTo>
                  <a:pt x="577" y="894"/>
                </a:lnTo>
                <a:lnTo>
                  <a:pt x="582" y="893"/>
                </a:lnTo>
                <a:lnTo>
                  <a:pt x="594" y="894"/>
                </a:lnTo>
                <a:lnTo>
                  <a:pt x="605" y="895"/>
                </a:lnTo>
                <a:lnTo>
                  <a:pt x="616" y="896"/>
                </a:lnTo>
                <a:lnTo>
                  <a:pt x="626" y="898"/>
                </a:lnTo>
                <a:lnTo>
                  <a:pt x="644" y="902"/>
                </a:lnTo>
                <a:lnTo>
                  <a:pt x="660" y="909"/>
                </a:lnTo>
                <a:lnTo>
                  <a:pt x="674" y="916"/>
                </a:lnTo>
                <a:lnTo>
                  <a:pt x="686" y="924"/>
                </a:lnTo>
                <a:lnTo>
                  <a:pt x="697" y="934"/>
                </a:lnTo>
                <a:lnTo>
                  <a:pt x="708" y="943"/>
                </a:lnTo>
                <a:lnTo>
                  <a:pt x="729" y="916"/>
                </a:lnTo>
                <a:lnTo>
                  <a:pt x="756" y="881"/>
                </a:lnTo>
                <a:lnTo>
                  <a:pt x="778" y="851"/>
                </a:lnTo>
                <a:lnTo>
                  <a:pt x="787" y="838"/>
                </a:lnTo>
                <a:lnTo>
                  <a:pt x="1033" y="789"/>
                </a:lnTo>
                <a:lnTo>
                  <a:pt x="1146" y="763"/>
                </a:lnTo>
                <a:lnTo>
                  <a:pt x="1227" y="616"/>
                </a:lnTo>
                <a:lnTo>
                  <a:pt x="1199" y="567"/>
                </a:lnTo>
                <a:lnTo>
                  <a:pt x="1173" y="591"/>
                </a:lnTo>
                <a:lnTo>
                  <a:pt x="1000" y="573"/>
                </a:lnTo>
                <a:lnTo>
                  <a:pt x="940" y="480"/>
                </a:lnTo>
                <a:lnTo>
                  <a:pt x="940" y="46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576" name="Freeform 528"/>
          <p:cNvSpPr>
            <a:spLocks/>
          </p:cNvSpPr>
          <p:nvPr>
            <p:custDataLst>
              <p:tags r:id="rId364"/>
            </p:custDataLst>
          </p:nvPr>
        </p:nvSpPr>
        <p:spPr bwMode="auto">
          <a:xfrm>
            <a:off x="4322763" y="1637115"/>
            <a:ext cx="57150" cy="42863"/>
          </a:xfrm>
          <a:custGeom>
            <a:avLst/>
            <a:gdLst/>
            <a:ahLst/>
            <a:cxnLst>
              <a:cxn ang="0">
                <a:pos x="146" y="18"/>
              </a:cxn>
              <a:cxn ang="0">
                <a:pos x="138" y="24"/>
              </a:cxn>
              <a:cxn ang="0">
                <a:pos x="130" y="29"/>
              </a:cxn>
              <a:cxn ang="0">
                <a:pos x="123" y="35"/>
              </a:cxn>
              <a:cxn ang="0">
                <a:pos x="118" y="41"/>
              </a:cxn>
              <a:cxn ang="0">
                <a:pos x="108" y="53"/>
              </a:cxn>
              <a:cxn ang="0">
                <a:pos x="98" y="64"/>
              </a:cxn>
              <a:cxn ang="0">
                <a:pos x="93" y="69"/>
              </a:cxn>
              <a:cxn ang="0">
                <a:pos x="85" y="73"/>
              </a:cxn>
              <a:cxn ang="0">
                <a:pos x="76" y="77"/>
              </a:cxn>
              <a:cxn ang="0">
                <a:pos x="66" y="80"/>
              </a:cxn>
              <a:cxn ang="0">
                <a:pos x="53" y="81"/>
              </a:cxn>
              <a:cxn ang="0">
                <a:pos x="39" y="80"/>
              </a:cxn>
              <a:cxn ang="0">
                <a:pos x="21" y="77"/>
              </a:cxn>
              <a:cxn ang="0">
                <a:pos x="0" y="74"/>
              </a:cxn>
              <a:cxn ang="0">
                <a:pos x="0" y="62"/>
              </a:cxn>
              <a:cxn ang="0">
                <a:pos x="0" y="49"/>
              </a:cxn>
              <a:cxn ang="0">
                <a:pos x="0" y="34"/>
              </a:cxn>
              <a:cxn ang="0">
                <a:pos x="0" y="18"/>
              </a:cxn>
              <a:cxn ang="0">
                <a:pos x="14" y="18"/>
              </a:cxn>
              <a:cxn ang="0">
                <a:pos x="22" y="18"/>
              </a:cxn>
              <a:cxn ang="0">
                <a:pos x="31" y="18"/>
              </a:cxn>
              <a:cxn ang="0">
                <a:pos x="40" y="18"/>
              </a:cxn>
              <a:cxn ang="0">
                <a:pos x="52" y="18"/>
              </a:cxn>
              <a:cxn ang="0">
                <a:pos x="63" y="16"/>
              </a:cxn>
              <a:cxn ang="0">
                <a:pos x="73" y="14"/>
              </a:cxn>
              <a:cxn ang="0">
                <a:pos x="83" y="11"/>
              </a:cxn>
              <a:cxn ang="0">
                <a:pos x="101" y="5"/>
              </a:cxn>
              <a:cxn ang="0">
                <a:pos x="120" y="0"/>
              </a:cxn>
              <a:cxn ang="0">
                <a:pos x="129" y="4"/>
              </a:cxn>
              <a:cxn ang="0">
                <a:pos x="135" y="9"/>
              </a:cxn>
              <a:cxn ang="0">
                <a:pos x="141" y="14"/>
              </a:cxn>
              <a:cxn ang="0">
                <a:pos x="146" y="18"/>
              </a:cxn>
            </a:cxnLst>
            <a:rect l="0" t="0" r="r" b="b"/>
            <a:pathLst>
              <a:path w="146" h="81">
                <a:moveTo>
                  <a:pt x="146" y="18"/>
                </a:moveTo>
                <a:lnTo>
                  <a:pt x="138" y="24"/>
                </a:lnTo>
                <a:lnTo>
                  <a:pt x="130" y="29"/>
                </a:lnTo>
                <a:lnTo>
                  <a:pt x="123" y="35"/>
                </a:lnTo>
                <a:lnTo>
                  <a:pt x="118" y="41"/>
                </a:lnTo>
                <a:lnTo>
                  <a:pt x="108" y="53"/>
                </a:lnTo>
                <a:lnTo>
                  <a:pt x="98" y="64"/>
                </a:lnTo>
                <a:lnTo>
                  <a:pt x="93" y="69"/>
                </a:lnTo>
                <a:lnTo>
                  <a:pt x="85" y="73"/>
                </a:lnTo>
                <a:lnTo>
                  <a:pt x="76" y="77"/>
                </a:lnTo>
                <a:lnTo>
                  <a:pt x="66" y="80"/>
                </a:lnTo>
                <a:lnTo>
                  <a:pt x="53" y="81"/>
                </a:lnTo>
                <a:lnTo>
                  <a:pt x="39" y="80"/>
                </a:lnTo>
                <a:lnTo>
                  <a:pt x="21" y="77"/>
                </a:lnTo>
                <a:lnTo>
                  <a:pt x="0" y="74"/>
                </a:lnTo>
                <a:lnTo>
                  <a:pt x="0" y="62"/>
                </a:lnTo>
                <a:lnTo>
                  <a:pt x="0" y="49"/>
                </a:lnTo>
                <a:lnTo>
                  <a:pt x="0" y="34"/>
                </a:lnTo>
                <a:lnTo>
                  <a:pt x="0" y="18"/>
                </a:lnTo>
                <a:lnTo>
                  <a:pt x="14" y="18"/>
                </a:lnTo>
                <a:lnTo>
                  <a:pt x="22" y="18"/>
                </a:lnTo>
                <a:lnTo>
                  <a:pt x="31" y="18"/>
                </a:lnTo>
                <a:lnTo>
                  <a:pt x="40" y="18"/>
                </a:lnTo>
                <a:lnTo>
                  <a:pt x="52" y="18"/>
                </a:lnTo>
                <a:lnTo>
                  <a:pt x="63" y="16"/>
                </a:lnTo>
                <a:lnTo>
                  <a:pt x="73" y="14"/>
                </a:lnTo>
                <a:lnTo>
                  <a:pt x="83" y="11"/>
                </a:lnTo>
                <a:lnTo>
                  <a:pt x="101" y="5"/>
                </a:lnTo>
                <a:lnTo>
                  <a:pt x="120" y="0"/>
                </a:lnTo>
                <a:lnTo>
                  <a:pt x="129" y="4"/>
                </a:lnTo>
                <a:lnTo>
                  <a:pt x="135" y="9"/>
                </a:lnTo>
                <a:lnTo>
                  <a:pt x="141" y="14"/>
                </a:lnTo>
                <a:lnTo>
                  <a:pt x="146" y="18"/>
                </a:lnTo>
              </a:path>
            </a:pathLst>
          </a:custGeom>
          <a:solidFill>
            <a:srgbClr val="007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577" name="Freeform 529"/>
          <p:cNvSpPr>
            <a:spLocks/>
          </p:cNvSpPr>
          <p:nvPr>
            <p:custDataLst>
              <p:tags r:id="rId365"/>
            </p:custDataLst>
          </p:nvPr>
        </p:nvSpPr>
        <p:spPr bwMode="auto">
          <a:xfrm>
            <a:off x="4062415" y="1796658"/>
            <a:ext cx="15875" cy="42863"/>
          </a:xfrm>
          <a:custGeom>
            <a:avLst/>
            <a:gdLst/>
            <a:ahLst/>
            <a:cxnLst>
              <a:cxn ang="0">
                <a:pos x="34" y="49"/>
              </a:cxn>
              <a:cxn ang="0">
                <a:pos x="34" y="34"/>
              </a:cxn>
              <a:cxn ang="0">
                <a:pos x="34" y="25"/>
              </a:cxn>
              <a:cxn ang="0">
                <a:pos x="33" y="21"/>
              </a:cxn>
              <a:cxn ang="0">
                <a:pos x="33" y="17"/>
              </a:cxn>
              <a:cxn ang="0">
                <a:pos x="31" y="15"/>
              </a:cxn>
              <a:cxn ang="0">
                <a:pos x="30" y="12"/>
              </a:cxn>
              <a:cxn ang="0">
                <a:pos x="25" y="8"/>
              </a:cxn>
              <a:cxn ang="0">
                <a:pos x="21" y="0"/>
              </a:cxn>
              <a:cxn ang="0">
                <a:pos x="8" y="0"/>
              </a:cxn>
              <a:cxn ang="0">
                <a:pos x="0" y="0"/>
              </a:cxn>
              <a:cxn ang="0">
                <a:pos x="3" y="11"/>
              </a:cxn>
              <a:cxn ang="0">
                <a:pos x="7" y="20"/>
              </a:cxn>
              <a:cxn ang="0">
                <a:pos x="10" y="27"/>
              </a:cxn>
              <a:cxn ang="0">
                <a:pos x="14" y="34"/>
              </a:cxn>
              <a:cxn ang="0">
                <a:pos x="19" y="39"/>
              </a:cxn>
              <a:cxn ang="0">
                <a:pos x="24" y="43"/>
              </a:cxn>
              <a:cxn ang="0">
                <a:pos x="29" y="46"/>
              </a:cxn>
              <a:cxn ang="0">
                <a:pos x="34" y="49"/>
              </a:cxn>
            </a:cxnLst>
            <a:rect l="0" t="0" r="r" b="b"/>
            <a:pathLst>
              <a:path w="34" h="49">
                <a:moveTo>
                  <a:pt x="34" y="49"/>
                </a:moveTo>
                <a:lnTo>
                  <a:pt x="34" y="34"/>
                </a:lnTo>
                <a:lnTo>
                  <a:pt x="34" y="25"/>
                </a:lnTo>
                <a:lnTo>
                  <a:pt x="33" y="21"/>
                </a:lnTo>
                <a:lnTo>
                  <a:pt x="33" y="17"/>
                </a:lnTo>
                <a:lnTo>
                  <a:pt x="31" y="15"/>
                </a:lnTo>
                <a:lnTo>
                  <a:pt x="30" y="12"/>
                </a:lnTo>
                <a:lnTo>
                  <a:pt x="25" y="8"/>
                </a:lnTo>
                <a:lnTo>
                  <a:pt x="21" y="0"/>
                </a:lnTo>
                <a:lnTo>
                  <a:pt x="8" y="0"/>
                </a:lnTo>
                <a:lnTo>
                  <a:pt x="0" y="0"/>
                </a:lnTo>
                <a:lnTo>
                  <a:pt x="3" y="11"/>
                </a:lnTo>
                <a:lnTo>
                  <a:pt x="7" y="20"/>
                </a:lnTo>
                <a:lnTo>
                  <a:pt x="10" y="27"/>
                </a:lnTo>
                <a:lnTo>
                  <a:pt x="14" y="34"/>
                </a:lnTo>
                <a:lnTo>
                  <a:pt x="19" y="39"/>
                </a:lnTo>
                <a:lnTo>
                  <a:pt x="24" y="43"/>
                </a:lnTo>
                <a:lnTo>
                  <a:pt x="29" y="46"/>
                </a:lnTo>
                <a:lnTo>
                  <a:pt x="34" y="4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578" name="Freeform 530"/>
          <p:cNvSpPr>
            <a:spLocks/>
          </p:cNvSpPr>
          <p:nvPr>
            <p:custDataLst>
              <p:tags r:id="rId366"/>
            </p:custDataLst>
          </p:nvPr>
        </p:nvSpPr>
        <p:spPr bwMode="auto">
          <a:xfrm>
            <a:off x="3654425" y="2056215"/>
            <a:ext cx="28575" cy="42863"/>
          </a:xfrm>
          <a:custGeom>
            <a:avLst/>
            <a:gdLst/>
            <a:ahLst/>
            <a:cxnLst>
              <a:cxn ang="0">
                <a:pos x="60" y="0"/>
              </a:cxn>
              <a:cxn ang="0">
                <a:pos x="56" y="4"/>
              </a:cxn>
              <a:cxn ang="0">
                <a:pos x="51" y="10"/>
              </a:cxn>
              <a:cxn ang="0">
                <a:pos x="48" y="15"/>
              </a:cxn>
              <a:cxn ang="0">
                <a:pos x="46" y="21"/>
              </a:cxn>
              <a:cxn ang="0">
                <a:pos x="41" y="31"/>
              </a:cxn>
              <a:cxn ang="0">
                <a:pos x="37" y="42"/>
              </a:cxn>
              <a:cxn ang="0">
                <a:pos x="35" y="47"/>
              </a:cxn>
              <a:cxn ang="0">
                <a:pos x="32" y="51"/>
              </a:cxn>
              <a:cxn ang="0">
                <a:pos x="29" y="56"/>
              </a:cxn>
              <a:cxn ang="0">
                <a:pos x="25" y="60"/>
              </a:cxn>
              <a:cxn ang="0">
                <a:pos x="20" y="65"/>
              </a:cxn>
              <a:cxn ang="0">
                <a:pos x="15" y="69"/>
              </a:cxn>
              <a:cxn ang="0">
                <a:pos x="8" y="72"/>
              </a:cxn>
              <a:cxn ang="0">
                <a:pos x="0" y="74"/>
              </a:cxn>
              <a:cxn ang="0">
                <a:pos x="5" y="60"/>
              </a:cxn>
              <a:cxn ang="0">
                <a:pos x="12" y="47"/>
              </a:cxn>
              <a:cxn ang="0">
                <a:pos x="19" y="34"/>
              </a:cxn>
              <a:cxn ang="0">
                <a:pos x="27" y="23"/>
              </a:cxn>
              <a:cxn ang="0">
                <a:pos x="36" y="14"/>
              </a:cxn>
              <a:cxn ang="0">
                <a:pos x="43" y="6"/>
              </a:cxn>
              <a:cxn ang="0">
                <a:pos x="48" y="3"/>
              </a:cxn>
              <a:cxn ang="0">
                <a:pos x="52" y="1"/>
              </a:cxn>
              <a:cxn ang="0">
                <a:pos x="56" y="0"/>
              </a:cxn>
              <a:cxn ang="0">
                <a:pos x="60" y="0"/>
              </a:cxn>
            </a:cxnLst>
            <a:rect l="0" t="0" r="r" b="b"/>
            <a:pathLst>
              <a:path w="60" h="74">
                <a:moveTo>
                  <a:pt x="60" y="0"/>
                </a:moveTo>
                <a:lnTo>
                  <a:pt x="56" y="4"/>
                </a:lnTo>
                <a:lnTo>
                  <a:pt x="51" y="10"/>
                </a:lnTo>
                <a:lnTo>
                  <a:pt x="48" y="15"/>
                </a:lnTo>
                <a:lnTo>
                  <a:pt x="46" y="21"/>
                </a:lnTo>
                <a:lnTo>
                  <a:pt x="41" y="31"/>
                </a:lnTo>
                <a:lnTo>
                  <a:pt x="37" y="42"/>
                </a:lnTo>
                <a:lnTo>
                  <a:pt x="35" y="47"/>
                </a:lnTo>
                <a:lnTo>
                  <a:pt x="32" y="51"/>
                </a:lnTo>
                <a:lnTo>
                  <a:pt x="29" y="56"/>
                </a:lnTo>
                <a:lnTo>
                  <a:pt x="25" y="60"/>
                </a:lnTo>
                <a:lnTo>
                  <a:pt x="20" y="65"/>
                </a:lnTo>
                <a:lnTo>
                  <a:pt x="15" y="69"/>
                </a:lnTo>
                <a:lnTo>
                  <a:pt x="8" y="72"/>
                </a:lnTo>
                <a:lnTo>
                  <a:pt x="0" y="74"/>
                </a:lnTo>
                <a:lnTo>
                  <a:pt x="5" y="60"/>
                </a:lnTo>
                <a:lnTo>
                  <a:pt x="12" y="47"/>
                </a:lnTo>
                <a:lnTo>
                  <a:pt x="19" y="34"/>
                </a:lnTo>
                <a:lnTo>
                  <a:pt x="27" y="23"/>
                </a:lnTo>
                <a:lnTo>
                  <a:pt x="36" y="14"/>
                </a:lnTo>
                <a:lnTo>
                  <a:pt x="43" y="6"/>
                </a:lnTo>
                <a:lnTo>
                  <a:pt x="48" y="3"/>
                </a:lnTo>
                <a:lnTo>
                  <a:pt x="52" y="1"/>
                </a:lnTo>
                <a:lnTo>
                  <a:pt x="56" y="0"/>
                </a:lnTo>
                <a:lnTo>
                  <a:pt x="6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579" name="Freeform 531"/>
          <p:cNvSpPr>
            <a:spLocks/>
          </p:cNvSpPr>
          <p:nvPr>
            <p:custDataLst>
              <p:tags r:id="rId367"/>
            </p:custDataLst>
          </p:nvPr>
        </p:nvSpPr>
        <p:spPr bwMode="auto">
          <a:xfrm>
            <a:off x="3595688" y="2068124"/>
            <a:ext cx="23812" cy="45244"/>
          </a:xfrm>
          <a:custGeom>
            <a:avLst/>
            <a:gdLst/>
            <a:ahLst/>
            <a:cxnLst>
              <a:cxn ang="0">
                <a:pos x="13" y="8"/>
              </a:cxn>
              <a:cxn ang="0">
                <a:pos x="22" y="8"/>
              </a:cxn>
              <a:cxn ang="0">
                <a:pos x="28" y="6"/>
              </a:cxn>
              <a:cxn ang="0">
                <a:pos x="32" y="5"/>
              </a:cxn>
              <a:cxn ang="0">
                <a:pos x="35" y="3"/>
              </a:cxn>
              <a:cxn ang="0">
                <a:pos x="37" y="1"/>
              </a:cxn>
              <a:cxn ang="0">
                <a:pos x="39" y="0"/>
              </a:cxn>
              <a:cxn ang="0">
                <a:pos x="43" y="1"/>
              </a:cxn>
              <a:cxn ang="0">
                <a:pos x="47" y="2"/>
              </a:cxn>
              <a:cxn ang="0">
                <a:pos x="46" y="7"/>
              </a:cxn>
              <a:cxn ang="0">
                <a:pos x="46" y="11"/>
              </a:cxn>
              <a:cxn ang="0">
                <a:pos x="44" y="15"/>
              </a:cxn>
              <a:cxn ang="0">
                <a:pos x="43" y="19"/>
              </a:cxn>
              <a:cxn ang="0">
                <a:pos x="37" y="26"/>
              </a:cxn>
              <a:cxn ang="0">
                <a:pos x="30" y="32"/>
              </a:cxn>
              <a:cxn ang="0">
                <a:pos x="24" y="38"/>
              </a:cxn>
              <a:cxn ang="0">
                <a:pos x="16" y="42"/>
              </a:cxn>
              <a:cxn ang="0">
                <a:pos x="7" y="45"/>
              </a:cxn>
              <a:cxn ang="0">
                <a:pos x="0" y="45"/>
              </a:cxn>
              <a:cxn ang="0">
                <a:pos x="2" y="38"/>
              </a:cxn>
              <a:cxn ang="0">
                <a:pos x="6" y="26"/>
              </a:cxn>
              <a:cxn ang="0">
                <a:pos x="11" y="15"/>
              </a:cxn>
              <a:cxn ang="0">
                <a:pos x="13" y="8"/>
              </a:cxn>
            </a:cxnLst>
            <a:rect l="0" t="0" r="r" b="b"/>
            <a:pathLst>
              <a:path w="47" h="45">
                <a:moveTo>
                  <a:pt x="13" y="8"/>
                </a:moveTo>
                <a:lnTo>
                  <a:pt x="22" y="8"/>
                </a:lnTo>
                <a:lnTo>
                  <a:pt x="28" y="6"/>
                </a:lnTo>
                <a:lnTo>
                  <a:pt x="32" y="5"/>
                </a:lnTo>
                <a:lnTo>
                  <a:pt x="35" y="3"/>
                </a:lnTo>
                <a:lnTo>
                  <a:pt x="37" y="1"/>
                </a:lnTo>
                <a:lnTo>
                  <a:pt x="39" y="0"/>
                </a:lnTo>
                <a:lnTo>
                  <a:pt x="43" y="1"/>
                </a:lnTo>
                <a:lnTo>
                  <a:pt x="47" y="2"/>
                </a:lnTo>
                <a:lnTo>
                  <a:pt x="46" y="7"/>
                </a:lnTo>
                <a:lnTo>
                  <a:pt x="46" y="11"/>
                </a:lnTo>
                <a:lnTo>
                  <a:pt x="44" y="15"/>
                </a:lnTo>
                <a:lnTo>
                  <a:pt x="43" y="19"/>
                </a:lnTo>
                <a:lnTo>
                  <a:pt x="37" y="26"/>
                </a:lnTo>
                <a:lnTo>
                  <a:pt x="30" y="32"/>
                </a:lnTo>
                <a:lnTo>
                  <a:pt x="24" y="38"/>
                </a:lnTo>
                <a:lnTo>
                  <a:pt x="16" y="42"/>
                </a:lnTo>
                <a:lnTo>
                  <a:pt x="7" y="45"/>
                </a:lnTo>
                <a:lnTo>
                  <a:pt x="0" y="45"/>
                </a:lnTo>
                <a:lnTo>
                  <a:pt x="2" y="38"/>
                </a:lnTo>
                <a:lnTo>
                  <a:pt x="6" y="26"/>
                </a:lnTo>
                <a:lnTo>
                  <a:pt x="11" y="15"/>
                </a:lnTo>
                <a:lnTo>
                  <a:pt x="13" y="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580" name="Freeform 532"/>
          <p:cNvSpPr>
            <a:spLocks/>
          </p:cNvSpPr>
          <p:nvPr>
            <p:custDataLst>
              <p:tags r:id="rId368"/>
            </p:custDataLst>
          </p:nvPr>
        </p:nvSpPr>
        <p:spPr bwMode="auto">
          <a:xfrm>
            <a:off x="3570288" y="2063358"/>
            <a:ext cx="6350" cy="42863"/>
          </a:xfrm>
          <a:custGeom>
            <a:avLst/>
            <a:gdLst/>
            <a:ahLst/>
            <a:cxnLst>
              <a:cxn ang="0">
                <a:pos x="6" y="36"/>
              </a:cxn>
              <a:cxn ang="0">
                <a:pos x="5" y="30"/>
              </a:cxn>
              <a:cxn ang="0">
                <a:pos x="3" y="20"/>
              </a:cxn>
              <a:cxn ang="0">
                <a:pos x="1" y="10"/>
              </a:cxn>
              <a:cxn ang="0">
                <a:pos x="0" y="0"/>
              </a:cxn>
              <a:cxn ang="0">
                <a:pos x="26" y="0"/>
              </a:cxn>
              <a:cxn ang="0">
                <a:pos x="25" y="12"/>
              </a:cxn>
              <a:cxn ang="0">
                <a:pos x="24" y="23"/>
              </a:cxn>
              <a:cxn ang="0">
                <a:pos x="23" y="27"/>
              </a:cxn>
              <a:cxn ang="0">
                <a:pos x="23" y="31"/>
              </a:cxn>
              <a:cxn ang="0">
                <a:pos x="24" y="34"/>
              </a:cxn>
              <a:cxn ang="0">
                <a:pos x="26" y="36"/>
              </a:cxn>
              <a:cxn ang="0">
                <a:pos x="6" y="36"/>
              </a:cxn>
            </a:cxnLst>
            <a:rect l="0" t="0" r="r" b="b"/>
            <a:pathLst>
              <a:path w="26" h="36">
                <a:moveTo>
                  <a:pt x="6" y="36"/>
                </a:moveTo>
                <a:lnTo>
                  <a:pt x="5" y="30"/>
                </a:lnTo>
                <a:lnTo>
                  <a:pt x="3" y="20"/>
                </a:lnTo>
                <a:lnTo>
                  <a:pt x="1" y="10"/>
                </a:lnTo>
                <a:lnTo>
                  <a:pt x="0" y="0"/>
                </a:lnTo>
                <a:lnTo>
                  <a:pt x="26" y="0"/>
                </a:lnTo>
                <a:lnTo>
                  <a:pt x="25" y="12"/>
                </a:lnTo>
                <a:lnTo>
                  <a:pt x="24" y="23"/>
                </a:lnTo>
                <a:lnTo>
                  <a:pt x="23" y="27"/>
                </a:lnTo>
                <a:lnTo>
                  <a:pt x="23" y="31"/>
                </a:lnTo>
                <a:lnTo>
                  <a:pt x="24" y="34"/>
                </a:lnTo>
                <a:lnTo>
                  <a:pt x="26" y="36"/>
                </a:lnTo>
                <a:lnTo>
                  <a:pt x="6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581" name="Freeform 533"/>
          <p:cNvSpPr>
            <a:spLocks/>
          </p:cNvSpPr>
          <p:nvPr>
            <p:custDataLst>
              <p:tags r:id="rId369"/>
            </p:custDataLst>
          </p:nvPr>
        </p:nvSpPr>
        <p:spPr bwMode="auto">
          <a:xfrm>
            <a:off x="4841882" y="1859761"/>
            <a:ext cx="174625" cy="119063"/>
          </a:xfrm>
          <a:custGeom>
            <a:avLst/>
            <a:gdLst/>
            <a:ahLst/>
            <a:cxnLst>
              <a:cxn ang="0">
                <a:pos x="26" y="162"/>
              </a:cxn>
              <a:cxn ang="0">
                <a:pos x="28" y="156"/>
              </a:cxn>
              <a:cxn ang="0">
                <a:pos x="30" y="154"/>
              </a:cxn>
              <a:cxn ang="0">
                <a:pos x="28" y="151"/>
              </a:cxn>
              <a:cxn ang="0">
                <a:pos x="18" y="143"/>
              </a:cxn>
              <a:cxn ang="0">
                <a:pos x="6" y="127"/>
              </a:cxn>
              <a:cxn ang="0">
                <a:pos x="2" y="116"/>
              </a:cxn>
              <a:cxn ang="0">
                <a:pos x="5" y="112"/>
              </a:cxn>
              <a:cxn ang="0">
                <a:pos x="6" y="104"/>
              </a:cxn>
              <a:cxn ang="0">
                <a:pos x="17" y="97"/>
              </a:cxn>
              <a:cxn ang="0">
                <a:pos x="34" y="93"/>
              </a:cxn>
              <a:cxn ang="0">
                <a:pos x="47" y="88"/>
              </a:cxn>
              <a:cxn ang="0">
                <a:pos x="57" y="82"/>
              </a:cxn>
              <a:cxn ang="0">
                <a:pos x="67" y="70"/>
              </a:cxn>
              <a:cxn ang="0">
                <a:pos x="75" y="52"/>
              </a:cxn>
              <a:cxn ang="0">
                <a:pos x="84" y="47"/>
              </a:cxn>
              <a:cxn ang="0">
                <a:pos x="95" y="52"/>
              </a:cxn>
              <a:cxn ang="0">
                <a:pos x="117" y="54"/>
              </a:cxn>
              <a:cxn ang="0">
                <a:pos x="169" y="46"/>
              </a:cxn>
              <a:cxn ang="0">
                <a:pos x="212" y="43"/>
              </a:cxn>
              <a:cxn ang="0">
                <a:pos x="234" y="41"/>
              </a:cxn>
              <a:cxn ang="0">
                <a:pos x="264" y="35"/>
              </a:cxn>
              <a:cxn ang="0">
                <a:pos x="318" y="17"/>
              </a:cxn>
              <a:cxn ang="0">
                <a:pos x="359" y="4"/>
              </a:cxn>
              <a:cxn ang="0">
                <a:pos x="372" y="3"/>
              </a:cxn>
              <a:cxn ang="0">
                <a:pos x="385" y="3"/>
              </a:cxn>
              <a:cxn ang="0">
                <a:pos x="398" y="1"/>
              </a:cxn>
              <a:cxn ang="0">
                <a:pos x="395" y="8"/>
              </a:cxn>
              <a:cxn ang="0">
                <a:pos x="360" y="41"/>
              </a:cxn>
              <a:cxn ang="0">
                <a:pos x="344" y="57"/>
              </a:cxn>
              <a:cxn ang="0">
                <a:pos x="339" y="64"/>
              </a:cxn>
              <a:cxn ang="0">
                <a:pos x="339" y="96"/>
              </a:cxn>
              <a:cxn ang="0">
                <a:pos x="337" y="149"/>
              </a:cxn>
              <a:cxn ang="0">
                <a:pos x="335" y="180"/>
              </a:cxn>
              <a:cxn ang="0">
                <a:pos x="326" y="198"/>
              </a:cxn>
              <a:cxn ang="0">
                <a:pos x="305" y="210"/>
              </a:cxn>
              <a:cxn ang="0">
                <a:pos x="265" y="227"/>
              </a:cxn>
              <a:cxn ang="0">
                <a:pos x="106" y="302"/>
              </a:cxn>
              <a:cxn ang="0">
                <a:pos x="57" y="260"/>
              </a:cxn>
              <a:cxn ang="0">
                <a:pos x="70" y="228"/>
              </a:cxn>
              <a:cxn ang="0">
                <a:pos x="81" y="209"/>
              </a:cxn>
              <a:cxn ang="0">
                <a:pos x="86" y="172"/>
              </a:cxn>
              <a:cxn ang="0">
                <a:pos x="71" y="173"/>
              </a:cxn>
              <a:cxn ang="0">
                <a:pos x="57" y="169"/>
              </a:cxn>
              <a:cxn ang="0">
                <a:pos x="41" y="165"/>
              </a:cxn>
              <a:cxn ang="0">
                <a:pos x="26" y="166"/>
              </a:cxn>
            </a:cxnLst>
            <a:rect l="0" t="0" r="r" b="b"/>
            <a:pathLst>
              <a:path w="405" h="302">
                <a:moveTo>
                  <a:pt x="26" y="166"/>
                </a:moveTo>
                <a:lnTo>
                  <a:pt x="26" y="162"/>
                </a:lnTo>
                <a:lnTo>
                  <a:pt x="27" y="158"/>
                </a:lnTo>
                <a:lnTo>
                  <a:pt x="28" y="156"/>
                </a:lnTo>
                <a:lnTo>
                  <a:pt x="29" y="155"/>
                </a:lnTo>
                <a:lnTo>
                  <a:pt x="30" y="154"/>
                </a:lnTo>
                <a:lnTo>
                  <a:pt x="33" y="154"/>
                </a:lnTo>
                <a:lnTo>
                  <a:pt x="28" y="151"/>
                </a:lnTo>
                <a:lnTo>
                  <a:pt x="23" y="147"/>
                </a:lnTo>
                <a:lnTo>
                  <a:pt x="18" y="143"/>
                </a:lnTo>
                <a:lnTo>
                  <a:pt x="14" y="138"/>
                </a:lnTo>
                <a:lnTo>
                  <a:pt x="6" y="127"/>
                </a:lnTo>
                <a:lnTo>
                  <a:pt x="0" y="117"/>
                </a:lnTo>
                <a:lnTo>
                  <a:pt x="2" y="116"/>
                </a:lnTo>
                <a:lnTo>
                  <a:pt x="4" y="115"/>
                </a:lnTo>
                <a:lnTo>
                  <a:pt x="5" y="112"/>
                </a:lnTo>
                <a:lnTo>
                  <a:pt x="5" y="110"/>
                </a:lnTo>
                <a:lnTo>
                  <a:pt x="6" y="104"/>
                </a:lnTo>
                <a:lnTo>
                  <a:pt x="6" y="98"/>
                </a:lnTo>
                <a:lnTo>
                  <a:pt x="17" y="97"/>
                </a:lnTo>
                <a:lnTo>
                  <a:pt x="26" y="95"/>
                </a:lnTo>
                <a:lnTo>
                  <a:pt x="34" y="93"/>
                </a:lnTo>
                <a:lnTo>
                  <a:pt x="41" y="91"/>
                </a:lnTo>
                <a:lnTo>
                  <a:pt x="47" y="88"/>
                </a:lnTo>
                <a:lnTo>
                  <a:pt x="52" y="85"/>
                </a:lnTo>
                <a:lnTo>
                  <a:pt x="57" y="82"/>
                </a:lnTo>
                <a:lnTo>
                  <a:pt x="60" y="78"/>
                </a:lnTo>
                <a:lnTo>
                  <a:pt x="67" y="70"/>
                </a:lnTo>
                <a:lnTo>
                  <a:pt x="71" y="61"/>
                </a:lnTo>
                <a:lnTo>
                  <a:pt x="75" y="52"/>
                </a:lnTo>
                <a:lnTo>
                  <a:pt x="80" y="43"/>
                </a:lnTo>
                <a:lnTo>
                  <a:pt x="84" y="47"/>
                </a:lnTo>
                <a:lnTo>
                  <a:pt x="89" y="50"/>
                </a:lnTo>
                <a:lnTo>
                  <a:pt x="95" y="52"/>
                </a:lnTo>
                <a:lnTo>
                  <a:pt x="102" y="53"/>
                </a:lnTo>
                <a:lnTo>
                  <a:pt x="117" y="54"/>
                </a:lnTo>
                <a:lnTo>
                  <a:pt x="135" y="52"/>
                </a:lnTo>
                <a:lnTo>
                  <a:pt x="169" y="46"/>
                </a:lnTo>
                <a:lnTo>
                  <a:pt x="200" y="43"/>
                </a:lnTo>
                <a:lnTo>
                  <a:pt x="212" y="43"/>
                </a:lnTo>
                <a:lnTo>
                  <a:pt x="223" y="42"/>
                </a:lnTo>
                <a:lnTo>
                  <a:pt x="234" y="41"/>
                </a:lnTo>
                <a:lnTo>
                  <a:pt x="245" y="39"/>
                </a:lnTo>
                <a:lnTo>
                  <a:pt x="264" y="35"/>
                </a:lnTo>
                <a:lnTo>
                  <a:pt x="283" y="29"/>
                </a:lnTo>
                <a:lnTo>
                  <a:pt x="318" y="17"/>
                </a:lnTo>
                <a:lnTo>
                  <a:pt x="352" y="6"/>
                </a:lnTo>
                <a:lnTo>
                  <a:pt x="359" y="4"/>
                </a:lnTo>
                <a:lnTo>
                  <a:pt x="365" y="3"/>
                </a:lnTo>
                <a:lnTo>
                  <a:pt x="372" y="3"/>
                </a:lnTo>
                <a:lnTo>
                  <a:pt x="378" y="3"/>
                </a:lnTo>
                <a:lnTo>
                  <a:pt x="385" y="3"/>
                </a:lnTo>
                <a:lnTo>
                  <a:pt x="392" y="2"/>
                </a:lnTo>
                <a:lnTo>
                  <a:pt x="398" y="1"/>
                </a:lnTo>
                <a:lnTo>
                  <a:pt x="405" y="0"/>
                </a:lnTo>
                <a:lnTo>
                  <a:pt x="395" y="8"/>
                </a:lnTo>
                <a:lnTo>
                  <a:pt x="372" y="29"/>
                </a:lnTo>
                <a:lnTo>
                  <a:pt x="360" y="41"/>
                </a:lnTo>
                <a:lnTo>
                  <a:pt x="349" y="52"/>
                </a:lnTo>
                <a:lnTo>
                  <a:pt x="344" y="57"/>
                </a:lnTo>
                <a:lnTo>
                  <a:pt x="341" y="61"/>
                </a:lnTo>
                <a:lnTo>
                  <a:pt x="339" y="64"/>
                </a:lnTo>
                <a:lnTo>
                  <a:pt x="339" y="68"/>
                </a:lnTo>
                <a:lnTo>
                  <a:pt x="339" y="96"/>
                </a:lnTo>
                <a:lnTo>
                  <a:pt x="338" y="132"/>
                </a:lnTo>
                <a:lnTo>
                  <a:pt x="337" y="149"/>
                </a:lnTo>
                <a:lnTo>
                  <a:pt x="336" y="165"/>
                </a:lnTo>
                <a:lnTo>
                  <a:pt x="335" y="180"/>
                </a:lnTo>
                <a:lnTo>
                  <a:pt x="332" y="191"/>
                </a:lnTo>
                <a:lnTo>
                  <a:pt x="326" y="198"/>
                </a:lnTo>
                <a:lnTo>
                  <a:pt x="317" y="204"/>
                </a:lnTo>
                <a:lnTo>
                  <a:pt x="305" y="210"/>
                </a:lnTo>
                <a:lnTo>
                  <a:pt x="293" y="215"/>
                </a:lnTo>
                <a:lnTo>
                  <a:pt x="265" y="227"/>
                </a:lnTo>
                <a:lnTo>
                  <a:pt x="239" y="241"/>
                </a:lnTo>
                <a:lnTo>
                  <a:pt x="106" y="302"/>
                </a:lnTo>
                <a:lnTo>
                  <a:pt x="53" y="271"/>
                </a:lnTo>
                <a:lnTo>
                  <a:pt x="57" y="260"/>
                </a:lnTo>
                <a:lnTo>
                  <a:pt x="64" y="240"/>
                </a:lnTo>
                <a:lnTo>
                  <a:pt x="70" y="228"/>
                </a:lnTo>
                <a:lnTo>
                  <a:pt x="75" y="218"/>
                </a:lnTo>
                <a:lnTo>
                  <a:pt x="81" y="209"/>
                </a:lnTo>
                <a:lnTo>
                  <a:pt x="86" y="203"/>
                </a:lnTo>
                <a:lnTo>
                  <a:pt x="86" y="172"/>
                </a:lnTo>
                <a:lnTo>
                  <a:pt x="79" y="173"/>
                </a:lnTo>
                <a:lnTo>
                  <a:pt x="71" y="173"/>
                </a:lnTo>
                <a:lnTo>
                  <a:pt x="63" y="171"/>
                </a:lnTo>
                <a:lnTo>
                  <a:pt x="57" y="169"/>
                </a:lnTo>
                <a:lnTo>
                  <a:pt x="49" y="167"/>
                </a:lnTo>
                <a:lnTo>
                  <a:pt x="41" y="165"/>
                </a:lnTo>
                <a:lnTo>
                  <a:pt x="34" y="165"/>
                </a:lnTo>
                <a:lnTo>
                  <a:pt x="26" y="16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582" name="Freeform 534"/>
          <p:cNvSpPr>
            <a:spLocks/>
          </p:cNvSpPr>
          <p:nvPr>
            <p:custDataLst>
              <p:tags r:id="rId370"/>
            </p:custDataLst>
          </p:nvPr>
        </p:nvSpPr>
        <p:spPr bwMode="auto">
          <a:xfrm>
            <a:off x="6935788" y="2145516"/>
            <a:ext cx="42862" cy="59531"/>
          </a:xfrm>
          <a:custGeom>
            <a:avLst/>
            <a:gdLst/>
            <a:ahLst/>
            <a:cxnLst>
              <a:cxn ang="0">
                <a:pos x="100" y="1"/>
              </a:cxn>
              <a:cxn ang="0">
                <a:pos x="100" y="30"/>
              </a:cxn>
              <a:cxn ang="0">
                <a:pos x="100" y="55"/>
              </a:cxn>
              <a:cxn ang="0">
                <a:pos x="100" y="78"/>
              </a:cxn>
              <a:cxn ang="0">
                <a:pos x="100" y="99"/>
              </a:cxn>
              <a:cxn ang="0">
                <a:pos x="98" y="109"/>
              </a:cxn>
              <a:cxn ang="0">
                <a:pos x="94" y="118"/>
              </a:cxn>
              <a:cxn ang="0">
                <a:pos x="89" y="128"/>
              </a:cxn>
              <a:cxn ang="0">
                <a:pos x="82" y="137"/>
              </a:cxn>
              <a:cxn ang="0">
                <a:pos x="73" y="144"/>
              </a:cxn>
              <a:cxn ang="0">
                <a:pos x="62" y="150"/>
              </a:cxn>
              <a:cxn ang="0">
                <a:pos x="57" y="152"/>
              </a:cxn>
              <a:cxn ang="0">
                <a:pos x="51" y="154"/>
              </a:cxn>
              <a:cxn ang="0">
                <a:pos x="46" y="155"/>
              </a:cxn>
              <a:cxn ang="0">
                <a:pos x="39" y="155"/>
              </a:cxn>
              <a:cxn ang="0">
                <a:pos x="35" y="154"/>
              </a:cxn>
              <a:cxn ang="0">
                <a:pos x="30" y="153"/>
              </a:cxn>
              <a:cxn ang="0">
                <a:pos x="26" y="151"/>
              </a:cxn>
              <a:cxn ang="0">
                <a:pos x="22" y="149"/>
              </a:cxn>
              <a:cxn ang="0">
                <a:pos x="15" y="142"/>
              </a:cxn>
              <a:cxn ang="0">
                <a:pos x="9" y="134"/>
              </a:cxn>
              <a:cxn ang="0">
                <a:pos x="5" y="124"/>
              </a:cxn>
              <a:cxn ang="0">
                <a:pos x="2" y="113"/>
              </a:cxn>
              <a:cxn ang="0">
                <a:pos x="0" y="103"/>
              </a:cxn>
              <a:cxn ang="0">
                <a:pos x="0" y="93"/>
              </a:cxn>
              <a:cxn ang="0">
                <a:pos x="0" y="77"/>
              </a:cxn>
              <a:cxn ang="0">
                <a:pos x="0" y="65"/>
              </a:cxn>
              <a:cxn ang="0">
                <a:pos x="0" y="56"/>
              </a:cxn>
              <a:cxn ang="0">
                <a:pos x="0" y="50"/>
              </a:cxn>
              <a:cxn ang="0">
                <a:pos x="15" y="50"/>
              </a:cxn>
              <a:cxn ang="0">
                <a:pos x="26" y="50"/>
              </a:cxn>
              <a:cxn ang="0">
                <a:pos x="26" y="40"/>
              </a:cxn>
              <a:cxn ang="0">
                <a:pos x="27" y="31"/>
              </a:cxn>
              <a:cxn ang="0">
                <a:pos x="29" y="23"/>
              </a:cxn>
              <a:cxn ang="0">
                <a:pos x="31" y="17"/>
              </a:cxn>
              <a:cxn ang="0">
                <a:pos x="35" y="12"/>
              </a:cxn>
              <a:cxn ang="0">
                <a:pos x="39" y="7"/>
              </a:cxn>
              <a:cxn ang="0">
                <a:pos x="42" y="4"/>
              </a:cxn>
              <a:cxn ang="0">
                <a:pos x="48" y="2"/>
              </a:cxn>
              <a:cxn ang="0">
                <a:pos x="59" y="0"/>
              </a:cxn>
              <a:cxn ang="0">
                <a:pos x="71" y="0"/>
              </a:cxn>
              <a:cxn ang="0">
                <a:pos x="84" y="0"/>
              </a:cxn>
              <a:cxn ang="0">
                <a:pos x="100" y="1"/>
              </a:cxn>
            </a:cxnLst>
            <a:rect l="0" t="0" r="r" b="b"/>
            <a:pathLst>
              <a:path w="100" h="155">
                <a:moveTo>
                  <a:pt x="100" y="1"/>
                </a:moveTo>
                <a:lnTo>
                  <a:pt x="100" y="30"/>
                </a:lnTo>
                <a:lnTo>
                  <a:pt x="100" y="55"/>
                </a:lnTo>
                <a:lnTo>
                  <a:pt x="100" y="78"/>
                </a:lnTo>
                <a:lnTo>
                  <a:pt x="100" y="99"/>
                </a:lnTo>
                <a:lnTo>
                  <a:pt x="98" y="109"/>
                </a:lnTo>
                <a:lnTo>
                  <a:pt x="94" y="118"/>
                </a:lnTo>
                <a:lnTo>
                  <a:pt x="89" y="128"/>
                </a:lnTo>
                <a:lnTo>
                  <a:pt x="82" y="137"/>
                </a:lnTo>
                <a:lnTo>
                  <a:pt x="73" y="144"/>
                </a:lnTo>
                <a:lnTo>
                  <a:pt x="62" y="150"/>
                </a:lnTo>
                <a:lnTo>
                  <a:pt x="57" y="152"/>
                </a:lnTo>
                <a:lnTo>
                  <a:pt x="51" y="154"/>
                </a:lnTo>
                <a:lnTo>
                  <a:pt x="46" y="155"/>
                </a:lnTo>
                <a:lnTo>
                  <a:pt x="39" y="155"/>
                </a:lnTo>
                <a:lnTo>
                  <a:pt x="35" y="154"/>
                </a:lnTo>
                <a:lnTo>
                  <a:pt x="30" y="153"/>
                </a:lnTo>
                <a:lnTo>
                  <a:pt x="26" y="151"/>
                </a:lnTo>
                <a:lnTo>
                  <a:pt x="22" y="149"/>
                </a:lnTo>
                <a:lnTo>
                  <a:pt x="15" y="142"/>
                </a:lnTo>
                <a:lnTo>
                  <a:pt x="9" y="134"/>
                </a:lnTo>
                <a:lnTo>
                  <a:pt x="5" y="124"/>
                </a:lnTo>
                <a:lnTo>
                  <a:pt x="2" y="113"/>
                </a:lnTo>
                <a:lnTo>
                  <a:pt x="0" y="103"/>
                </a:lnTo>
                <a:lnTo>
                  <a:pt x="0" y="93"/>
                </a:lnTo>
                <a:lnTo>
                  <a:pt x="0" y="77"/>
                </a:lnTo>
                <a:lnTo>
                  <a:pt x="0" y="65"/>
                </a:lnTo>
                <a:lnTo>
                  <a:pt x="0" y="56"/>
                </a:lnTo>
                <a:lnTo>
                  <a:pt x="0" y="50"/>
                </a:lnTo>
                <a:lnTo>
                  <a:pt x="15" y="50"/>
                </a:lnTo>
                <a:lnTo>
                  <a:pt x="26" y="50"/>
                </a:lnTo>
                <a:lnTo>
                  <a:pt x="26" y="40"/>
                </a:lnTo>
                <a:lnTo>
                  <a:pt x="27" y="31"/>
                </a:lnTo>
                <a:lnTo>
                  <a:pt x="29" y="23"/>
                </a:lnTo>
                <a:lnTo>
                  <a:pt x="31" y="17"/>
                </a:lnTo>
                <a:lnTo>
                  <a:pt x="35" y="12"/>
                </a:lnTo>
                <a:lnTo>
                  <a:pt x="39" y="7"/>
                </a:lnTo>
                <a:lnTo>
                  <a:pt x="42" y="4"/>
                </a:lnTo>
                <a:lnTo>
                  <a:pt x="48" y="2"/>
                </a:lnTo>
                <a:lnTo>
                  <a:pt x="59" y="0"/>
                </a:lnTo>
                <a:lnTo>
                  <a:pt x="71" y="0"/>
                </a:lnTo>
                <a:lnTo>
                  <a:pt x="84" y="0"/>
                </a:lnTo>
                <a:lnTo>
                  <a:pt x="100" y="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grpSp>
        <p:nvGrpSpPr>
          <p:cNvPr id="17" name="Group 535"/>
          <p:cNvGrpSpPr>
            <a:grpSpLocks/>
          </p:cNvGrpSpPr>
          <p:nvPr>
            <p:custDataLst>
              <p:tags r:id="rId371"/>
            </p:custDataLst>
          </p:nvPr>
        </p:nvGrpSpPr>
        <p:grpSpPr bwMode="auto">
          <a:xfrm>
            <a:off x="4583114" y="1746647"/>
            <a:ext cx="482600" cy="151209"/>
            <a:chOff x="3289" y="1830"/>
            <a:chExt cx="363" cy="128"/>
          </a:xfrm>
        </p:grpSpPr>
        <p:sp>
          <p:nvSpPr>
            <p:cNvPr id="2584" name="Freeform 536"/>
            <p:cNvSpPr>
              <a:spLocks/>
            </p:cNvSpPr>
            <p:nvPr/>
          </p:nvSpPr>
          <p:spPr bwMode="auto">
            <a:xfrm>
              <a:off x="3289" y="1871"/>
              <a:ext cx="4" cy="3"/>
            </a:xfrm>
            <a:custGeom>
              <a:avLst/>
              <a:gdLst/>
              <a:ahLst/>
              <a:cxnLst>
                <a:cxn ang="0">
                  <a:pos x="13" y="0"/>
                </a:cxn>
                <a:cxn ang="0">
                  <a:pos x="12" y="1"/>
                </a:cxn>
                <a:cxn ang="0">
                  <a:pos x="9" y="3"/>
                </a:cxn>
                <a:cxn ang="0">
                  <a:pos x="4" y="5"/>
                </a:cxn>
                <a:cxn ang="0">
                  <a:pos x="0" y="7"/>
                </a:cxn>
                <a:cxn ang="0">
                  <a:pos x="7" y="3"/>
                </a:cxn>
                <a:cxn ang="0">
                  <a:pos x="13" y="0"/>
                </a:cxn>
              </a:cxnLst>
              <a:rect l="0" t="0" r="r" b="b"/>
              <a:pathLst>
                <a:path w="13" h="7">
                  <a:moveTo>
                    <a:pt x="13" y="0"/>
                  </a:moveTo>
                  <a:lnTo>
                    <a:pt x="12" y="1"/>
                  </a:lnTo>
                  <a:lnTo>
                    <a:pt x="9" y="3"/>
                  </a:lnTo>
                  <a:lnTo>
                    <a:pt x="4" y="5"/>
                  </a:lnTo>
                  <a:lnTo>
                    <a:pt x="0" y="7"/>
                  </a:lnTo>
                  <a:lnTo>
                    <a:pt x="7" y="3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585" name="Freeform 537"/>
            <p:cNvSpPr>
              <a:spLocks/>
            </p:cNvSpPr>
            <p:nvPr/>
          </p:nvSpPr>
          <p:spPr bwMode="auto">
            <a:xfrm>
              <a:off x="3324" y="1937"/>
              <a:ext cx="10" cy="3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7" y="5"/>
                </a:cxn>
                <a:cxn ang="0">
                  <a:pos x="15" y="3"/>
                </a:cxn>
                <a:cxn ang="0">
                  <a:pos x="25" y="1"/>
                </a:cxn>
                <a:cxn ang="0">
                  <a:pos x="34" y="0"/>
                </a:cxn>
                <a:cxn ang="0">
                  <a:pos x="31" y="2"/>
                </a:cxn>
                <a:cxn ang="0">
                  <a:pos x="27" y="4"/>
                </a:cxn>
                <a:cxn ang="0">
                  <a:pos x="22" y="6"/>
                </a:cxn>
                <a:cxn ang="0">
                  <a:pos x="18" y="7"/>
                </a:cxn>
                <a:cxn ang="0">
                  <a:pos x="12" y="8"/>
                </a:cxn>
                <a:cxn ang="0">
                  <a:pos x="8" y="8"/>
                </a:cxn>
                <a:cxn ang="0">
                  <a:pos x="4" y="8"/>
                </a:cxn>
                <a:cxn ang="0">
                  <a:pos x="0" y="6"/>
                </a:cxn>
              </a:cxnLst>
              <a:rect l="0" t="0" r="r" b="b"/>
              <a:pathLst>
                <a:path w="34" h="8">
                  <a:moveTo>
                    <a:pt x="0" y="6"/>
                  </a:moveTo>
                  <a:lnTo>
                    <a:pt x="7" y="5"/>
                  </a:lnTo>
                  <a:lnTo>
                    <a:pt x="15" y="3"/>
                  </a:lnTo>
                  <a:lnTo>
                    <a:pt x="25" y="1"/>
                  </a:lnTo>
                  <a:lnTo>
                    <a:pt x="34" y="0"/>
                  </a:lnTo>
                  <a:lnTo>
                    <a:pt x="31" y="2"/>
                  </a:lnTo>
                  <a:lnTo>
                    <a:pt x="27" y="4"/>
                  </a:lnTo>
                  <a:lnTo>
                    <a:pt x="22" y="6"/>
                  </a:lnTo>
                  <a:lnTo>
                    <a:pt x="18" y="7"/>
                  </a:lnTo>
                  <a:lnTo>
                    <a:pt x="12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586" name="Freeform 538"/>
            <p:cNvSpPr>
              <a:spLocks/>
            </p:cNvSpPr>
            <p:nvPr/>
          </p:nvSpPr>
          <p:spPr bwMode="auto">
            <a:xfrm>
              <a:off x="3343" y="1948"/>
              <a:ext cx="4" cy="8"/>
            </a:xfrm>
            <a:custGeom>
              <a:avLst/>
              <a:gdLst/>
              <a:ahLst/>
              <a:cxnLst>
                <a:cxn ang="0">
                  <a:pos x="0" y="24"/>
                </a:cxn>
                <a:cxn ang="0">
                  <a:pos x="0" y="0"/>
                </a:cxn>
                <a:cxn ang="0">
                  <a:pos x="13" y="12"/>
                </a:cxn>
                <a:cxn ang="0">
                  <a:pos x="0" y="24"/>
                </a:cxn>
              </a:cxnLst>
              <a:rect l="0" t="0" r="r" b="b"/>
              <a:pathLst>
                <a:path w="13" h="24">
                  <a:moveTo>
                    <a:pt x="0" y="24"/>
                  </a:moveTo>
                  <a:lnTo>
                    <a:pt x="0" y="0"/>
                  </a:lnTo>
                  <a:lnTo>
                    <a:pt x="13" y="12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587" name="Freeform 539"/>
            <p:cNvSpPr>
              <a:spLocks/>
            </p:cNvSpPr>
            <p:nvPr/>
          </p:nvSpPr>
          <p:spPr bwMode="auto">
            <a:xfrm>
              <a:off x="3313" y="1834"/>
              <a:ext cx="34" cy="23"/>
            </a:xfrm>
            <a:custGeom>
              <a:avLst/>
              <a:gdLst/>
              <a:ahLst/>
              <a:cxnLst>
                <a:cxn ang="0">
                  <a:pos x="0" y="13"/>
                </a:cxn>
                <a:cxn ang="0">
                  <a:pos x="0" y="27"/>
                </a:cxn>
                <a:cxn ang="0">
                  <a:pos x="0" y="45"/>
                </a:cxn>
                <a:cxn ang="0">
                  <a:pos x="0" y="62"/>
                </a:cxn>
                <a:cxn ang="0">
                  <a:pos x="0" y="69"/>
                </a:cxn>
                <a:cxn ang="0">
                  <a:pos x="16" y="66"/>
                </a:cxn>
                <a:cxn ang="0">
                  <a:pos x="49" y="58"/>
                </a:cxn>
                <a:cxn ang="0">
                  <a:pos x="85" y="50"/>
                </a:cxn>
                <a:cxn ang="0">
                  <a:pos x="107" y="44"/>
                </a:cxn>
                <a:cxn ang="0">
                  <a:pos x="101" y="38"/>
                </a:cxn>
                <a:cxn ang="0">
                  <a:pos x="94" y="34"/>
                </a:cxn>
                <a:cxn ang="0">
                  <a:pos x="86" y="30"/>
                </a:cxn>
                <a:cxn ang="0">
                  <a:pos x="78" y="27"/>
                </a:cxn>
                <a:cxn ang="0">
                  <a:pos x="72" y="23"/>
                </a:cxn>
                <a:cxn ang="0">
                  <a:pos x="65" y="18"/>
                </a:cxn>
                <a:cxn ang="0">
                  <a:pos x="63" y="15"/>
                </a:cxn>
                <a:cxn ang="0">
                  <a:pos x="62" y="11"/>
                </a:cxn>
                <a:cxn ang="0">
                  <a:pos x="61" y="7"/>
                </a:cxn>
                <a:cxn ang="0">
                  <a:pos x="61" y="0"/>
                </a:cxn>
                <a:cxn ang="0">
                  <a:pos x="54" y="1"/>
                </a:cxn>
                <a:cxn ang="0">
                  <a:pos x="38" y="4"/>
                </a:cxn>
                <a:cxn ang="0">
                  <a:pos x="18" y="9"/>
                </a:cxn>
                <a:cxn ang="0">
                  <a:pos x="0" y="13"/>
                </a:cxn>
              </a:cxnLst>
              <a:rect l="0" t="0" r="r" b="b"/>
              <a:pathLst>
                <a:path w="107" h="69">
                  <a:moveTo>
                    <a:pt x="0" y="13"/>
                  </a:moveTo>
                  <a:lnTo>
                    <a:pt x="0" y="27"/>
                  </a:lnTo>
                  <a:lnTo>
                    <a:pt x="0" y="45"/>
                  </a:lnTo>
                  <a:lnTo>
                    <a:pt x="0" y="62"/>
                  </a:lnTo>
                  <a:lnTo>
                    <a:pt x="0" y="69"/>
                  </a:lnTo>
                  <a:lnTo>
                    <a:pt x="16" y="66"/>
                  </a:lnTo>
                  <a:lnTo>
                    <a:pt x="49" y="58"/>
                  </a:lnTo>
                  <a:lnTo>
                    <a:pt x="85" y="50"/>
                  </a:lnTo>
                  <a:lnTo>
                    <a:pt x="107" y="44"/>
                  </a:lnTo>
                  <a:lnTo>
                    <a:pt x="101" y="38"/>
                  </a:lnTo>
                  <a:lnTo>
                    <a:pt x="94" y="34"/>
                  </a:lnTo>
                  <a:lnTo>
                    <a:pt x="86" y="30"/>
                  </a:lnTo>
                  <a:lnTo>
                    <a:pt x="78" y="27"/>
                  </a:lnTo>
                  <a:lnTo>
                    <a:pt x="72" y="23"/>
                  </a:lnTo>
                  <a:lnTo>
                    <a:pt x="65" y="18"/>
                  </a:lnTo>
                  <a:lnTo>
                    <a:pt x="63" y="15"/>
                  </a:lnTo>
                  <a:lnTo>
                    <a:pt x="62" y="11"/>
                  </a:lnTo>
                  <a:lnTo>
                    <a:pt x="61" y="7"/>
                  </a:lnTo>
                  <a:lnTo>
                    <a:pt x="61" y="0"/>
                  </a:lnTo>
                  <a:lnTo>
                    <a:pt x="54" y="1"/>
                  </a:lnTo>
                  <a:lnTo>
                    <a:pt x="38" y="4"/>
                  </a:lnTo>
                  <a:lnTo>
                    <a:pt x="18" y="9"/>
                  </a:lnTo>
                  <a:lnTo>
                    <a:pt x="0" y="1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588" name="Freeform 540"/>
            <p:cNvSpPr>
              <a:spLocks/>
            </p:cNvSpPr>
            <p:nvPr/>
          </p:nvSpPr>
          <p:spPr bwMode="auto">
            <a:xfrm>
              <a:off x="3302" y="1830"/>
              <a:ext cx="350" cy="128"/>
            </a:xfrm>
            <a:custGeom>
              <a:avLst/>
              <a:gdLst/>
              <a:ahLst/>
              <a:cxnLst>
                <a:cxn ang="0">
                  <a:pos x="992" y="124"/>
                </a:cxn>
                <a:cxn ang="0">
                  <a:pos x="970" y="103"/>
                </a:cxn>
                <a:cxn ang="0">
                  <a:pos x="962" y="57"/>
                </a:cxn>
                <a:cxn ang="0">
                  <a:pos x="936" y="36"/>
                </a:cxn>
                <a:cxn ang="0">
                  <a:pos x="817" y="19"/>
                </a:cxn>
                <a:cxn ang="0">
                  <a:pos x="726" y="58"/>
                </a:cxn>
                <a:cxn ang="0">
                  <a:pos x="678" y="65"/>
                </a:cxn>
                <a:cxn ang="0">
                  <a:pos x="632" y="65"/>
                </a:cxn>
                <a:cxn ang="0">
                  <a:pos x="612" y="44"/>
                </a:cxn>
                <a:cxn ang="0">
                  <a:pos x="560" y="37"/>
                </a:cxn>
                <a:cxn ang="0">
                  <a:pos x="525" y="19"/>
                </a:cxn>
                <a:cxn ang="0">
                  <a:pos x="483" y="21"/>
                </a:cxn>
                <a:cxn ang="0">
                  <a:pos x="465" y="0"/>
                </a:cxn>
                <a:cxn ang="0">
                  <a:pos x="390" y="16"/>
                </a:cxn>
                <a:cxn ang="0">
                  <a:pos x="299" y="26"/>
                </a:cxn>
                <a:cxn ang="0">
                  <a:pos x="257" y="45"/>
                </a:cxn>
                <a:cxn ang="0">
                  <a:pos x="138" y="61"/>
                </a:cxn>
                <a:cxn ang="0">
                  <a:pos x="173" y="75"/>
                </a:cxn>
                <a:cxn ang="0">
                  <a:pos x="164" y="90"/>
                </a:cxn>
                <a:cxn ang="0">
                  <a:pos x="114" y="93"/>
                </a:cxn>
                <a:cxn ang="0">
                  <a:pos x="42" y="94"/>
                </a:cxn>
                <a:cxn ang="0">
                  <a:pos x="8" y="110"/>
                </a:cxn>
                <a:cxn ang="0">
                  <a:pos x="0" y="147"/>
                </a:cxn>
                <a:cxn ang="0">
                  <a:pos x="16" y="167"/>
                </a:cxn>
                <a:cxn ang="0">
                  <a:pos x="22" y="193"/>
                </a:cxn>
                <a:cxn ang="0">
                  <a:pos x="21" y="210"/>
                </a:cxn>
                <a:cxn ang="0">
                  <a:pos x="49" y="237"/>
                </a:cxn>
                <a:cxn ang="0">
                  <a:pos x="56" y="259"/>
                </a:cxn>
                <a:cxn ang="0">
                  <a:pos x="74" y="271"/>
                </a:cxn>
                <a:cxn ang="0">
                  <a:pos x="96" y="290"/>
                </a:cxn>
                <a:cxn ang="0">
                  <a:pos x="205" y="352"/>
                </a:cxn>
                <a:cxn ang="0">
                  <a:pos x="253" y="370"/>
                </a:cxn>
                <a:cxn ang="0">
                  <a:pos x="267" y="358"/>
                </a:cxn>
                <a:cxn ang="0">
                  <a:pos x="277" y="338"/>
                </a:cxn>
                <a:cxn ang="0">
                  <a:pos x="297" y="316"/>
                </a:cxn>
                <a:cxn ang="0">
                  <a:pos x="334" y="323"/>
                </a:cxn>
                <a:cxn ang="0">
                  <a:pos x="362" y="358"/>
                </a:cxn>
                <a:cxn ang="0">
                  <a:pos x="399" y="370"/>
                </a:cxn>
                <a:cxn ang="0">
                  <a:pos x="447" y="359"/>
                </a:cxn>
                <a:cxn ang="0">
                  <a:pos x="493" y="335"/>
                </a:cxn>
                <a:cxn ang="0">
                  <a:pos x="525" y="327"/>
                </a:cxn>
                <a:cxn ang="0">
                  <a:pos x="564" y="326"/>
                </a:cxn>
                <a:cxn ang="0">
                  <a:pos x="567" y="367"/>
                </a:cxn>
                <a:cxn ang="0">
                  <a:pos x="590" y="377"/>
                </a:cxn>
                <a:cxn ang="0">
                  <a:pos x="613" y="362"/>
                </a:cxn>
                <a:cxn ang="0">
                  <a:pos x="647" y="336"/>
                </a:cxn>
                <a:cxn ang="0">
                  <a:pos x="752" y="327"/>
                </a:cxn>
                <a:cxn ang="0">
                  <a:pos x="831" y="315"/>
                </a:cxn>
                <a:cxn ang="0">
                  <a:pos x="918" y="283"/>
                </a:cxn>
                <a:cxn ang="0">
                  <a:pos x="967" y="286"/>
                </a:cxn>
                <a:cxn ang="0">
                  <a:pos x="1005" y="293"/>
                </a:cxn>
                <a:cxn ang="0">
                  <a:pos x="1056" y="308"/>
                </a:cxn>
                <a:cxn ang="0">
                  <a:pos x="1056" y="268"/>
                </a:cxn>
                <a:cxn ang="0">
                  <a:pos x="1026" y="219"/>
                </a:cxn>
                <a:cxn ang="0">
                  <a:pos x="1017" y="167"/>
                </a:cxn>
              </a:cxnLst>
              <a:rect l="0" t="0" r="r" b="b"/>
              <a:pathLst>
                <a:path w="1070" h="382">
                  <a:moveTo>
                    <a:pt x="1011" y="142"/>
                  </a:moveTo>
                  <a:lnTo>
                    <a:pt x="1011" y="136"/>
                  </a:lnTo>
                  <a:lnTo>
                    <a:pt x="1011" y="123"/>
                  </a:lnTo>
                  <a:lnTo>
                    <a:pt x="1000" y="125"/>
                  </a:lnTo>
                  <a:lnTo>
                    <a:pt x="992" y="124"/>
                  </a:lnTo>
                  <a:lnTo>
                    <a:pt x="984" y="122"/>
                  </a:lnTo>
                  <a:lnTo>
                    <a:pt x="980" y="119"/>
                  </a:lnTo>
                  <a:lnTo>
                    <a:pt x="976" y="114"/>
                  </a:lnTo>
                  <a:lnTo>
                    <a:pt x="972" y="109"/>
                  </a:lnTo>
                  <a:lnTo>
                    <a:pt x="970" y="103"/>
                  </a:lnTo>
                  <a:lnTo>
                    <a:pt x="969" y="96"/>
                  </a:lnTo>
                  <a:lnTo>
                    <a:pt x="967" y="82"/>
                  </a:lnTo>
                  <a:lnTo>
                    <a:pt x="966" y="68"/>
                  </a:lnTo>
                  <a:lnTo>
                    <a:pt x="965" y="62"/>
                  </a:lnTo>
                  <a:lnTo>
                    <a:pt x="962" y="57"/>
                  </a:lnTo>
                  <a:lnTo>
                    <a:pt x="960" y="53"/>
                  </a:lnTo>
                  <a:lnTo>
                    <a:pt x="957" y="50"/>
                  </a:lnTo>
                  <a:lnTo>
                    <a:pt x="950" y="44"/>
                  </a:lnTo>
                  <a:lnTo>
                    <a:pt x="944" y="40"/>
                  </a:lnTo>
                  <a:lnTo>
                    <a:pt x="936" y="36"/>
                  </a:lnTo>
                  <a:lnTo>
                    <a:pt x="928" y="33"/>
                  </a:lnTo>
                  <a:lnTo>
                    <a:pt x="912" y="28"/>
                  </a:lnTo>
                  <a:lnTo>
                    <a:pt x="894" y="25"/>
                  </a:lnTo>
                  <a:lnTo>
                    <a:pt x="857" y="22"/>
                  </a:lnTo>
                  <a:lnTo>
                    <a:pt x="817" y="19"/>
                  </a:lnTo>
                  <a:lnTo>
                    <a:pt x="799" y="29"/>
                  </a:lnTo>
                  <a:lnTo>
                    <a:pt x="769" y="43"/>
                  </a:lnTo>
                  <a:lnTo>
                    <a:pt x="752" y="50"/>
                  </a:lnTo>
                  <a:lnTo>
                    <a:pt x="734" y="56"/>
                  </a:lnTo>
                  <a:lnTo>
                    <a:pt x="726" y="58"/>
                  </a:lnTo>
                  <a:lnTo>
                    <a:pt x="719" y="60"/>
                  </a:lnTo>
                  <a:lnTo>
                    <a:pt x="711" y="61"/>
                  </a:lnTo>
                  <a:lnTo>
                    <a:pt x="704" y="62"/>
                  </a:lnTo>
                  <a:lnTo>
                    <a:pt x="692" y="63"/>
                  </a:lnTo>
                  <a:lnTo>
                    <a:pt x="678" y="65"/>
                  </a:lnTo>
                  <a:lnTo>
                    <a:pt x="664" y="67"/>
                  </a:lnTo>
                  <a:lnTo>
                    <a:pt x="652" y="68"/>
                  </a:lnTo>
                  <a:lnTo>
                    <a:pt x="644" y="68"/>
                  </a:lnTo>
                  <a:lnTo>
                    <a:pt x="637" y="67"/>
                  </a:lnTo>
                  <a:lnTo>
                    <a:pt x="632" y="65"/>
                  </a:lnTo>
                  <a:lnTo>
                    <a:pt x="626" y="63"/>
                  </a:lnTo>
                  <a:lnTo>
                    <a:pt x="622" y="59"/>
                  </a:lnTo>
                  <a:lnTo>
                    <a:pt x="618" y="55"/>
                  </a:lnTo>
                  <a:lnTo>
                    <a:pt x="614" y="50"/>
                  </a:lnTo>
                  <a:lnTo>
                    <a:pt x="612" y="44"/>
                  </a:lnTo>
                  <a:lnTo>
                    <a:pt x="601" y="45"/>
                  </a:lnTo>
                  <a:lnTo>
                    <a:pt x="591" y="44"/>
                  </a:lnTo>
                  <a:lnTo>
                    <a:pt x="581" y="42"/>
                  </a:lnTo>
                  <a:lnTo>
                    <a:pt x="571" y="40"/>
                  </a:lnTo>
                  <a:lnTo>
                    <a:pt x="560" y="37"/>
                  </a:lnTo>
                  <a:lnTo>
                    <a:pt x="549" y="34"/>
                  </a:lnTo>
                  <a:lnTo>
                    <a:pt x="537" y="32"/>
                  </a:lnTo>
                  <a:lnTo>
                    <a:pt x="525" y="32"/>
                  </a:lnTo>
                  <a:lnTo>
                    <a:pt x="525" y="25"/>
                  </a:lnTo>
                  <a:lnTo>
                    <a:pt x="525" y="19"/>
                  </a:lnTo>
                  <a:lnTo>
                    <a:pt x="512" y="22"/>
                  </a:lnTo>
                  <a:lnTo>
                    <a:pt x="499" y="25"/>
                  </a:lnTo>
                  <a:lnTo>
                    <a:pt x="493" y="25"/>
                  </a:lnTo>
                  <a:lnTo>
                    <a:pt x="488" y="23"/>
                  </a:lnTo>
                  <a:lnTo>
                    <a:pt x="483" y="21"/>
                  </a:lnTo>
                  <a:lnTo>
                    <a:pt x="477" y="17"/>
                  </a:lnTo>
                  <a:lnTo>
                    <a:pt x="473" y="13"/>
                  </a:lnTo>
                  <a:lnTo>
                    <a:pt x="468" y="9"/>
                  </a:lnTo>
                  <a:lnTo>
                    <a:pt x="466" y="5"/>
                  </a:lnTo>
                  <a:lnTo>
                    <a:pt x="465" y="0"/>
                  </a:lnTo>
                  <a:lnTo>
                    <a:pt x="456" y="5"/>
                  </a:lnTo>
                  <a:lnTo>
                    <a:pt x="445" y="9"/>
                  </a:lnTo>
                  <a:lnTo>
                    <a:pt x="432" y="12"/>
                  </a:lnTo>
                  <a:lnTo>
                    <a:pt x="419" y="14"/>
                  </a:lnTo>
                  <a:lnTo>
                    <a:pt x="390" y="16"/>
                  </a:lnTo>
                  <a:lnTo>
                    <a:pt x="360" y="19"/>
                  </a:lnTo>
                  <a:lnTo>
                    <a:pt x="343" y="20"/>
                  </a:lnTo>
                  <a:lnTo>
                    <a:pt x="329" y="21"/>
                  </a:lnTo>
                  <a:lnTo>
                    <a:pt x="313" y="23"/>
                  </a:lnTo>
                  <a:lnTo>
                    <a:pt x="299" y="26"/>
                  </a:lnTo>
                  <a:lnTo>
                    <a:pt x="286" y="30"/>
                  </a:lnTo>
                  <a:lnTo>
                    <a:pt x="274" y="35"/>
                  </a:lnTo>
                  <a:lnTo>
                    <a:pt x="267" y="38"/>
                  </a:lnTo>
                  <a:lnTo>
                    <a:pt x="262" y="41"/>
                  </a:lnTo>
                  <a:lnTo>
                    <a:pt x="257" y="45"/>
                  </a:lnTo>
                  <a:lnTo>
                    <a:pt x="253" y="50"/>
                  </a:lnTo>
                  <a:lnTo>
                    <a:pt x="147" y="50"/>
                  </a:lnTo>
                  <a:lnTo>
                    <a:pt x="145" y="54"/>
                  </a:lnTo>
                  <a:lnTo>
                    <a:pt x="142" y="58"/>
                  </a:lnTo>
                  <a:lnTo>
                    <a:pt x="138" y="61"/>
                  </a:lnTo>
                  <a:lnTo>
                    <a:pt x="133" y="62"/>
                  </a:lnTo>
                  <a:lnTo>
                    <a:pt x="143" y="65"/>
                  </a:lnTo>
                  <a:lnTo>
                    <a:pt x="153" y="68"/>
                  </a:lnTo>
                  <a:lnTo>
                    <a:pt x="163" y="70"/>
                  </a:lnTo>
                  <a:lnTo>
                    <a:pt x="173" y="75"/>
                  </a:lnTo>
                  <a:lnTo>
                    <a:pt x="173" y="79"/>
                  </a:lnTo>
                  <a:lnTo>
                    <a:pt x="172" y="83"/>
                  </a:lnTo>
                  <a:lnTo>
                    <a:pt x="170" y="86"/>
                  </a:lnTo>
                  <a:lnTo>
                    <a:pt x="167" y="88"/>
                  </a:lnTo>
                  <a:lnTo>
                    <a:pt x="164" y="90"/>
                  </a:lnTo>
                  <a:lnTo>
                    <a:pt x="161" y="91"/>
                  </a:lnTo>
                  <a:lnTo>
                    <a:pt x="158" y="92"/>
                  </a:lnTo>
                  <a:lnTo>
                    <a:pt x="153" y="93"/>
                  </a:lnTo>
                  <a:lnTo>
                    <a:pt x="133" y="94"/>
                  </a:lnTo>
                  <a:lnTo>
                    <a:pt x="114" y="93"/>
                  </a:lnTo>
                  <a:lnTo>
                    <a:pt x="108" y="93"/>
                  </a:lnTo>
                  <a:lnTo>
                    <a:pt x="94" y="93"/>
                  </a:lnTo>
                  <a:lnTo>
                    <a:pt x="74" y="93"/>
                  </a:lnTo>
                  <a:lnTo>
                    <a:pt x="53" y="93"/>
                  </a:lnTo>
                  <a:lnTo>
                    <a:pt x="42" y="94"/>
                  </a:lnTo>
                  <a:lnTo>
                    <a:pt x="31" y="95"/>
                  </a:lnTo>
                  <a:lnTo>
                    <a:pt x="22" y="99"/>
                  </a:lnTo>
                  <a:lnTo>
                    <a:pt x="15" y="104"/>
                  </a:lnTo>
                  <a:lnTo>
                    <a:pt x="11" y="107"/>
                  </a:lnTo>
                  <a:lnTo>
                    <a:pt x="8" y="110"/>
                  </a:lnTo>
                  <a:lnTo>
                    <a:pt x="6" y="114"/>
                  </a:lnTo>
                  <a:lnTo>
                    <a:pt x="4" y="119"/>
                  </a:lnTo>
                  <a:lnTo>
                    <a:pt x="2" y="130"/>
                  </a:lnTo>
                  <a:lnTo>
                    <a:pt x="0" y="142"/>
                  </a:lnTo>
                  <a:lnTo>
                    <a:pt x="0" y="147"/>
                  </a:lnTo>
                  <a:lnTo>
                    <a:pt x="2" y="151"/>
                  </a:lnTo>
                  <a:lnTo>
                    <a:pt x="4" y="154"/>
                  </a:lnTo>
                  <a:lnTo>
                    <a:pt x="5" y="157"/>
                  </a:lnTo>
                  <a:lnTo>
                    <a:pt x="10" y="162"/>
                  </a:lnTo>
                  <a:lnTo>
                    <a:pt x="16" y="167"/>
                  </a:lnTo>
                  <a:lnTo>
                    <a:pt x="20" y="173"/>
                  </a:lnTo>
                  <a:lnTo>
                    <a:pt x="22" y="179"/>
                  </a:lnTo>
                  <a:lnTo>
                    <a:pt x="24" y="183"/>
                  </a:lnTo>
                  <a:lnTo>
                    <a:pt x="24" y="188"/>
                  </a:lnTo>
                  <a:lnTo>
                    <a:pt x="22" y="193"/>
                  </a:lnTo>
                  <a:lnTo>
                    <a:pt x="20" y="198"/>
                  </a:lnTo>
                  <a:lnTo>
                    <a:pt x="19" y="200"/>
                  </a:lnTo>
                  <a:lnTo>
                    <a:pt x="19" y="203"/>
                  </a:lnTo>
                  <a:lnTo>
                    <a:pt x="20" y="206"/>
                  </a:lnTo>
                  <a:lnTo>
                    <a:pt x="21" y="210"/>
                  </a:lnTo>
                  <a:lnTo>
                    <a:pt x="25" y="217"/>
                  </a:lnTo>
                  <a:lnTo>
                    <a:pt x="30" y="224"/>
                  </a:lnTo>
                  <a:lnTo>
                    <a:pt x="37" y="230"/>
                  </a:lnTo>
                  <a:lnTo>
                    <a:pt x="44" y="235"/>
                  </a:lnTo>
                  <a:lnTo>
                    <a:pt x="49" y="237"/>
                  </a:lnTo>
                  <a:lnTo>
                    <a:pt x="52" y="239"/>
                  </a:lnTo>
                  <a:lnTo>
                    <a:pt x="56" y="241"/>
                  </a:lnTo>
                  <a:lnTo>
                    <a:pt x="60" y="241"/>
                  </a:lnTo>
                  <a:lnTo>
                    <a:pt x="59" y="250"/>
                  </a:lnTo>
                  <a:lnTo>
                    <a:pt x="56" y="259"/>
                  </a:lnTo>
                  <a:lnTo>
                    <a:pt x="52" y="266"/>
                  </a:lnTo>
                  <a:lnTo>
                    <a:pt x="47" y="271"/>
                  </a:lnTo>
                  <a:lnTo>
                    <a:pt x="56" y="271"/>
                  </a:lnTo>
                  <a:lnTo>
                    <a:pt x="66" y="271"/>
                  </a:lnTo>
                  <a:lnTo>
                    <a:pt x="74" y="271"/>
                  </a:lnTo>
                  <a:lnTo>
                    <a:pt x="81" y="271"/>
                  </a:lnTo>
                  <a:lnTo>
                    <a:pt x="82" y="275"/>
                  </a:lnTo>
                  <a:lnTo>
                    <a:pt x="84" y="280"/>
                  </a:lnTo>
                  <a:lnTo>
                    <a:pt x="89" y="284"/>
                  </a:lnTo>
                  <a:lnTo>
                    <a:pt x="96" y="290"/>
                  </a:lnTo>
                  <a:lnTo>
                    <a:pt x="112" y="302"/>
                  </a:lnTo>
                  <a:lnTo>
                    <a:pt x="131" y="313"/>
                  </a:lnTo>
                  <a:lnTo>
                    <a:pt x="170" y="334"/>
                  </a:lnTo>
                  <a:lnTo>
                    <a:pt x="193" y="345"/>
                  </a:lnTo>
                  <a:lnTo>
                    <a:pt x="205" y="352"/>
                  </a:lnTo>
                  <a:lnTo>
                    <a:pt x="218" y="360"/>
                  </a:lnTo>
                  <a:lnTo>
                    <a:pt x="226" y="364"/>
                  </a:lnTo>
                  <a:lnTo>
                    <a:pt x="234" y="367"/>
                  </a:lnTo>
                  <a:lnTo>
                    <a:pt x="243" y="370"/>
                  </a:lnTo>
                  <a:lnTo>
                    <a:pt x="253" y="370"/>
                  </a:lnTo>
                  <a:lnTo>
                    <a:pt x="255" y="370"/>
                  </a:lnTo>
                  <a:lnTo>
                    <a:pt x="257" y="367"/>
                  </a:lnTo>
                  <a:lnTo>
                    <a:pt x="261" y="365"/>
                  </a:lnTo>
                  <a:lnTo>
                    <a:pt x="264" y="361"/>
                  </a:lnTo>
                  <a:lnTo>
                    <a:pt x="267" y="358"/>
                  </a:lnTo>
                  <a:lnTo>
                    <a:pt x="271" y="355"/>
                  </a:lnTo>
                  <a:lnTo>
                    <a:pt x="275" y="353"/>
                  </a:lnTo>
                  <a:lnTo>
                    <a:pt x="279" y="352"/>
                  </a:lnTo>
                  <a:lnTo>
                    <a:pt x="277" y="344"/>
                  </a:lnTo>
                  <a:lnTo>
                    <a:pt x="277" y="338"/>
                  </a:lnTo>
                  <a:lnTo>
                    <a:pt x="278" y="332"/>
                  </a:lnTo>
                  <a:lnTo>
                    <a:pt x="280" y="326"/>
                  </a:lnTo>
                  <a:lnTo>
                    <a:pt x="284" y="322"/>
                  </a:lnTo>
                  <a:lnTo>
                    <a:pt x="289" y="318"/>
                  </a:lnTo>
                  <a:lnTo>
                    <a:pt x="297" y="316"/>
                  </a:lnTo>
                  <a:lnTo>
                    <a:pt x="306" y="315"/>
                  </a:lnTo>
                  <a:lnTo>
                    <a:pt x="316" y="315"/>
                  </a:lnTo>
                  <a:lnTo>
                    <a:pt x="323" y="317"/>
                  </a:lnTo>
                  <a:lnTo>
                    <a:pt x="329" y="320"/>
                  </a:lnTo>
                  <a:lnTo>
                    <a:pt x="334" y="323"/>
                  </a:lnTo>
                  <a:lnTo>
                    <a:pt x="343" y="332"/>
                  </a:lnTo>
                  <a:lnTo>
                    <a:pt x="350" y="342"/>
                  </a:lnTo>
                  <a:lnTo>
                    <a:pt x="353" y="347"/>
                  </a:lnTo>
                  <a:lnTo>
                    <a:pt x="357" y="353"/>
                  </a:lnTo>
                  <a:lnTo>
                    <a:pt x="362" y="358"/>
                  </a:lnTo>
                  <a:lnTo>
                    <a:pt x="367" y="362"/>
                  </a:lnTo>
                  <a:lnTo>
                    <a:pt x="373" y="365"/>
                  </a:lnTo>
                  <a:lnTo>
                    <a:pt x="380" y="368"/>
                  </a:lnTo>
                  <a:lnTo>
                    <a:pt x="389" y="370"/>
                  </a:lnTo>
                  <a:lnTo>
                    <a:pt x="399" y="370"/>
                  </a:lnTo>
                  <a:lnTo>
                    <a:pt x="409" y="370"/>
                  </a:lnTo>
                  <a:lnTo>
                    <a:pt x="418" y="369"/>
                  </a:lnTo>
                  <a:lnTo>
                    <a:pt x="425" y="367"/>
                  </a:lnTo>
                  <a:lnTo>
                    <a:pt x="433" y="365"/>
                  </a:lnTo>
                  <a:lnTo>
                    <a:pt x="447" y="359"/>
                  </a:lnTo>
                  <a:lnTo>
                    <a:pt x="459" y="352"/>
                  </a:lnTo>
                  <a:lnTo>
                    <a:pt x="472" y="345"/>
                  </a:lnTo>
                  <a:lnTo>
                    <a:pt x="483" y="339"/>
                  </a:lnTo>
                  <a:lnTo>
                    <a:pt x="488" y="336"/>
                  </a:lnTo>
                  <a:lnTo>
                    <a:pt x="493" y="335"/>
                  </a:lnTo>
                  <a:lnTo>
                    <a:pt x="499" y="333"/>
                  </a:lnTo>
                  <a:lnTo>
                    <a:pt x="506" y="333"/>
                  </a:lnTo>
                  <a:lnTo>
                    <a:pt x="512" y="332"/>
                  </a:lnTo>
                  <a:lnTo>
                    <a:pt x="521" y="329"/>
                  </a:lnTo>
                  <a:lnTo>
                    <a:pt x="525" y="327"/>
                  </a:lnTo>
                  <a:lnTo>
                    <a:pt x="529" y="325"/>
                  </a:lnTo>
                  <a:lnTo>
                    <a:pt x="531" y="323"/>
                  </a:lnTo>
                  <a:lnTo>
                    <a:pt x="532" y="321"/>
                  </a:lnTo>
                  <a:lnTo>
                    <a:pt x="565" y="321"/>
                  </a:lnTo>
                  <a:lnTo>
                    <a:pt x="564" y="326"/>
                  </a:lnTo>
                  <a:lnTo>
                    <a:pt x="563" y="333"/>
                  </a:lnTo>
                  <a:lnTo>
                    <a:pt x="564" y="341"/>
                  </a:lnTo>
                  <a:lnTo>
                    <a:pt x="565" y="349"/>
                  </a:lnTo>
                  <a:lnTo>
                    <a:pt x="566" y="358"/>
                  </a:lnTo>
                  <a:lnTo>
                    <a:pt x="567" y="367"/>
                  </a:lnTo>
                  <a:lnTo>
                    <a:pt x="567" y="375"/>
                  </a:lnTo>
                  <a:lnTo>
                    <a:pt x="565" y="382"/>
                  </a:lnTo>
                  <a:lnTo>
                    <a:pt x="575" y="381"/>
                  </a:lnTo>
                  <a:lnTo>
                    <a:pt x="582" y="379"/>
                  </a:lnTo>
                  <a:lnTo>
                    <a:pt x="590" y="377"/>
                  </a:lnTo>
                  <a:lnTo>
                    <a:pt x="596" y="375"/>
                  </a:lnTo>
                  <a:lnTo>
                    <a:pt x="601" y="372"/>
                  </a:lnTo>
                  <a:lnTo>
                    <a:pt x="605" y="369"/>
                  </a:lnTo>
                  <a:lnTo>
                    <a:pt x="610" y="366"/>
                  </a:lnTo>
                  <a:lnTo>
                    <a:pt x="613" y="362"/>
                  </a:lnTo>
                  <a:lnTo>
                    <a:pt x="623" y="345"/>
                  </a:lnTo>
                  <a:lnTo>
                    <a:pt x="632" y="327"/>
                  </a:lnTo>
                  <a:lnTo>
                    <a:pt x="636" y="331"/>
                  </a:lnTo>
                  <a:lnTo>
                    <a:pt x="641" y="334"/>
                  </a:lnTo>
                  <a:lnTo>
                    <a:pt x="647" y="336"/>
                  </a:lnTo>
                  <a:lnTo>
                    <a:pt x="654" y="337"/>
                  </a:lnTo>
                  <a:lnTo>
                    <a:pt x="669" y="338"/>
                  </a:lnTo>
                  <a:lnTo>
                    <a:pt x="687" y="336"/>
                  </a:lnTo>
                  <a:lnTo>
                    <a:pt x="721" y="330"/>
                  </a:lnTo>
                  <a:lnTo>
                    <a:pt x="752" y="327"/>
                  </a:lnTo>
                  <a:lnTo>
                    <a:pt x="767" y="327"/>
                  </a:lnTo>
                  <a:lnTo>
                    <a:pt x="781" y="325"/>
                  </a:lnTo>
                  <a:lnTo>
                    <a:pt x="794" y="324"/>
                  </a:lnTo>
                  <a:lnTo>
                    <a:pt x="808" y="321"/>
                  </a:lnTo>
                  <a:lnTo>
                    <a:pt x="831" y="315"/>
                  </a:lnTo>
                  <a:lnTo>
                    <a:pt x="853" y="307"/>
                  </a:lnTo>
                  <a:lnTo>
                    <a:pt x="873" y="299"/>
                  </a:lnTo>
                  <a:lnTo>
                    <a:pt x="895" y="290"/>
                  </a:lnTo>
                  <a:lnTo>
                    <a:pt x="906" y="287"/>
                  </a:lnTo>
                  <a:lnTo>
                    <a:pt x="918" y="283"/>
                  </a:lnTo>
                  <a:lnTo>
                    <a:pt x="930" y="280"/>
                  </a:lnTo>
                  <a:lnTo>
                    <a:pt x="944" y="278"/>
                  </a:lnTo>
                  <a:lnTo>
                    <a:pt x="951" y="279"/>
                  </a:lnTo>
                  <a:lnTo>
                    <a:pt x="961" y="284"/>
                  </a:lnTo>
                  <a:lnTo>
                    <a:pt x="967" y="286"/>
                  </a:lnTo>
                  <a:lnTo>
                    <a:pt x="972" y="288"/>
                  </a:lnTo>
                  <a:lnTo>
                    <a:pt x="979" y="289"/>
                  </a:lnTo>
                  <a:lnTo>
                    <a:pt x="983" y="290"/>
                  </a:lnTo>
                  <a:lnTo>
                    <a:pt x="995" y="290"/>
                  </a:lnTo>
                  <a:lnTo>
                    <a:pt x="1005" y="293"/>
                  </a:lnTo>
                  <a:lnTo>
                    <a:pt x="1015" y="295"/>
                  </a:lnTo>
                  <a:lnTo>
                    <a:pt x="1024" y="300"/>
                  </a:lnTo>
                  <a:lnTo>
                    <a:pt x="1034" y="303"/>
                  </a:lnTo>
                  <a:lnTo>
                    <a:pt x="1045" y="306"/>
                  </a:lnTo>
                  <a:lnTo>
                    <a:pt x="1056" y="308"/>
                  </a:lnTo>
                  <a:lnTo>
                    <a:pt x="1070" y="309"/>
                  </a:lnTo>
                  <a:lnTo>
                    <a:pt x="1068" y="297"/>
                  </a:lnTo>
                  <a:lnTo>
                    <a:pt x="1063" y="286"/>
                  </a:lnTo>
                  <a:lnTo>
                    <a:pt x="1060" y="276"/>
                  </a:lnTo>
                  <a:lnTo>
                    <a:pt x="1056" y="268"/>
                  </a:lnTo>
                  <a:lnTo>
                    <a:pt x="1047" y="254"/>
                  </a:lnTo>
                  <a:lnTo>
                    <a:pt x="1038" y="241"/>
                  </a:lnTo>
                  <a:lnTo>
                    <a:pt x="1034" y="233"/>
                  </a:lnTo>
                  <a:lnTo>
                    <a:pt x="1030" y="226"/>
                  </a:lnTo>
                  <a:lnTo>
                    <a:pt x="1026" y="219"/>
                  </a:lnTo>
                  <a:lnTo>
                    <a:pt x="1024" y="211"/>
                  </a:lnTo>
                  <a:lnTo>
                    <a:pt x="1021" y="202"/>
                  </a:lnTo>
                  <a:lnTo>
                    <a:pt x="1018" y="192"/>
                  </a:lnTo>
                  <a:lnTo>
                    <a:pt x="1017" y="179"/>
                  </a:lnTo>
                  <a:lnTo>
                    <a:pt x="1017" y="167"/>
                  </a:lnTo>
                  <a:lnTo>
                    <a:pt x="1014" y="152"/>
                  </a:lnTo>
                  <a:lnTo>
                    <a:pt x="1011" y="1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2589" name="Freeform 541"/>
          <p:cNvSpPr>
            <a:spLocks/>
          </p:cNvSpPr>
          <p:nvPr>
            <p:custDataLst>
              <p:tags r:id="rId372"/>
            </p:custDataLst>
          </p:nvPr>
        </p:nvSpPr>
        <p:spPr bwMode="auto">
          <a:xfrm>
            <a:off x="2571757" y="2611044"/>
            <a:ext cx="100013" cy="91678"/>
          </a:xfrm>
          <a:custGeom>
            <a:avLst/>
            <a:gdLst/>
            <a:ahLst/>
            <a:cxnLst>
              <a:cxn ang="0">
                <a:pos x="63" y="236"/>
              </a:cxn>
              <a:cxn ang="0">
                <a:pos x="68" y="237"/>
              </a:cxn>
              <a:cxn ang="0">
                <a:pos x="75" y="235"/>
              </a:cxn>
              <a:cxn ang="0">
                <a:pos x="83" y="234"/>
              </a:cxn>
              <a:cxn ang="0">
                <a:pos x="89" y="230"/>
              </a:cxn>
              <a:cxn ang="0">
                <a:pos x="96" y="223"/>
              </a:cxn>
              <a:cxn ang="0">
                <a:pos x="99" y="214"/>
              </a:cxn>
              <a:cxn ang="0">
                <a:pos x="123" y="209"/>
              </a:cxn>
              <a:cxn ang="0">
                <a:pos x="166" y="205"/>
              </a:cxn>
              <a:cxn ang="0">
                <a:pos x="195" y="198"/>
              </a:cxn>
              <a:cxn ang="0">
                <a:pos x="209" y="191"/>
              </a:cxn>
              <a:cxn ang="0">
                <a:pos x="220" y="181"/>
              </a:cxn>
              <a:cxn ang="0">
                <a:pos x="225" y="168"/>
              </a:cxn>
              <a:cxn ang="0">
                <a:pos x="226" y="153"/>
              </a:cxn>
              <a:cxn ang="0">
                <a:pos x="223" y="140"/>
              </a:cxn>
              <a:cxn ang="0">
                <a:pos x="215" y="123"/>
              </a:cxn>
              <a:cxn ang="0">
                <a:pos x="203" y="100"/>
              </a:cxn>
              <a:cxn ang="0">
                <a:pos x="196" y="84"/>
              </a:cxn>
              <a:cxn ang="0">
                <a:pos x="193" y="74"/>
              </a:cxn>
              <a:cxn ang="0">
                <a:pos x="195" y="59"/>
              </a:cxn>
              <a:cxn ang="0">
                <a:pos x="200" y="43"/>
              </a:cxn>
              <a:cxn ang="0">
                <a:pos x="213" y="25"/>
              </a:cxn>
              <a:cxn ang="0">
                <a:pos x="213" y="14"/>
              </a:cxn>
              <a:cxn ang="0">
                <a:pos x="191" y="7"/>
              </a:cxn>
              <a:cxn ang="0">
                <a:pos x="154" y="2"/>
              </a:cxn>
              <a:cxn ang="0">
                <a:pos x="20" y="6"/>
              </a:cxn>
              <a:cxn ang="0">
                <a:pos x="18" y="31"/>
              </a:cxn>
              <a:cxn ang="0">
                <a:pos x="10" y="54"/>
              </a:cxn>
              <a:cxn ang="0">
                <a:pos x="3" y="79"/>
              </a:cxn>
              <a:cxn ang="0">
                <a:pos x="0" y="111"/>
              </a:cxn>
              <a:cxn ang="0">
                <a:pos x="3" y="130"/>
              </a:cxn>
              <a:cxn ang="0">
                <a:pos x="10" y="146"/>
              </a:cxn>
              <a:cxn ang="0">
                <a:pos x="30" y="173"/>
              </a:cxn>
              <a:cxn ang="0">
                <a:pos x="51" y="199"/>
              </a:cxn>
              <a:cxn ang="0">
                <a:pos x="57" y="216"/>
              </a:cxn>
              <a:cxn ang="0">
                <a:pos x="61" y="234"/>
              </a:cxn>
            </a:cxnLst>
            <a:rect l="0" t="0" r="r" b="b"/>
            <a:pathLst>
              <a:path w="226" h="237">
                <a:moveTo>
                  <a:pt x="61" y="234"/>
                </a:moveTo>
                <a:lnTo>
                  <a:pt x="63" y="236"/>
                </a:lnTo>
                <a:lnTo>
                  <a:pt x="65" y="237"/>
                </a:lnTo>
                <a:lnTo>
                  <a:pt x="68" y="237"/>
                </a:lnTo>
                <a:lnTo>
                  <a:pt x="70" y="237"/>
                </a:lnTo>
                <a:lnTo>
                  <a:pt x="75" y="235"/>
                </a:lnTo>
                <a:lnTo>
                  <a:pt x="80" y="234"/>
                </a:lnTo>
                <a:lnTo>
                  <a:pt x="83" y="234"/>
                </a:lnTo>
                <a:lnTo>
                  <a:pt x="86" y="232"/>
                </a:lnTo>
                <a:lnTo>
                  <a:pt x="89" y="230"/>
                </a:lnTo>
                <a:lnTo>
                  <a:pt x="92" y="227"/>
                </a:lnTo>
                <a:lnTo>
                  <a:pt x="96" y="223"/>
                </a:lnTo>
                <a:lnTo>
                  <a:pt x="98" y="219"/>
                </a:lnTo>
                <a:lnTo>
                  <a:pt x="99" y="214"/>
                </a:lnTo>
                <a:lnTo>
                  <a:pt x="100" y="209"/>
                </a:lnTo>
                <a:lnTo>
                  <a:pt x="123" y="209"/>
                </a:lnTo>
                <a:lnTo>
                  <a:pt x="145" y="208"/>
                </a:lnTo>
                <a:lnTo>
                  <a:pt x="166" y="205"/>
                </a:lnTo>
                <a:lnTo>
                  <a:pt x="186" y="201"/>
                </a:lnTo>
                <a:lnTo>
                  <a:pt x="195" y="198"/>
                </a:lnTo>
                <a:lnTo>
                  <a:pt x="202" y="195"/>
                </a:lnTo>
                <a:lnTo>
                  <a:pt x="209" y="191"/>
                </a:lnTo>
                <a:lnTo>
                  <a:pt x="215" y="186"/>
                </a:lnTo>
                <a:lnTo>
                  <a:pt x="220" y="181"/>
                </a:lnTo>
                <a:lnTo>
                  <a:pt x="223" y="175"/>
                </a:lnTo>
                <a:lnTo>
                  <a:pt x="225" y="168"/>
                </a:lnTo>
                <a:lnTo>
                  <a:pt x="226" y="161"/>
                </a:lnTo>
                <a:lnTo>
                  <a:pt x="226" y="153"/>
                </a:lnTo>
                <a:lnTo>
                  <a:pt x="225" y="147"/>
                </a:lnTo>
                <a:lnTo>
                  <a:pt x="223" y="140"/>
                </a:lnTo>
                <a:lnTo>
                  <a:pt x="221" y="134"/>
                </a:lnTo>
                <a:lnTo>
                  <a:pt x="215" y="123"/>
                </a:lnTo>
                <a:lnTo>
                  <a:pt x="210" y="112"/>
                </a:lnTo>
                <a:lnTo>
                  <a:pt x="203" y="100"/>
                </a:lnTo>
                <a:lnTo>
                  <a:pt x="198" y="90"/>
                </a:lnTo>
                <a:lnTo>
                  <a:pt x="196" y="84"/>
                </a:lnTo>
                <a:lnTo>
                  <a:pt x="195" y="79"/>
                </a:lnTo>
                <a:lnTo>
                  <a:pt x="193" y="74"/>
                </a:lnTo>
                <a:lnTo>
                  <a:pt x="193" y="68"/>
                </a:lnTo>
                <a:lnTo>
                  <a:pt x="195" y="59"/>
                </a:lnTo>
                <a:lnTo>
                  <a:pt x="197" y="51"/>
                </a:lnTo>
                <a:lnTo>
                  <a:pt x="200" y="43"/>
                </a:lnTo>
                <a:lnTo>
                  <a:pt x="204" y="36"/>
                </a:lnTo>
                <a:lnTo>
                  <a:pt x="213" y="25"/>
                </a:lnTo>
                <a:lnTo>
                  <a:pt x="220" y="19"/>
                </a:lnTo>
                <a:lnTo>
                  <a:pt x="213" y="14"/>
                </a:lnTo>
                <a:lnTo>
                  <a:pt x="203" y="11"/>
                </a:lnTo>
                <a:lnTo>
                  <a:pt x="191" y="7"/>
                </a:lnTo>
                <a:lnTo>
                  <a:pt x="179" y="5"/>
                </a:lnTo>
                <a:lnTo>
                  <a:pt x="154" y="2"/>
                </a:lnTo>
                <a:lnTo>
                  <a:pt x="133" y="0"/>
                </a:lnTo>
                <a:lnTo>
                  <a:pt x="20" y="6"/>
                </a:lnTo>
                <a:lnTo>
                  <a:pt x="20" y="19"/>
                </a:lnTo>
                <a:lnTo>
                  <a:pt x="18" y="31"/>
                </a:lnTo>
                <a:lnTo>
                  <a:pt x="14" y="42"/>
                </a:lnTo>
                <a:lnTo>
                  <a:pt x="10" y="54"/>
                </a:lnTo>
                <a:lnTo>
                  <a:pt x="7" y="66"/>
                </a:lnTo>
                <a:lnTo>
                  <a:pt x="3" y="79"/>
                </a:lnTo>
                <a:lnTo>
                  <a:pt x="1" y="93"/>
                </a:lnTo>
                <a:lnTo>
                  <a:pt x="0" y="111"/>
                </a:lnTo>
                <a:lnTo>
                  <a:pt x="1" y="121"/>
                </a:lnTo>
                <a:lnTo>
                  <a:pt x="3" y="130"/>
                </a:lnTo>
                <a:lnTo>
                  <a:pt x="6" y="138"/>
                </a:lnTo>
                <a:lnTo>
                  <a:pt x="10" y="146"/>
                </a:lnTo>
                <a:lnTo>
                  <a:pt x="19" y="159"/>
                </a:lnTo>
                <a:lnTo>
                  <a:pt x="30" y="173"/>
                </a:lnTo>
                <a:lnTo>
                  <a:pt x="41" y="185"/>
                </a:lnTo>
                <a:lnTo>
                  <a:pt x="51" y="199"/>
                </a:lnTo>
                <a:lnTo>
                  <a:pt x="55" y="207"/>
                </a:lnTo>
                <a:lnTo>
                  <a:pt x="57" y="216"/>
                </a:lnTo>
                <a:lnTo>
                  <a:pt x="59" y="225"/>
                </a:lnTo>
                <a:lnTo>
                  <a:pt x="61" y="23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590" name="Freeform 542"/>
          <p:cNvSpPr>
            <a:spLocks/>
          </p:cNvSpPr>
          <p:nvPr>
            <p:custDataLst>
              <p:tags r:id="rId373"/>
            </p:custDataLst>
          </p:nvPr>
        </p:nvSpPr>
        <p:spPr bwMode="auto">
          <a:xfrm>
            <a:off x="6516688" y="2188370"/>
            <a:ext cx="207962" cy="344091"/>
          </a:xfrm>
          <a:custGeom>
            <a:avLst/>
            <a:gdLst/>
            <a:ahLst/>
            <a:cxnLst>
              <a:cxn ang="0">
                <a:pos x="287" y="109"/>
              </a:cxn>
              <a:cxn ang="0">
                <a:pos x="250" y="138"/>
              </a:cxn>
              <a:cxn ang="0">
                <a:pos x="199" y="197"/>
              </a:cxn>
              <a:cxn ang="0">
                <a:pos x="198" y="213"/>
              </a:cxn>
              <a:cxn ang="0">
                <a:pos x="206" y="239"/>
              </a:cxn>
              <a:cxn ang="0">
                <a:pos x="221" y="265"/>
              </a:cxn>
              <a:cxn ang="0">
                <a:pos x="240" y="288"/>
              </a:cxn>
              <a:cxn ang="0">
                <a:pos x="259" y="301"/>
              </a:cxn>
              <a:cxn ang="0">
                <a:pos x="279" y="329"/>
              </a:cxn>
              <a:cxn ang="0">
                <a:pos x="295" y="361"/>
              </a:cxn>
              <a:cxn ang="0">
                <a:pos x="305" y="369"/>
              </a:cxn>
              <a:cxn ang="0">
                <a:pos x="438" y="499"/>
              </a:cxn>
              <a:cxn ang="0">
                <a:pos x="471" y="589"/>
              </a:cxn>
              <a:cxn ang="0">
                <a:pos x="478" y="647"/>
              </a:cxn>
              <a:cxn ang="0">
                <a:pos x="476" y="687"/>
              </a:cxn>
              <a:cxn ang="0">
                <a:pos x="478" y="708"/>
              </a:cxn>
              <a:cxn ang="0">
                <a:pos x="447" y="718"/>
              </a:cxn>
              <a:cxn ang="0">
                <a:pos x="420" y="733"/>
              </a:cxn>
              <a:cxn ang="0">
                <a:pos x="391" y="756"/>
              </a:cxn>
              <a:cxn ang="0">
                <a:pos x="365" y="789"/>
              </a:cxn>
              <a:cxn ang="0">
                <a:pos x="348" y="785"/>
              </a:cxn>
              <a:cxn ang="0">
                <a:pos x="319" y="789"/>
              </a:cxn>
              <a:cxn ang="0">
                <a:pos x="313" y="804"/>
              </a:cxn>
              <a:cxn ang="0">
                <a:pos x="289" y="838"/>
              </a:cxn>
              <a:cxn ang="0">
                <a:pos x="256" y="868"/>
              </a:cxn>
              <a:cxn ang="0">
                <a:pos x="239" y="875"/>
              </a:cxn>
              <a:cxn ang="0">
                <a:pos x="232" y="868"/>
              </a:cxn>
              <a:cxn ang="0">
                <a:pos x="225" y="844"/>
              </a:cxn>
              <a:cxn ang="0">
                <a:pos x="231" y="800"/>
              </a:cxn>
              <a:cxn ang="0">
                <a:pos x="253" y="775"/>
              </a:cxn>
              <a:cxn ang="0">
                <a:pos x="277" y="760"/>
              </a:cxn>
              <a:cxn ang="0">
                <a:pos x="295" y="753"/>
              </a:cxn>
              <a:cxn ang="0">
                <a:pos x="305" y="743"/>
              </a:cxn>
              <a:cxn ang="0">
                <a:pos x="314" y="714"/>
              </a:cxn>
              <a:cxn ang="0">
                <a:pos x="330" y="686"/>
              </a:cxn>
              <a:cxn ang="0">
                <a:pos x="365" y="643"/>
              </a:cxn>
              <a:cxn ang="0">
                <a:pos x="371" y="536"/>
              </a:cxn>
              <a:cxn ang="0">
                <a:pos x="364" y="475"/>
              </a:cxn>
              <a:cxn ang="0">
                <a:pos x="341" y="427"/>
              </a:cxn>
              <a:cxn ang="0">
                <a:pos x="297" y="377"/>
              </a:cxn>
              <a:cxn ang="0">
                <a:pos x="219" y="308"/>
              </a:cxn>
              <a:cxn ang="0">
                <a:pos x="161" y="255"/>
              </a:cxn>
              <a:cxn ang="0">
                <a:pos x="108" y="198"/>
              </a:cxn>
              <a:cxn ang="0">
                <a:pos x="72" y="146"/>
              </a:cxn>
              <a:cxn ang="0">
                <a:pos x="42" y="104"/>
              </a:cxn>
              <a:cxn ang="0">
                <a:pos x="46" y="41"/>
              </a:cxn>
              <a:cxn ang="0">
                <a:pos x="129" y="19"/>
              </a:cxn>
              <a:cxn ang="0">
                <a:pos x="148" y="5"/>
              </a:cxn>
              <a:cxn ang="0">
                <a:pos x="175" y="16"/>
              </a:cxn>
              <a:cxn ang="0">
                <a:pos x="221" y="35"/>
              </a:cxn>
              <a:cxn ang="0">
                <a:pos x="269" y="67"/>
              </a:cxn>
            </a:cxnLst>
            <a:rect l="0" t="0" r="r" b="b"/>
            <a:pathLst>
              <a:path w="478" h="875">
                <a:moveTo>
                  <a:pt x="299" y="104"/>
                </a:moveTo>
                <a:lnTo>
                  <a:pt x="295" y="106"/>
                </a:lnTo>
                <a:lnTo>
                  <a:pt x="287" y="109"/>
                </a:lnTo>
                <a:lnTo>
                  <a:pt x="277" y="116"/>
                </a:lnTo>
                <a:lnTo>
                  <a:pt x="264" y="126"/>
                </a:lnTo>
                <a:lnTo>
                  <a:pt x="250" y="138"/>
                </a:lnTo>
                <a:lnTo>
                  <a:pt x="233" y="154"/>
                </a:lnTo>
                <a:lnTo>
                  <a:pt x="217" y="173"/>
                </a:lnTo>
                <a:lnTo>
                  <a:pt x="199" y="197"/>
                </a:lnTo>
                <a:lnTo>
                  <a:pt x="197" y="201"/>
                </a:lnTo>
                <a:lnTo>
                  <a:pt x="197" y="207"/>
                </a:lnTo>
                <a:lnTo>
                  <a:pt x="198" y="213"/>
                </a:lnTo>
                <a:lnTo>
                  <a:pt x="199" y="221"/>
                </a:lnTo>
                <a:lnTo>
                  <a:pt x="202" y="229"/>
                </a:lnTo>
                <a:lnTo>
                  <a:pt x="206" y="239"/>
                </a:lnTo>
                <a:lnTo>
                  <a:pt x="210" y="248"/>
                </a:lnTo>
                <a:lnTo>
                  <a:pt x="214" y="256"/>
                </a:lnTo>
                <a:lnTo>
                  <a:pt x="221" y="265"/>
                </a:lnTo>
                <a:lnTo>
                  <a:pt x="226" y="273"/>
                </a:lnTo>
                <a:lnTo>
                  <a:pt x="233" y="281"/>
                </a:lnTo>
                <a:lnTo>
                  <a:pt x="240" y="288"/>
                </a:lnTo>
                <a:lnTo>
                  <a:pt x="246" y="294"/>
                </a:lnTo>
                <a:lnTo>
                  <a:pt x="253" y="298"/>
                </a:lnTo>
                <a:lnTo>
                  <a:pt x="259" y="301"/>
                </a:lnTo>
                <a:lnTo>
                  <a:pt x="266" y="302"/>
                </a:lnTo>
                <a:lnTo>
                  <a:pt x="271" y="314"/>
                </a:lnTo>
                <a:lnTo>
                  <a:pt x="279" y="329"/>
                </a:lnTo>
                <a:lnTo>
                  <a:pt x="286" y="346"/>
                </a:lnTo>
                <a:lnTo>
                  <a:pt x="292" y="357"/>
                </a:lnTo>
                <a:lnTo>
                  <a:pt x="295" y="361"/>
                </a:lnTo>
                <a:lnTo>
                  <a:pt x="298" y="365"/>
                </a:lnTo>
                <a:lnTo>
                  <a:pt x="302" y="367"/>
                </a:lnTo>
                <a:lnTo>
                  <a:pt x="305" y="369"/>
                </a:lnTo>
                <a:lnTo>
                  <a:pt x="313" y="372"/>
                </a:lnTo>
                <a:lnTo>
                  <a:pt x="319" y="376"/>
                </a:lnTo>
                <a:lnTo>
                  <a:pt x="438" y="499"/>
                </a:lnTo>
                <a:lnTo>
                  <a:pt x="453" y="535"/>
                </a:lnTo>
                <a:lnTo>
                  <a:pt x="466" y="571"/>
                </a:lnTo>
                <a:lnTo>
                  <a:pt x="471" y="589"/>
                </a:lnTo>
                <a:lnTo>
                  <a:pt x="475" y="607"/>
                </a:lnTo>
                <a:lnTo>
                  <a:pt x="477" y="627"/>
                </a:lnTo>
                <a:lnTo>
                  <a:pt x="478" y="647"/>
                </a:lnTo>
                <a:lnTo>
                  <a:pt x="477" y="666"/>
                </a:lnTo>
                <a:lnTo>
                  <a:pt x="476" y="680"/>
                </a:lnTo>
                <a:lnTo>
                  <a:pt x="476" y="687"/>
                </a:lnTo>
                <a:lnTo>
                  <a:pt x="476" y="693"/>
                </a:lnTo>
                <a:lnTo>
                  <a:pt x="476" y="700"/>
                </a:lnTo>
                <a:lnTo>
                  <a:pt x="478" y="708"/>
                </a:lnTo>
                <a:lnTo>
                  <a:pt x="467" y="711"/>
                </a:lnTo>
                <a:lnTo>
                  <a:pt x="457" y="714"/>
                </a:lnTo>
                <a:lnTo>
                  <a:pt x="447" y="718"/>
                </a:lnTo>
                <a:lnTo>
                  <a:pt x="437" y="722"/>
                </a:lnTo>
                <a:lnTo>
                  <a:pt x="428" y="727"/>
                </a:lnTo>
                <a:lnTo>
                  <a:pt x="420" y="733"/>
                </a:lnTo>
                <a:lnTo>
                  <a:pt x="412" y="739"/>
                </a:lnTo>
                <a:lnTo>
                  <a:pt x="404" y="744"/>
                </a:lnTo>
                <a:lnTo>
                  <a:pt x="391" y="756"/>
                </a:lnTo>
                <a:lnTo>
                  <a:pt x="380" y="767"/>
                </a:lnTo>
                <a:lnTo>
                  <a:pt x="371" y="778"/>
                </a:lnTo>
                <a:lnTo>
                  <a:pt x="365" y="789"/>
                </a:lnTo>
                <a:lnTo>
                  <a:pt x="360" y="786"/>
                </a:lnTo>
                <a:lnTo>
                  <a:pt x="354" y="785"/>
                </a:lnTo>
                <a:lnTo>
                  <a:pt x="348" y="785"/>
                </a:lnTo>
                <a:lnTo>
                  <a:pt x="342" y="786"/>
                </a:lnTo>
                <a:lnTo>
                  <a:pt x="330" y="788"/>
                </a:lnTo>
                <a:lnTo>
                  <a:pt x="319" y="789"/>
                </a:lnTo>
                <a:lnTo>
                  <a:pt x="318" y="793"/>
                </a:lnTo>
                <a:lnTo>
                  <a:pt x="316" y="798"/>
                </a:lnTo>
                <a:lnTo>
                  <a:pt x="313" y="804"/>
                </a:lnTo>
                <a:lnTo>
                  <a:pt x="310" y="810"/>
                </a:lnTo>
                <a:lnTo>
                  <a:pt x="300" y="824"/>
                </a:lnTo>
                <a:lnTo>
                  <a:pt x="289" y="838"/>
                </a:lnTo>
                <a:lnTo>
                  <a:pt x="276" y="853"/>
                </a:lnTo>
                <a:lnTo>
                  <a:pt x="263" y="864"/>
                </a:lnTo>
                <a:lnTo>
                  <a:pt x="256" y="868"/>
                </a:lnTo>
                <a:lnTo>
                  <a:pt x="250" y="872"/>
                </a:lnTo>
                <a:lnTo>
                  <a:pt x="244" y="874"/>
                </a:lnTo>
                <a:lnTo>
                  <a:pt x="239" y="875"/>
                </a:lnTo>
                <a:lnTo>
                  <a:pt x="236" y="874"/>
                </a:lnTo>
                <a:lnTo>
                  <a:pt x="234" y="872"/>
                </a:lnTo>
                <a:lnTo>
                  <a:pt x="232" y="868"/>
                </a:lnTo>
                <a:lnTo>
                  <a:pt x="230" y="864"/>
                </a:lnTo>
                <a:lnTo>
                  <a:pt x="226" y="854"/>
                </a:lnTo>
                <a:lnTo>
                  <a:pt x="225" y="844"/>
                </a:lnTo>
                <a:lnTo>
                  <a:pt x="226" y="830"/>
                </a:lnTo>
                <a:lnTo>
                  <a:pt x="229" y="816"/>
                </a:lnTo>
                <a:lnTo>
                  <a:pt x="231" y="800"/>
                </a:lnTo>
                <a:lnTo>
                  <a:pt x="232" y="782"/>
                </a:lnTo>
                <a:lnTo>
                  <a:pt x="244" y="779"/>
                </a:lnTo>
                <a:lnTo>
                  <a:pt x="253" y="775"/>
                </a:lnTo>
                <a:lnTo>
                  <a:pt x="262" y="770"/>
                </a:lnTo>
                <a:lnTo>
                  <a:pt x="269" y="765"/>
                </a:lnTo>
                <a:lnTo>
                  <a:pt x="277" y="760"/>
                </a:lnTo>
                <a:lnTo>
                  <a:pt x="285" y="756"/>
                </a:lnTo>
                <a:lnTo>
                  <a:pt x="289" y="754"/>
                </a:lnTo>
                <a:lnTo>
                  <a:pt x="295" y="753"/>
                </a:lnTo>
                <a:lnTo>
                  <a:pt x="300" y="752"/>
                </a:lnTo>
                <a:lnTo>
                  <a:pt x="305" y="752"/>
                </a:lnTo>
                <a:lnTo>
                  <a:pt x="305" y="743"/>
                </a:lnTo>
                <a:lnTo>
                  <a:pt x="308" y="733"/>
                </a:lnTo>
                <a:lnTo>
                  <a:pt x="311" y="723"/>
                </a:lnTo>
                <a:lnTo>
                  <a:pt x="314" y="714"/>
                </a:lnTo>
                <a:lnTo>
                  <a:pt x="319" y="705"/>
                </a:lnTo>
                <a:lnTo>
                  <a:pt x="324" y="695"/>
                </a:lnTo>
                <a:lnTo>
                  <a:pt x="330" y="686"/>
                </a:lnTo>
                <a:lnTo>
                  <a:pt x="336" y="677"/>
                </a:lnTo>
                <a:lnTo>
                  <a:pt x="349" y="659"/>
                </a:lnTo>
                <a:lnTo>
                  <a:pt x="365" y="643"/>
                </a:lnTo>
                <a:lnTo>
                  <a:pt x="378" y="629"/>
                </a:lnTo>
                <a:lnTo>
                  <a:pt x="392" y="616"/>
                </a:lnTo>
                <a:lnTo>
                  <a:pt x="371" y="536"/>
                </a:lnTo>
                <a:lnTo>
                  <a:pt x="371" y="514"/>
                </a:lnTo>
                <a:lnTo>
                  <a:pt x="368" y="493"/>
                </a:lnTo>
                <a:lnTo>
                  <a:pt x="364" y="475"/>
                </a:lnTo>
                <a:lnTo>
                  <a:pt x="357" y="458"/>
                </a:lnTo>
                <a:lnTo>
                  <a:pt x="349" y="442"/>
                </a:lnTo>
                <a:lnTo>
                  <a:pt x="341" y="427"/>
                </a:lnTo>
                <a:lnTo>
                  <a:pt x="331" y="414"/>
                </a:lnTo>
                <a:lnTo>
                  <a:pt x="321" y="402"/>
                </a:lnTo>
                <a:lnTo>
                  <a:pt x="297" y="377"/>
                </a:lnTo>
                <a:lnTo>
                  <a:pt x="271" y="355"/>
                </a:lnTo>
                <a:lnTo>
                  <a:pt x="245" y="332"/>
                </a:lnTo>
                <a:lnTo>
                  <a:pt x="219" y="308"/>
                </a:lnTo>
                <a:lnTo>
                  <a:pt x="199" y="292"/>
                </a:lnTo>
                <a:lnTo>
                  <a:pt x="179" y="273"/>
                </a:lnTo>
                <a:lnTo>
                  <a:pt x="161" y="255"/>
                </a:lnTo>
                <a:lnTo>
                  <a:pt x="142" y="237"/>
                </a:lnTo>
                <a:lnTo>
                  <a:pt x="124" y="217"/>
                </a:lnTo>
                <a:lnTo>
                  <a:pt x="108" y="198"/>
                </a:lnTo>
                <a:lnTo>
                  <a:pt x="92" y="179"/>
                </a:lnTo>
                <a:lnTo>
                  <a:pt x="79" y="160"/>
                </a:lnTo>
                <a:lnTo>
                  <a:pt x="72" y="146"/>
                </a:lnTo>
                <a:lnTo>
                  <a:pt x="63" y="133"/>
                </a:lnTo>
                <a:lnTo>
                  <a:pt x="53" y="118"/>
                </a:lnTo>
                <a:lnTo>
                  <a:pt x="42" y="104"/>
                </a:lnTo>
                <a:lnTo>
                  <a:pt x="21" y="77"/>
                </a:lnTo>
                <a:lnTo>
                  <a:pt x="0" y="49"/>
                </a:lnTo>
                <a:lnTo>
                  <a:pt x="46" y="41"/>
                </a:lnTo>
                <a:lnTo>
                  <a:pt x="91" y="32"/>
                </a:lnTo>
                <a:lnTo>
                  <a:pt x="111" y="26"/>
                </a:lnTo>
                <a:lnTo>
                  <a:pt x="129" y="19"/>
                </a:lnTo>
                <a:lnTo>
                  <a:pt x="136" y="15"/>
                </a:lnTo>
                <a:lnTo>
                  <a:pt x="143" y="11"/>
                </a:lnTo>
                <a:lnTo>
                  <a:pt x="148" y="5"/>
                </a:lnTo>
                <a:lnTo>
                  <a:pt x="153" y="0"/>
                </a:lnTo>
                <a:lnTo>
                  <a:pt x="163" y="9"/>
                </a:lnTo>
                <a:lnTo>
                  <a:pt x="175" y="16"/>
                </a:lnTo>
                <a:lnTo>
                  <a:pt x="186" y="21"/>
                </a:lnTo>
                <a:lnTo>
                  <a:pt x="198" y="26"/>
                </a:lnTo>
                <a:lnTo>
                  <a:pt x="221" y="35"/>
                </a:lnTo>
                <a:lnTo>
                  <a:pt x="239" y="43"/>
                </a:lnTo>
                <a:lnTo>
                  <a:pt x="256" y="55"/>
                </a:lnTo>
                <a:lnTo>
                  <a:pt x="269" y="67"/>
                </a:lnTo>
                <a:lnTo>
                  <a:pt x="282" y="82"/>
                </a:lnTo>
                <a:lnTo>
                  <a:pt x="299" y="10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591" name="Freeform 543"/>
          <p:cNvSpPr>
            <a:spLocks/>
          </p:cNvSpPr>
          <p:nvPr>
            <p:custDataLst>
              <p:tags r:id="rId374"/>
            </p:custDataLst>
          </p:nvPr>
        </p:nvSpPr>
        <p:spPr bwMode="auto">
          <a:xfrm>
            <a:off x="6604000" y="2702724"/>
            <a:ext cx="25400" cy="42863"/>
          </a:xfrm>
          <a:custGeom>
            <a:avLst/>
            <a:gdLst/>
            <a:ahLst/>
            <a:cxnLst>
              <a:cxn ang="0">
                <a:pos x="59" y="6"/>
              </a:cxn>
              <a:cxn ang="0">
                <a:pos x="57" y="11"/>
              </a:cxn>
              <a:cxn ang="0">
                <a:pos x="53" y="15"/>
              </a:cxn>
              <a:cxn ang="0">
                <a:pos x="49" y="19"/>
              </a:cxn>
              <a:cxn ang="0">
                <a:pos x="45" y="24"/>
              </a:cxn>
              <a:cxn ang="0">
                <a:pos x="40" y="27"/>
              </a:cxn>
              <a:cxn ang="0">
                <a:pos x="36" y="29"/>
              </a:cxn>
              <a:cxn ang="0">
                <a:pos x="30" y="31"/>
              </a:cxn>
              <a:cxn ang="0">
                <a:pos x="26" y="31"/>
              </a:cxn>
              <a:cxn ang="0">
                <a:pos x="21" y="31"/>
              </a:cxn>
              <a:cxn ang="0">
                <a:pos x="17" y="30"/>
              </a:cxn>
              <a:cxn ang="0">
                <a:pos x="14" y="29"/>
              </a:cxn>
              <a:cxn ang="0">
                <a:pos x="11" y="27"/>
              </a:cxn>
              <a:cxn ang="0">
                <a:pos x="4" y="20"/>
              </a:cxn>
              <a:cxn ang="0">
                <a:pos x="0" y="12"/>
              </a:cxn>
              <a:cxn ang="0">
                <a:pos x="1" y="9"/>
              </a:cxn>
              <a:cxn ang="0">
                <a:pos x="3" y="6"/>
              </a:cxn>
              <a:cxn ang="0">
                <a:pos x="5" y="4"/>
              </a:cxn>
              <a:cxn ang="0">
                <a:pos x="8" y="3"/>
              </a:cxn>
              <a:cxn ang="0">
                <a:pos x="16" y="1"/>
              </a:cxn>
              <a:cxn ang="0">
                <a:pos x="24" y="0"/>
              </a:cxn>
              <a:cxn ang="0">
                <a:pos x="34" y="0"/>
              </a:cxn>
              <a:cxn ang="0">
                <a:pos x="42" y="2"/>
              </a:cxn>
              <a:cxn ang="0">
                <a:pos x="51" y="4"/>
              </a:cxn>
              <a:cxn ang="0">
                <a:pos x="59" y="6"/>
              </a:cxn>
            </a:cxnLst>
            <a:rect l="0" t="0" r="r" b="b"/>
            <a:pathLst>
              <a:path w="59" h="31">
                <a:moveTo>
                  <a:pt x="59" y="6"/>
                </a:moveTo>
                <a:lnTo>
                  <a:pt x="57" y="11"/>
                </a:lnTo>
                <a:lnTo>
                  <a:pt x="53" y="15"/>
                </a:lnTo>
                <a:lnTo>
                  <a:pt x="49" y="19"/>
                </a:lnTo>
                <a:lnTo>
                  <a:pt x="45" y="24"/>
                </a:lnTo>
                <a:lnTo>
                  <a:pt x="40" y="27"/>
                </a:lnTo>
                <a:lnTo>
                  <a:pt x="36" y="29"/>
                </a:lnTo>
                <a:lnTo>
                  <a:pt x="30" y="31"/>
                </a:lnTo>
                <a:lnTo>
                  <a:pt x="26" y="31"/>
                </a:lnTo>
                <a:lnTo>
                  <a:pt x="21" y="31"/>
                </a:lnTo>
                <a:lnTo>
                  <a:pt x="17" y="30"/>
                </a:lnTo>
                <a:lnTo>
                  <a:pt x="14" y="29"/>
                </a:lnTo>
                <a:lnTo>
                  <a:pt x="11" y="27"/>
                </a:lnTo>
                <a:lnTo>
                  <a:pt x="4" y="20"/>
                </a:lnTo>
                <a:lnTo>
                  <a:pt x="0" y="12"/>
                </a:lnTo>
                <a:lnTo>
                  <a:pt x="1" y="9"/>
                </a:lnTo>
                <a:lnTo>
                  <a:pt x="3" y="6"/>
                </a:lnTo>
                <a:lnTo>
                  <a:pt x="5" y="4"/>
                </a:lnTo>
                <a:lnTo>
                  <a:pt x="8" y="3"/>
                </a:lnTo>
                <a:lnTo>
                  <a:pt x="16" y="1"/>
                </a:lnTo>
                <a:lnTo>
                  <a:pt x="24" y="0"/>
                </a:lnTo>
                <a:lnTo>
                  <a:pt x="34" y="0"/>
                </a:lnTo>
                <a:lnTo>
                  <a:pt x="42" y="2"/>
                </a:lnTo>
                <a:lnTo>
                  <a:pt x="51" y="4"/>
                </a:lnTo>
                <a:lnTo>
                  <a:pt x="59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592" name="Freeform 544"/>
          <p:cNvSpPr>
            <a:spLocks/>
          </p:cNvSpPr>
          <p:nvPr>
            <p:custDataLst>
              <p:tags r:id="rId375"/>
            </p:custDataLst>
          </p:nvPr>
        </p:nvSpPr>
        <p:spPr bwMode="auto">
          <a:xfrm>
            <a:off x="5295907" y="2146702"/>
            <a:ext cx="174625" cy="203597"/>
          </a:xfrm>
          <a:custGeom>
            <a:avLst/>
            <a:gdLst/>
            <a:ahLst/>
            <a:cxnLst>
              <a:cxn ang="0">
                <a:pos x="200" y="8"/>
              </a:cxn>
              <a:cxn ang="0">
                <a:pos x="202" y="22"/>
              </a:cxn>
              <a:cxn ang="0">
                <a:pos x="208" y="36"/>
              </a:cxn>
              <a:cxn ang="0">
                <a:pos x="214" y="49"/>
              </a:cxn>
              <a:cxn ang="0">
                <a:pos x="224" y="63"/>
              </a:cxn>
              <a:cxn ang="0">
                <a:pos x="235" y="75"/>
              </a:cxn>
              <a:cxn ang="0">
                <a:pos x="249" y="86"/>
              </a:cxn>
              <a:cxn ang="0">
                <a:pos x="264" y="95"/>
              </a:cxn>
              <a:cxn ang="0">
                <a:pos x="316" y="106"/>
              </a:cxn>
              <a:cxn ang="0">
                <a:pos x="365" y="119"/>
              </a:cxn>
              <a:cxn ang="0">
                <a:pos x="380" y="127"/>
              </a:cxn>
              <a:cxn ang="0">
                <a:pos x="392" y="137"/>
              </a:cxn>
              <a:cxn ang="0">
                <a:pos x="398" y="151"/>
              </a:cxn>
              <a:cxn ang="0">
                <a:pos x="398" y="174"/>
              </a:cxn>
              <a:cxn ang="0">
                <a:pos x="390" y="200"/>
              </a:cxn>
              <a:cxn ang="0">
                <a:pos x="369" y="239"/>
              </a:cxn>
              <a:cxn ang="0">
                <a:pos x="344" y="276"/>
              </a:cxn>
              <a:cxn ang="0">
                <a:pos x="328" y="303"/>
              </a:cxn>
              <a:cxn ang="0">
                <a:pos x="314" y="330"/>
              </a:cxn>
              <a:cxn ang="0">
                <a:pos x="307" y="360"/>
              </a:cxn>
              <a:cxn ang="0">
                <a:pos x="297" y="377"/>
              </a:cxn>
              <a:cxn ang="0">
                <a:pos x="268" y="387"/>
              </a:cxn>
              <a:cxn ang="0">
                <a:pos x="246" y="399"/>
              </a:cxn>
              <a:cxn ang="0">
                <a:pos x="235" y="408"/>
              </a:cxn>
              <a:cxn ang="0">
                <a:pos x="227" y="417"/>
              </a:cxn>
              <a:cxn ang="0">
                <a:pos x="224" y="427"/>
              </a:cxn>
              <a:cxn ang="0">
                <a:pos x="213" y="438"/>
              </a:cxn>
              <a:cxn ang="0">
                <a:pos x="188" y="450"/>
              </a:cxn>
              <a:cxn ang="0">
                <a:pos x="173" y="456"/>
              </a:cxn>
              <a:cxn ang="0">
                <a:pos x="166" y="467"/>
              </a:cxn>
              <a:cxn ang="0">
                <a:pos x="158" y="481"/>
              </a:cxn>
              <a:cxn ang="0">
                <a:pos x="146" y="490"/>
              </a:cxn>
              <a:cxn ang="0">
                <a:pos x="131" y="494"/>
              </a:cxn>
              <a:cxn ang="0">
                <a:pos x="102" y="498"/>
              </a:cxn>
              <a:cxn ang="0">
                <a:pos x="73" y="504"/>
              </a:cxn>
              <a:cxn ang="0">
                <a:pos x="55" y="512"/>
              </a:cxn>
              <a:cxn ang="0">
                <a:pos x="46" y="514"/>
              </a:cxn>
              <a:cxn ang="0">
                <a:pos x="43" y="506"/>
              </a:cxn>
              <a:cxn ang="0">
                <a:pos x="38" y="497"/>
              </a:cxn>
              <a:cxn ang="0">
                <a:pos x="34" y="487"/>
              </a:cxn>
              <a:cxn ang="0">
                <a:pos x="33" y="468"/>
              </a:cxn>
              <a:cxn ang="0">
                <a:pos x="29" y="445"/>
              </a:cxn>
              <a:cxn ang="0">
                <a:pos x="17" y="418"/>
              </a:cxn>
              <a:cxn ang="0">
                <a:pos x="0" y="358"/>
              </a:cxn>
              <a:cxn ang="0">
                <a:pos x="194" y="185"/>
              </a:cxn>
              <a:cxn ang="0">
                <a:pos x="200" y="0"/>
              </a:cxn>
            </a:cxnLst>
            <a:rect l="0" t="0" r="r" b="b"/>
            <a:pathLst>
              <a:path w="399" h="518">
                <a:moveTo>
                  <a:pt x="200" y="0"/>
                </a:moveTo>
                <a:lnTo>
                  <a:pt x="200" y="8"/>
                </a:lnTo>
                <a:lnTo>
                  <a:pt x="201" y="15"/>
                </a:lnTo>
                <a:lnTo>
                  <a:pt x="202" y="22"/>
                </a:lnTo>
                <a:lnTo>
                  <a:pt x="205" y="29"/>
                </a:lnTo>
                <a:lnTo>
                  <a:pt x="208" y="36"/>
                </a:lnTo>
                <a:lnTo>
                  <a:pt x="211" y="42"/>
                </a:lnTo>
                <a:lnTo>
                  <a:pt x="214" y="49"/>
                </a:lnTo>
                <a:lnTo>
                  <a:pt x="219" y="56"/>
                </a:lnTo>
                <a:lnTo>
                  <a:pt x="224" y="63"/>
                </a:lnTo>
                <a:lnTo>
                  <a:pt x="230" y="69"/>
                </a:lnTo>
                <a:lnTo>
                  <a:pt x="235" y="75"/>
                </a:lnTo>
                <a:lnTo>
                  <a:pt x="242" y="81"/>
                </a:lnTo>
                <a:lnTo>
                  <a:pt x="249" y="86"/>
                </a:lnTo>
                <a:lnTo>
                  <a:pt x="256" y="91"/>
                </a:lnTo>
                <a:lnTo>
                  <a:pt x="264" y="95"/>
                </a:lnTo>
                <a:lnTo>
                  <a:pt x="273" y="98"/>
                </a:lnTo>
                <a:lnTo>
                  <a:pt x="316" y="106"/>
                </a:lnTo>
                <a:lnTo>
                  <a:pt x="356" y="116"/>
                </a:lnTo>
                <a:lnTo>
                  <a:pt x="365" y="119"/>
                </a:lnTo>
                <a:lnTo>
                  <a:pt x="374" y="123"/>
                </a:lnTo>
                <a:lnTo>
                  <a:pt x="380" y="127"/>
                </a:lnTo>
                <a:lnTo>
                  <a:pt x="387" y="132"/>
                </a:lnTo>
                <a:lnTo>
                  <a:pt x="392" y="137"/>
                </a:lnTo>
                <a:lnTo>
                  <a:pt x="396" y="144"/>
                </a:lnTo>
                <a:lnTo>
                  <a:pt x="398" y="151"/>
                </a:lnTo>
                <a:lnTo>
                  <a:pt x="399" y="160"/>
                </a:lnTo>
                <a:lnTo>
                  <a:pt x="398" y="174"/>
                </a:lnTo>
                <a:lnTo>
                  <a:pt x="396" y="187"/>
                </a:lnTo>
                <a:lnTo>
                  <a:pt x="390" y="200"/>
                </a:lnTo>
                <a:lnTo>
                  <a:pt x="385" y="213"/>
                </a:lnTo>
                <a:lnTo>
                  <a:pt x="369" y="239"/>
                </a:lnTo>
                <a:lnTo>
                  <a:pt x="353" y="263"/>
                </a:lnTo>
                <a:lnTo>
                  <a:pt x="344" y="276"/>
                </a:lnTo>
                <a:lnTo>
                  <a:pt x="335" y="290"/>
                </a:lnTo>
                <a:lnTo>
                  <a:pt x="328" y="303"/>
                </a:lnTo>
                <a:lnTo>
                  <a:pt x="321" y="316"/>
                </a:lnTo>
                <a:lnTo>
                  <a:pt x="314" y="330"/>
                </a:lnTo>
                <a:lnTo>
                  <a:pt x="310" y="345"/>
                </a:lnTo>
                <a:lnTo>
                  <a:pt x="307" y="360"/>
                </a:lnTo>
                <a:lnTo>
                  <a:pt x="306" y="376"/>
                </a:lnTo>
                <a:lnTo>
                  <a:pt x="297" y="377"/>
                </a:lnTo>
                <a:lnTo>
                  <a:pt x="284" y="381"/>
                </a:lnTo>
                <a:lnTo>
                  <a:pt x="268" y="387"/>
                </a:lnTo>
                <a:lnTo>
                  <a:pt x="254" y="395"/>
                </a:lnTo>
                <a:lnTo>
                  <a:pt x="246" y="399"/>
                </a:lnTo>
                <a:lnTo>
                  <a:pt x="241" y="403"/>
                </a:lnTo>
                <a:lnTo>
                  <a:pt x="235" y="408"/>
                </a:lnTo>
                <a:lnTo>
                  <a:pt x="231" y="413"/>
                </a:lnTo>
                <a:lnTo>
                  <a:pt x="227" y="417"/>
                </a:lnTo>
                <a:lnTo>
                  <a:pt x="225" y="422"/>
                </a:lnTo>
                <a:lnTo>
                  <a:pt x="224" y="427"/>
                </a:lnTo>
                <a:lnTo>
                  <a:pt x="227" y="431"/>
                </a:lnTo>
                <a:lnTo>
                  <a:pt x="213" y="438"/>
                </a:lnTo>
                <a:lnTo>
                  <a:pt x="197" y="446"/>
                </a:lnTo>
                <a:lnTo>
                  <a:pt x="188" y="450"/>
                </a:lnTo>
                <a:lnTo>
                  <a:pt x="179" y="454"/>
                </a:lnTo>
                <a:lnTo>
                  <a:pt x="173" y="456"/>
                </a:lnTo>
                <a:lnTo>
                  <a:pt x="166" y="456"/>
                </a:lnTo>
                <a:lnTo>
                  <a:pt x="166" y="467"/>
                </a:lnTo>
                <a:lnTo>
                  <a:pt x="163" y="475"/>
                </a:lnTo>
                <a:lnTo>
                  <a:pt x="158" y="481"/>
                </a:lnTo>
                <a:lnTo>
                  <a:pt x="153" y="486"/>
                </a:lnTo>
                <a:lnTo>
                  <a:pt x="146" y="490"/>
                </a:lnTo>
                <a:lnTo>
                  <a:pt x="139" y="493"/>
                </a:lnTo>
                <a:lnTo>
                  <a:pt x="131" y="494"/>
                </a:lnTo>
                <a:lnTo>
                  <a:pt x="122" y="496"/>
                </a:lnTo>
                <a:lnTo>
                  <a:pt x="102" y="498"/>
                </a:lnTo>
                <a:lnTo>
                  <a:pt x="83" y="501"/>
                </a:lnTo>
                <a:lnTo>
                  <a:pt x="73" y="504"/>
                </a:lnTo>
                <a:lnTo>
                  <a:pt x="64" y="507"/>
                </a:lnTo>
                <a:lnTo>
                  <a:pt x="55" y="512"/>
                </a:lnTo>
                <a:lnTo>
                  <a:pt x="46" y="518"/>
                </a:lnTo>
                <a:lnTo>
                  <a:pt x="46" y="514"/>
                </a:lnTo>
                <a:lnTo>
                  <a:pt x="45" y="510"/>
                </a:lnTo>
                <a:lnTo>
                  <a:pt x="43" y="506"/>
                </a:lnTo>
                <a:lnTo>
                  <a:pt x="40" y="501"/>
                </a:lnTo>
                <a:lnTo>
                  <a:pt x="38" y="497"/>
                </a:lnTo>
                <a:lnTo>
                  <a:pt x="36" y="492"/>
                </a:lnTo>
                <a:lnTo>
                  <a:pt x="34" y="487"/>
                </a:lnTo>
                <a:lnTo>
                  <a:pt x="33" y="481"/>
                </a:lnTo>
                <a:lnTo>
                  <a:pt x="33" y="468"/>
                </a:lnTo>
                <a:lnTo>
                  <a:pt x="31" y="456"/>
                </a:lnTo>
                <a:lnTo>
                  <a:pt x="29" y="445"/>
                </a:lnTo>
                <a:lnTo>
                  <a:pt x="26" y="436"/>
                </a:lnTo>
                <a:lnTo>
                  <a:pt x="17" y="418"/>
                </a:lnTo>
                <a:lnTo>
                  <a:pt x="7" y="401"/>
                </a:lnTo>
                <a:lnTo>
                  <a:pt x="0" y="358"/>
                </a:lnTo>
                <a:lnTo>
                  <a:pt x="113" y="332"/>
                </a:lnTo>
                <a:lnTo>
                  <a:pt x="194" y="185"/>
                </a:lnTo>
                <a:lnTo>
                  <a:pt x="166" y="136"/>
                </a:lnTo>
                <a:lnTo>
                  <a:pt x="20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593" name="Freeform 545"/>
          <p:cNvSpPr>
            <a:spLocks/>
          </p:cNvSpPr>
          <p:nvPr>
            <p:custDataLst>
              <p:tags r:id="rId376"/>
            </p:custDataLst>
          </p:nvPr>
        </p:nvSpPr>
        <p:spPr bwMode="auto">
          <a:xfrm>
            <a:off x="4022725" y="2187180"/>
            <a:ext cx="376238" cy="289322"/>
          </a:xfrm>
          <a:custGeom>
            <a:avLst/>
            <a:gdLst/>
            <a:ahLst/>
            <a:cxnLst>
              <a:cxn ang="0">
                <a:pos x="231" y="270"/>
              </a:cxn>
              <a:cxn ang="0">
                <a:pos x="245" y="264"/>
              </a:cxn>
              <a:cxn ang="0">
                <a:pos x="272" y="272"/>
              </a:cxn>
              <a:cxn ang="0">
                <a:pos x="654" y="1"/>
              </a:cxn>
              <a:cxn ang="0">
                <a:pos x="679" y="6"/>
              </a:cxn>
              <a:cxn ang="0">
                <a:pos x="711" y="21"/>
              </a:cxn>
              <a:cxn ang="0">
                <a:pos x="730" y="35"/>
              </a:cxn>
              <a:cxn ang="0">
                <a:pos x="760" y="57"/>
              </a:cxn>
              <a:cxn ang="0">
                <a:pos x="791" y="59"/>
              </a:cxn>
              <a:cxn ang="0">
                <a:pos x="831" y="43"/>
              </a:cxn>
              <a:cxn ang="0">
                <a:pos x="854" y="166"/>
              </a:cxn>
              <a:cxn ang="0">
                <a:pos x="866" y="205"/>
              </a:cxn>
              <a:cxn ang="0">
                <a:pos x="850" y="301"/>
              </a:cxn>
              <a:cxn ang="0">
                <a:pos x="848" y="376"/>
              </a:cxn>
              <a:cxn ang="0">
                <a:pos x="834" y="421"/>
              </a:cxn>
              <a:cxn ang="0">
                <a:pos x="802" y="467"/>
              </a:cxn>
              <a:cxn ang="0">
                <a:pos x="777" y="499"/>
              </a:cxn>
              <a:cxn ang="0">
                <a:pos x="758" y="567"/>
              </a:cxn>
              <a:cxn ang="0">
                <a:pos x="711" y="629"/>
              </a:cxn>
              <a:cxn ang="0">
                <a:pos x="680" y="646"/>
              </a:cxn>
              <a:cxn ang="0">
                <a:pos x="644" y="638"/>
              </a:cxn>
              <a:cxn ang="0">
                <a:pos x="611" y="625"/>
              </a:cxn>
              <a:cxn ang="0">
                <a:pos x="566" y="633"/>
              </a:cxn>
              <a:cxn ang="0">
                <a:pos x="530" y="659"/>
              </a:cxn>
              <a:cxn ang="0">
                <a:pos x="511" y="680"/>
              </a:cxn>
              <a:cxn ang="0">
                <a:pos x="491" y="684"/>
              </a:cxn>
              <a:cxn ang="0">
                <a:pos x="470" y="668"/>
              </a:cxn>
              <a:cxn ang="0">
                <a:pos x="446" y="639"/>
              </a:cxn>
              <a:cxn ang="0">
                <a:pos x="421" y="635"/>
              </a:cxn>
              <a:cxn ang="0">
                <a:pos x="405" y="647"/>
              </a:cxn>
              <a:cxn ang="0">
                <a:pos x="384" y="652"/>
              </a:cxn>
              <a:cxn ang="0">
                <a:pos x="350" y="638"/>
              </a:cxn>
              <a:cxn ang="0">
                <a:pos x="306" y="608"/>
              </a:cxn>
              <a:cxn ang="0">
                <a:pos x="271" y="604"/>
              </a:cxn>
              <a:cxn ang="0">
                <a:pos x="237" y="620"/>
              </a:cxn>
              <a:cxn ang="0">
                <a:pos x="209" y="653"/>
              </a:cxn>
              <a:cxn ang="0">
                <a:pos x="190" y="692"/>
              </a:cxn>
              <a:cxn ang="0">
                <a:pos x="178" y="719"/>
              </a:cxn>
              <a:cxn ang="0">
                <a:pos x="149" y="702"/>
              </a:cxn>
              <a:cxn ang="0">
                <a:pos x="100" y="740"/>
              </a:cxn>
              <a:cxn ang="0">
                <a:pos x="66" y="699"/>
              </a:cxn>
              <a:cxn ang="0">
                <a:pos x="64" y="644"/>
              </a:cxn>
              <a:cxn ang="0">
                <a:pos x="50" y="613"/>
              </a:cxn>
              <a:cxn ang="0">
                <a:pos x="20" y="587"/>
              </a:cxn>
              <a:cxn ang="0">
                <a:pos x="5" y="558"/>
              </a:cxn>
              <a:cxn ang="0">
                <a:pos x="53" y="530"/>
              </a:cxn>
              <a:cxn ang="0">
                <a:pos x="76" y="518"/>
              </a:cxn>
              <a:cxn ang="0">
                <a:pos x="139" y="510"/>
              </a:cxn>
              <a:cxn ang="0">
                <a:pos x="182" y="500"/>
              </a:cxn>
              <a:cxn ang="0">
                <a:pos x="201" y="475"/>
              </a:cxn>
              <a:cxn ang="0">
                <a:pos x="219" y="424"/>
              </a:cxn>
              <a:cxn ang="0">
                <a:pos x="224" y="367"/>
              </a:cxn>
              <a:cxn ang="0">
                <a:pos x="219" y="320"/>
              </a:cxn>
            </a:cxnLst>
            <a:rect l="0" t="0" r="r" b="b"/>
            <a:pathLst>
              <a:path w="866" h="740">
                <a:moveTo>
                  <a:pt x="219" y="283"/>
                </a:moveTo>
                <a:lnTo>
                  <a:pt x="223" y="278"/>
                </a:lnTo>
                <a:lnTo>
                  <a:pt x="227" y="273"/>
                </a:lnTo>
                <a:lnTo>
                  <a:pt x="231" y="270"/>
                </a:lnTo>
                <a:lnTo>
                  <a:pt x="234" y="267"/>
                </a:lnTo>
                <a:lnTo>
                  <a:pt x="238" y="266"/>
                </a:lnTo>
                <a:lnTo>
                  <a:pt x="242" y="264"/>
                </a:lnTo>
                <a:lnTo>
                  <a:pt x="245" y="264"/>
                </a:lnTo>
                <a:lnTo>
                  <a:pt x="250" y="264"/>
                </a:lnTo>
                <a:lnTo>
                  <a:pt x="256" y="265"/>
                </a:lnTo>
                <a:lnTo>
                  <a:pt x="264" y="268"/>
                </a:lnTo>
                <a:lnTo>
                  <a:pt x="272" y="272"/>
                </a:lnTo>
                <a:lnTo>
                  <a:pt x="279" y="277"/>
                </a:lnTo>
                <a:lnTo>
                  <a:pt x="645" y="6"/>
                </a:lnTo>
                <a:lnTo>
                  <a:pt x="649" y="3"/>
                </a:lnTo>
                <a:lnTo>
                  <a:pt x="654" y="1"/>
                </a:lnTo>
                <a:lnTo>
                  <a:pt x="658" y="0"/>
                </a:lnTo>
                <a:lnTo>
                  <a:pt x="663" y="0"/>
                </a:lnTo>
                <a:lnTo>
                  <a:pt x="671" y="2"/>
                </a:lnTo>
                <a:lnTo>
                  <a:pt x="679" y="6"/>
                </a:lnTo>
                <a:lnTo>
                  <a:pt x="689" y="11"/>
                </a:lnTo>
                <a:lnTo>
                  <a:pt x="699" y="17"/>
                </a:lnTo>
                <a:lnTo>
                  <a:pt x="704" y="19"/>
                </a:lnTo>
                <a:lnTo>
                  <a:pt x="711" y="21"/>
                </a:lnTo>
                <a:lnTo>
                  <a:pt x="717" y="23"/>
                </a:lnTo>
                <a:lnTo>
                  <a:pt x="724" y="25"/>
                </a:lnTo>
                <a:lnTo>
                  <a:pt x="726" y="30"/>
                </a:lnTo>
                <a:lnTo>
                  <a:pt x="730" y="35"/>
                </a:lnTo>
                <a:lnTo>
                  <a:pt x="736" y="42"/>
                </a:lnTo>
                <a:lnTo>
                  <a:pt x="744" y="47"/>
                </a:lnTo>
                <a:lnTo>
                  <a:pt x="752" y="53"/>
                </a:lnTo>
                <a:lnTo>
                  <a:pt x="760" y="57"/>
                </a:lnTo>
                <a:lnTo>
                  <a:pt x="769" y="60"/>
                </a:lnTo>
                <a:lnTo>
                  <a:pt x="778" y="61"/>
                </a:lnTo>
                <a:lnTo>
                  <a:pt x="784" y="60"/>
                </a:lnTo>
                <a:lnTo>
                  <a:pt x="791" y="59"/>
                </a:lnTo>
                <a:lnTo>
                  <a:pt x="798" y="57"/>
                </a:lnTo>
                <a:lnTo>
                  <a:pt x="804" y="54"/>
                </a:lnTo>
                <a:lnTo>
                  <a:pt x="816" y="48"/>
                </a:lnTo>
                <a:lnTo>
                  <a:pt x="831" y="43"/>
                </a:lnTo>
                <a:lnTo>
                  <a:pt x="824" y="122"/>
                </a:lnTo>
                <a:lnTo>
                  <a:pt x="836" y="140"/>
                </a:lnTo>
                <a:lnTo>
                  <a:pt x="846" y="154"/>
                </a:lnTo>
                <a:lnTo>
                  <a:pt x="854" y="166"/>
                </a:lnTo>
                <a:lnTo>
                  <a:pt x="859" y="177"/>
                </a:lnTo>
                <a:lnTo>
                  <a:pt x="862" y="188"/>
                </a:lnTo>
                <a:lnTo>
                  <a:pt x="865" y="197"/>
                </a:lnTo>
                <a:lnTo>
                  <a:pt x="866" y="205"/>
                </a:lnTo>
                <a:lnTo>
                  <a:pt x="865" y="211"/>
                </a:lnTo>
                <a:lnTo>
                  <a:pt x="857" y="234"/>
                </a:lnTo>
                <a:lnTo>
                  <a:pt x="850" y="259"/>
                </a:lnTo>
                <a:lnTo>
                  <a:pt x="850" y="301"/>
                </a:lnTo>
                <a:lnTo>
                  <a:pt x="850" y="334"/>
                </a:lnTo>
                <a:lnTo>
                  <a:pt x="850" y="350"/>
                </a:lnTo>
                <a:lnTo>
                  <a:pt x="849" y="364"/>
                </a:lnTo>
                <a:lnTo>
                  <a:pt x="848" y="376"/>
                </a:lnTo>
                <a:lnTo>
                  <a:pt x="846" y="388"/>
                </a:lnTo>
                <a:lnTo>
                  <a:pt x="843" y="399"/>
                </a:lnTo>
                <a:lnTo>
                  <a:pt x="839" y="411"/>
                </a:lnTo>
                <a:lnTo>
                  <a:pt x="834" y="421"/>
                </a:lnTo>
                <a:lnTo>
                  <a:pt x="828" y="432"/>
                </a:lnTo>
                <a:lnTo>
                  <a:pt x="821" y="443"/>
                </a:lnTo>
                <a:lnTo>
                  <a:pt x="813" y="454"/>
                </a:lnTo>
                <a:lnTo>
                  <a:pt x="802" y="467"/>
                </a:lnTo>
                <a:lnTo>
                  <a:pt x="791" y="480"/>
                </a:lnTo>
                <a:lnTo>
                  <a:pt x="786" y="486"/>
                </a:lnTo>
                <a:lnTo>
                  <a:pt x="781" y="493"/>
                </a:lnTo>
                <a:lnTo>
                  <a:pt x="777" y="499"/>
                </a:lnTo>
                <a:lnTo>
                  <a:pt x="773" y="506"/>
                </a:lnTo>
                <a:lnTo>
                  <a:pt x="768" y="522"/>
                </a:lnTo>
                <a:lnTo>
                  <a:pt x="764" y="537"/>
                </a:lnTo>
                <a:lnTo>
                  <a:pt x="758" y="567"/>
                </a:lnTo>
                <a:lnTo>
                  <a:pt x="755" y="593"/>
                </a:lnTo>
                <a:lnTo>
                  <a:pt x="731" y="585"/>
                </a:lnTo>
                <a:lnTo>
                  <a:pt x="698" y="591"/>
                </a:lnTo>
                <a:lnTo>
                  <a:pt x="711" y="629"/>
                </a:lnTo>
                <a:lnTo>
                  <a:pt x="719" y="636"/>
                </a:lnTo>
                <a:lnTo>
                  <a:pt x="704" y="641"/>
                </a:lnTo>
                <a:lnTo>
                  <a:pt x="692" y="645"/>
                </a:lnTo>
                <a:lnTo>
                  <a:pt x="680" y="646"/>
                </a:lnTo>
                <a:lnTo>
                  <a:pt x="670" y="646"/>
                </a:lnTo>
                <a:lnTo>
                  <a:pt x="661" y="644"/>
                </a:lnTo>
                <a:lnTo>
                  <a:pt x="653" y="641"/>
                </a:lnTo>
                <a:lnTo>
                  <a:pt x="644" y="638"/>
                </a:lnTo>
                <a:lnTo>
                  <a:pt x="636" y="634"/>
                </a:lnTo>
                <a:lnTo>
                  <a:pt x="629" y="631"/>
                </a:lnTo>
                <a:lnTo>
                  <a:pt x="620" y="628"/>
                </a:lnTo>
                <a:lnTo>
                  <a:pt x="611" y="625"/>
                </a:lnTo>
                <a:lnTo>
                  <a:pt x="601" y="624"/>
                </a:lnTo>
                <a:lnTo>
                  <a:pt x="591" y="625"/>
                </a:lnTo>
                <a:lnTo>
                  <a:pt x="579" y="628"/>
                </a:lnTo>
                <a:lnTo>
                  <a:pt x="566" y="633"/>
                </a:lnTo>
                <a:lnTo>
                  <a:pt x="552" y="641"/>
                </a:lnTo>
                <a:lnTo>
                  <a:pt x="543" y="646"/>
                </a:lnTo>
                <a:lnTo>
                  <a:pt x="536" y="652"/>
                </a:lnTo>
                <a:lnTo>
                  <a:pt x="530" y="659"/>
                </a:lnTo>
                <a:lnTo>
                  <a:pt x="525" y="666"/>
                </a:lnTo>
                <a:lnTo>
                  <a:pt x="520" y="673"/>
                </a:lnTo>
                <a:lnTo>
                  <a:pt x="514" y="678"/>
                </a:lnTo>
                <a:lnTo>
                  <a:pt x="511" y="680"/>
                </a:lnTo>
                <a:lnTo>
                  <a:pt x="508" y="683"/>
                </a:lnTo>
                <a:lnTo>
                  <a:pt x="503" y="684"/>
                </a:lnTo>
                <a:lnTo>
                  <a:pt x="499" y="684"/>
                </a:lnTo>
                <a:lnTo>
                  <a:pt x="491" y="684"/>
                </a:lnTo>
                <a:lnTo>
                  <a:pt x="486" y="682"/>
                </a:lnTo>
                <a:lnTo>
                  <a:pt x="481" y="679"/>
                </a:lnTo>
                <a:lnTo>
                  <a:pt x="477" y="676"/>
                </a:lnTo>
                <a:lnTo>
                  <a:pt x="470" y="668"/>
                </a:lnTo>
                <a:lnTo>
                  <a:pt x="465" y="659"/>
                </a:lnTo>
                <a:lnTo>
                  <a:pt x="458" y="650"/>
                </a:lnTo>
                <a:lnTo>
                  <a:pt x="451" y="642"/>
                </a:lnTo>
                <a:lnTo>
                  <a:pt x="446" y="639"/>
                </a:lnTo>
                <a:lnTo>
                  <a:pt x="441" y="637"/>
                </a:lnTo>
                <a:lnTo>
                  <a:pt x="433" y="635"/>
                </a:lnTo>
                <a:lnTo>
                  <a:pt x="425" y="635"/>
                </a:lnTo>
                <a:lnTo>
                  <a:pt x="421" y="635"/>
                </a:lnTo>
                <a:lnTo>
                  <a:pt x="417" y="638"/>
                </a:lnTo>
                <a:lnTo>
                  <a:pt x="412" y="640"/>
                </a:lnTo>
                <a:lnTo>
                  <a:pt x="409" y="644"/>
                </a:lnTo>
                <a:lnTo>
                  <a:pt x="405" y="647"/>
                </a:lnTo>
                <a:lnTo>
                  <a:pt x="401" y="650"/>
                </a:lnTo>
                <a:lnTo>
                  <a:pt x="397" y="652"/>
                </a:lnTo>
                <a:lnTo>
                  <a:pt x="392" y="653"/>
                </a:lnTo>
                <a:lnTo>
                  <a:pt x="384" y="652"/>
                </a:lnTo>
                <a:lnTo>
                  <a:pt x="376" y="651"/>
                </a:lnTo>
                <a:lnTo>
                  <a:pt x="369" y="648"/>
                </a:lnTo>
                <a:lnTo>
                  <a:pt x="363" y="645"/>
                </a:lnTo>
                <a:lnTo>
                  <a:pt x="350" y="638"/>
                </a:lnTo>
                <a:lnTo>
                  <a:pt x="339" y="629"/>
                </a:lnTo>
                <a:lnTo>
                  <a:pt x="327" y="619"/>
                </a:lnTo>
                <a:lnTo>
                  <a:pt x="312" y="611"/>
                </a:lnTo>
                <a:lnTo>
                  <a:pt x="306" y="608"/>
                </a:lnTo>
                <a:lnTo>
                  <a:pt x="297" y="606"/>
                </a:lnTo>
                <a:lnTo>
                  <a:pt x="289" y="604"/>
                </a:lnTo>
                <a:lnTo>
                  <a:pt x="279" y="603"/>
                </a:lnTo>
                <a:lnTo>
                  <a:pt x="271" y="604"/>
                </a:lnTo>
                <a:lnTo>
                  <a:pt x="262" y="606"/>
                </a:lnTo>
                <a:lnTo>
                  <a:pt x="253" y="610"/>
                </a:lnTo>
                <a:lnTo>
                  <a:pt x="245" y="615"/>
                </a:lnTo>
                <a:lnTo>
                  <a:pt x="237" y="620"/>
                </a:lnTo>
                <a:lnTo>
                  <a:pt x="229" y="628"/>
                </a:lnTo>
                <a:lnTo>
                  <a:pt x="222" y="636"/>
                </a:lnTo>
                <a:lnTo>
                  <a:pt x="216" y="644"/>
                </a:lnTo>
                <a:lnTo>
                  <a:pt x="209" y="653"/>
                </a:lnTo>
                <a:lnTo>
                  <a:pt x="204" y="662"/>
                </a:lnTo>
                <a:lnTo>
                  <a:pt x="198" y="671"/>
                </a:lnTo>
                <a:lnTo>
                  <a:pt x="194" y="682"/>
                </a:lnTo>
                <a:lnTo>
                  <a:pt x="190" y="692"/>
                </a:lnTo>
                <a:lnTo>
                  <a:pt x="188" y="702"/>
                </a:lnTo>
                <a:lnTo>
                  <a:pt x="187" y="711"/>
                </a:lnTo>
                <a:lnTo>
                  <a:pt x="186" y="720"/>
                </a:lnTo>
                <a:lnTo>
                  <a:pt x="178" y="719"/>
                </a:lnTo>
                <a:lnTo>
                  <a:pt x="172" y="717"/>
                </a:lnTo>
                <a:lnTo>
                  <a:pt x="164" y="712"/>
                </a:lnTo>
                <a:lnTo>
                  <a:pt x="156" y="708"/>
                </a:lnTo>
                <a:lnTo>
                  <a:pt x="149" y="702"/>
                </a:lnTo>
                <a:lnTo>
                  <a:pt x="141" y="697"/>
                </a:lnTo>
                <a:lnTo>
                  <a:pt x="134" y="693"/>
                </a:lnTo>
                <a:lnTo>
                  <a:pt x="127" y="690"/>
                </a:lnTo>
                <a:lnTo>
                  <a:pt x="100" y="740"/>
                </a:lnTo>
                <a:lnTo>
                  <a:pt x="73" y="740"/>
                </a:lnTo>
                <a:lnTo>
                  <a:pt x="70" y="725"/>
                </a:lnTo>
                <a:lnTo>
                  <a:pt x="67" y="712"/>
                </a:lnTo>
                <a:lnTo>
                  <a:pt x="66" y="699"/>
                </a:lnTo>
                <a:lnTo>
                  <a:pt x="66" y="686"/>
                </a:lnTo>
                <a:lnTo>
                  <a:pt x="66" y="672"/>
                </a:lnTo>
                <a:lnTo>
                  <a:pt x="66" y="658"/>
                </a:lnTo>
                <a:lnTo>
                  <a:pt x="64" y="644"/>
                </a:lnTo>
                <a:lnTo>
                  <a:pt x="60" y="629"/>
                </a:lnTo>
                <a:lnTo>
                  <a:pt x="58" y="622"/>
                </a:lnTo>
                <a:lnTo>
                  <a:pt x="53" y="618"/>
                </a:lnTo>
                <a:lnTo>
                  <a:pt x="50" y="613"/>
                </a:lnTo>
                <a:lnTo>
                  <a:pt x="46" y="609"/>
                </a:lnTo>
                <a:lnTo>
                  <a:pt x="36" y="601"/>
                </a:lnTo>
                <a:lnTo>
                  <a:pt x="25" y="592"/>
                </a:lnTo>
                <a:lnTo>
                  <a:pt x="20" y="587"/>
                </a:lnTo>
                <a:lnTo>
                  <a:pt x="16" y="581"/>
                </a:lnTo>
                <a:lnTo>
                  <a:pt x="11" y="575"/>
                </a:lnTo>
                <a:lnTo>
                  <a:pt x="8" y="566"/>
                </a:lnTo>
                <a:lnTo>
                  <a:pt x="5" y="558"/>
                </a:lnTo>
                <a:lnTo>
                  <a:pt x="3" y="548"/>
                </a:lnTo>
                <a:lnTo>
                  <a:pt x="0" y="537"/>
                </a:lnTo>
                <a:lnTo>
                  <a:pt x="0" y="524"/>
                </a:lnTo>
                <a:lnTo>
                  <a:pt x="53" y="530"/>
                </a:lnTo>
                <a:lnTo>
                  <a:pt x="59" y="526"/>
                </a:lnTo>
                <a:lnTo>
                  <a:pt x="64" y="522"/>
                </a:lnTo>
                <a:lnTo>
                  <a:pt x="71" y="520"/>
                </a:lnTo>
                <a:lnTo>
                  <a:pt x="76" y="518"/>
                </a:lnTo>
                <a:lnTo>
                  <a:pt x="91" y="514"/>
                </a:lnTo>
                <a:lnTo>
                  <a:pt x="106" y="512"/>
                </a:lnTo>
                <a:lnTo>
                  <a:pt x="121" y="511"/>
                </a:lnTo>
                <a:lnTo>
                  <a:pt x="139" y="510"/>
                </a:lnTo>
                <a:lnTo>
                  <a:pt x="155" y="508"/>
                </a:lnTo>
                <a:lnTo>
                  <a:pt x="173" y="505"/>
                </a:lnTo>
                <a:lnTo>
                  <a:pt x="177" y="503"/>
                </a:lnTo>
                <a:lnTo>
                  <a:pt x="182" y="500"/>
                </a:lnTo>
                <a:lnTo>
                  <a:pt x="185" y="497"/>
                </a:lnTo>
                <a:lnTo>
                  <a:pt x="189" y="494"/>
                </a:lnTo>
                <a:lnTo>
                  <a:pt x="196" y="485"/>
                </a:lnTo>
                <a:lnTo>
                  <a:pt x="201" y="475"/>
                </a:lnTo>
                <a:lnTo>
                  <a:pt x="207" y="464"/>
                </a:lnTo>
                <a:lnTo>
                  <a:pt x="211" y="451"/>
                </a:lnTo>
                <a:lnTo>
                  <a:pt x="216" y="438"/>
                </a:lnTo>
                <a:lnTo>
                  <a:pt x="219" y="424"/>
                </a:lnTo>
                <a:lnTo>
                  <a:pt x="221" y="410"/>
                </a:lnTo>
                <a:lnTo>
                  <a:pt x="223" y="395"/>
                </a:lnTo>
                <a:lnTo>
                  <a:pt x="224" y="381"/>
                </a:lnTo>
                <a:lnTo>
                  <a:pt x="224" y="367"/>
                </a:lnTo>
                <a:lnTo>
                  <a:pt x="224" y="354"/>
                </a:lnTo>
                <a:lnTo>
                  <a:pt x="223" y="341"/>
                </a:lnTo>
                <a:lnTo>
                  <a:pt x="221" y="330"/>
                </a:lnTo>
                <a:lnTo>
                  <a:pt x="219" y="320"/>
                </a:lnTo>
                <a:lnTo>
                  <a:pt x="219" y="28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594" name="Freeform 546"/>
          <p:cNvSpPr>
            <a:spLocks/>
          </p:cNvSpPr>
          <p:nvPr>
            <p:custDataLst>
              <p:tags r:id="rId377"/>
            </p:custDataLst>
          </p:nvPr>
        </p:nvSpPr>
        <p:spPr bwMode="auto">
          <a:xfrm>
            <a:off x="3692531" y="1900242"/>
            <a:ext cx="300038" cy="195263"/>
          </a:xfrm>
          <a:custGeom>
            <a:avLst/>
            <a:gdLst/>
            <a:ahLst/>
            <a:cxnLst>
              <a:cxn ang="0">
                <a:pos x="648" y="53"/>
              </a:cxn>
              <a:cxn ang="0">
                <a:pos x="657" y="161"/>
              </a:cxn>
              <a:cxn ang="0">
                <a:pos x="661" y="167"/>
              </a:cxn>
              <a:cxn ang="0">
                <a:pos x="677" y="177"/>
              </a:cxn>
              <a:cxn ang="0">
                <a:pos x="694" y="189"/>
              </a:cxn>
              <a:cxn ang="0">
                <a:pos x="697" y="198"/>
              </a:cxn>
              <a:cxn ang="0">
                <a:pos x="694" y="211"/>
              </a:cxn>
              <a:cxn ang="0">
                <a:pos x="685" y="217"/>
              </a:cxn>
              <a:cxn ang="0">
                <a:pos x="655" y="218"/>
              </a:cxn>
              <a:cxn ang="0">
                <a:pos x="605" y="228"/>
              </a:cxn>
              <a:cxn ang="0">
                <a:pos x="567" y="250"/>
              </a:cxn>
              <a:cxn ang="0">
                <a:pos x="549" y="267"/>
              </a:cxn>
              <a:cxn ang="0">
                <a:pos x="539" y="288"/>
              </a:cxn>
              <a:cxn ang="0">
                <a:pos x="521" y="302"/>
              </a:cxn>
              <a:cxn ang="0">
                <a:pos x="491" y="324"/>
              </a:cxn>
              <a:cxn ang="0">
                <a:pos x="455" y="352"/>
              </a:cxn>
              <a:cxn ang="0">
                <a:pos x="420" y="370"/>
              </a:cxn>
              <a:cxn ang="0">
                <a:pos x="372" y="377"/>
              </a:cxn>
              <a:cxn ang="0">
                <a:pos x="344" y="380"/>
              </a:cxn>
              <a:cxn ang="0">
                <a:pos x="316" y="396"/>
              </a:cxn>
              <a:cxn ang="0">
                <a:pos x="290" y="417"/>
              </a:cxn>
              <a:cxn ang="0">
                <a:pos x="265" y="426"/>
              </a:cxn>
              <a:cxn ang="0">
                <a:pos x="5" y="496"/>
              </a:cxn>
              <a:cxn ang="0">
                <a:pos x="32" y="487"/>
              </a:cxn>
              <a:cxn ang="0">
                <a:pos x="85" y="473"/>
              </a:cxn>
              <a:cxn ang="0">
                <a:pos x="93" y="459"/>
              </a:cxn>
              <a:cxn ang="0">
                <a:pos x="99" y="438"/>
              </a:cxn>
              <a:cxn ang="0">
                <a:pos x="119" y="422"/>
              </a:cxn>
              <a:cxn ang="0">
                <a:pos x="160" y="399"/>
              </a:cxn>
              <a:cxn ang="0">
                <a:pos x="181" y="382"/>
              </a:cxn>
              <a:cxn ang="0">
                <a:pos x="192" y="357"/>
              </a:cxn>
              <a:cxn ang="0">
                <a:pos x="193" y="316"/>
              </a:cxn>
              <a:cxn ang="0">
                <a:pos x="195" y="254"/>
              </a:cxn>
              <a:cxn ang="0">
                <a:pos x="192" y="192"/>
              </a:cxn>
              <a:cxn ang="0">
                <a:pos x="214" y="189"/>
              </a:cxn>
              <a:cxn ang="0">
                <a:pos x="228" y="179"/>
              </a:cxn>
              <a:cxn ang="0">
                <a:pos x="241" y="165"/>
              </a:cxn>
              <a:cxn ang="0">
                <a:pos x="252" y="152"/>
              </a:cxn>
              <a:cxn ang="0">
                <a:pos x="281" y="146"/>
              </a:cxn>
              <a:cxn ang="0">
                <a:pos x="314" y="143"/>
              </a:cxn>
              <a:cxn ang="0">
                <a:pos x="340" y="131"/>
              </a:cxn>
              <a:cxn ang="0">
                <a:pos x="360" y="108"/>
              </a:cxn>
              <a:cxn ang="0">
                <a:pos x="388" y="48"/>
              </a:cxn>
              <a:cxn ang="0">
                <a:pos x="407" y="12"/>
              </a:cxn>
              <a:cxn ang="0">
                <a:pos x="426" y="8"/>
              </a:cxn>
              <a:cxn ang="0">
                <a:pos x="449" y="20"/>
              </a:cxn>
              <a:cxn ang="0">
                <a:pos x="512" y="18"/>
              </a:cxn>
              <a:cxn ang="0">
                <a:pos x="590" y="13"/>
              </a:cxn>
              <a:cxn ang="0">
                <a:pos x="597" y="17"/>
              </a:cxn>
              <a:cxn ang="0">
                <a:pos x="605" y="36"/>
              </a:cxn>
              <a:cxn ang="0">
                <a:pos x="611" y="51"/>
              </a:cxn>
              <a:cxn ang="0">
                <a:pos x="618" y="50"/>
              </a:cxn>
            </a:cxnLst>
            <a:rect l="0" t="0" r="r" b="b"/>
            <a:pathLst>
              <a:path w="697" h="500">
                <a:moveTo>
                  <a:pt x="631" y="50"/>
                </a:moveTo>
                <a:lnTo>
                  <a:pt x="635" y="51"/>
                </a:lnTo>
                <a:lnTo>
                  <a:pt x="648" y="53"/>
                </a:lnTo>
                <a:lnTo>
                  <a:pt x="659" y="55"/>
                </a:lnTo>
                <a:lnTo>
                  <a:pt x="664" y="56"/>
                </a:lnTo>
                <a:lnTo>
                  <a:pt x="657" y="161"/>
                </a:lnTo>
                <a:lnTo>
                  <a:pt x="657" y="163"/>
                </a:lnTo>
                <a:lnTo>
                  <a:pt x="659" y="165"/>
                </a:lnTo>
                <a:lnTo>
                  <a:pt x="661" y="167"/>
                </a:lnTo>
                <a:lnTo>
                  <a:pt x="664" y="169"/>
                </a:lnTo>
                <a:lnTo>
                  <a:pt x="669" y="173"/>
                </a:lnTo>
                <a:lnTo>
                  <a:pt x="677" y="177"/>
                </a:lnTo>
                <a:lnTo>
                  <a:pt x="685" y="181"/>
                </a:lnTo>
                <a:lnTo>
                  <a:pt x="691" y="185"/>
                </a:lnTo>
                <a:lnTo>
                  <a:pt x="694" y="189"/>
                </a:lnTo>
                <a:lnTo>
                  <a:pt x="696" y="192"/>
                </a:lnTo>
                <a:lnTo>
                  <a:pt x="697" y="195"/>
                </a:lnTo>
                <a:lnTo>
                  <a:pt x="697" y="198"/>
                </a:lnTo>
                <a:lnTo>
                  <a:pt x="697" y="203"/>
                </a:lnTo>
                <a:lnTo>
                  <a:pt x="696" y="208"/>
                </a:lnTo>
                <a:lnTo>
                  <a:pt x="694" y="211"/>
                </a:lnTo>
                <a:lnTo>
                  <a:pt x="691" y="214"/>
                </a:lnTo>
                <a:lnTo>
                  <a:pt x="688" y="216"/>
                </a:lnTo>
                <a:lnTo>
                  <a:pt x="685" y="217"/>
                </a:lnTo>
                <a:lnTo>
                  <a:pt x="680" y="218"/>
                </a:lnTo>
                <a:lnTo>
                  <a:pt x="676" y="219"/>
                </a:lnTo>
                <a:lnTo>
                  <a:pt x="655" y="218"/>
                </a:lnTo>
                <a:lnTo>
                  <a:pt x="631" y="216"/>
                </a:lnTo>
                <a:lnTo>
                  <a:pt x="619" y="221"/>
                </a:lnTo>
                <a:lnTo>
                  <a:pt x="605" y="228"/>
                </a:lnTo>
                <a:lnTo>
                  <a:pt x="589" y="235"/>
                </a:lnTo>
                <a:lnTo>
                  <a:pt x="574" y="245"/>
                </a:lnTo>
                <a:lnTo>
                  <a:pt x="567" y="250"/>
                </a:lnTo>
                <a:lnTo>
                  <a:pt x="560" y="256"/>
                </a:lnTo>
                <a:lnTo>
                  <a:pt x="554" y="261"/>
                </a:lnTo>
                <a:lnTo>
                  <a:pt x="549" y="267"/>
                </a:lnTo>
                <a:lnTo>
                  <a:pt x="544" y="274"/>
                </a:lnTo>
                <a:lnTo>
                  <a:pt x="541" y="281"/>
                </a:lnTo>
                <a:lnTo>
                  <a:pt x="539" y="288"/>
                </a:lnTo>
                <a:lnTo>
                  <a:pt x="538" y="296"/>
                </a:lnTo>
                <a:lnTo>
                  <a:pt x="529" y="299"/>
                </a:lnTo>
                <a:lnTo>
                  <a:pt x="521" y="302"/>
                </a:lnTo>
                <a:lnTo>
                  <a:pt x="514" y="306"/>
                </a:lnTo>
                <a:lnTo>
                  <a:pt x="506" y="312"/>
                </a:lnTo>
                <a:lnTo>
                  <a:pt x="491" y="324"/>
                </a:lnTo>
                <a:lnTo>
                  <a:pt x="475" y="339"/>
                </a:lnTo>
                <a:lnTo>
                  <a:pt x="465" y="346"/>
                </a:lnTo>
                <a:lnTo>
                  <a:pt x="455" y="352"/>
                </a:lnTo>
                <a:lnTo>
                  <a:pt x="445" y="360"/>
                </a:lnTo>
                <a:lnTo>
                  <a:pt x="433" y="365"/>
                </a:lnTo>
                <a:lnTo>
                  <a:pt x="420" y="370"/>
                </a:lnTo>
                <a:lnTo>
                  <a:pt x="406" y="373"/>
                </a:lnTo>
                <a:lnTo>
                  <a:pt x="389" y="376"/>
                </a:lnTo>
                <a:lnTo>
                  <a:pt x="372" y="377"/>
                </a:lnTo>
                <a:lnTo>
                  <a:pt x="361" y="377"/>
                </a:lnTo>
                <a:lnTo>
                  <a:pt x="352" y="378"/>
                </a:lnTo>
                <a:lnTo>
                  <a:pt x="344" y="380"/>
                </a:lnTo>
                <a:lnTo>
                  <a:pt x="337" y="382"/>
                </a:lnTo>
                <a:lnTo>
                  <a:pt x="326" y="389"/>
                </a:lnTo>
                <a:lnTo>
                  <a:pt x="316" y="396"/>
                </a:lnTo>
                <a:lnTo>
                  <a:pt x="306" y="404"/>
                </a:lnTo>
                <a:lnTo>
                  <a:pt x="296" y="413"/>
                </a:lnTo>
                <a:lnTo>
                  <a:pt x="290" y="417"/>
                </a:lnTo>
                <a:lnTo>
                  <a:pt x="283" y="420"/>
                </a:lnTo>
                <a:lnTo>
                  <a:pt x="274" y="423"/>
                </a:lnTo>
                <a:lnTo>
                  <a:pt x="265" y="426"/>
                </a:lnTo>
                <a:lnTo>
                  <a:pt x="272" y="494"/>
                </a:lnTo>
                <a:lnTo>
                  <a:pt x="0" y="500"/>
                </a:lnTo>
                <a:lnTo>
                  <a:pt x="5" y="496"/>
                </a:lnTo>
                <a:lnTo>
                  <a:pt x="13" y="492"/>
                </a:lnTo>
                <a:lnTo>
                  <a:pt x="22" y="490"/>
                </a:lnTo>
                <a:lnTo>
                  <a:pt x="32" y="487"/>
                </a:lnTo>
                <a:lnTo>
                  <a:pt x="55" y="483"/>
                </a:lnTo>
                <a:lnTo>
                  <a:pt x="80" y="475"/>
                </a:lnTo>
                <a:lnTo>
                  <a:pt x="85" y="473"/>
                </a:lnTo>
                <a:lnTo>
                  <a:pt x="90" y="469"/>
                </a:lnTo>
                <a:lnTo>
                  <a:pt x="92" y="465"/>
                </a:lnTo>
                <a:lnTo>
                  <a:pt x="93" y="459"/>
                </a:lnTo>
                <a:lnTo>
                  <a:pt x="93" y="451"/>
                </a:lnTo>
                <a:lnTo>
                  <a:pt x="93" y="444"/>
                </a:lnTo>
                <a:lnTo>
                  <a:pt x="99" y="438"/>
                </a:lnTo>
                <a:lnTo>
                  <a:pt x="104" y="432"/>
                </a:lnTo>
                <a:lnTo>
                  <a:pt x="112" y="427"/>
                </a:lnTo>
                <a:lnTo>
                  <a:pt x="119" y="422"/>
                </a:lnTo>
                <a:lnTo>
                  <a:pt x="136" y="414"/>
                </a:lnTo>
                <a:lnTo>
                  <a:pt x="152" y="404"/>
                </a:lnTo>
                <a:lnTo>
                  <a:pt x="160" y="399"/>
                </a:lnTo>
                <a:lnTo>
                  <a:pt x="168" y="394"/>
                </a:lnTo>
                <a:lnTo>
                  <a:pt x="174" y="388"/>
                </a:lnTo>
                <a:lnTo>
                  <a:pt x="181" y="382"/>
                </a:lnTo>
                <a:lnTo>
                  <a:pt x="185" y="375"/>
                </a:lnTo>
                <a:lnTo>
                  <a:pt x="189" y="366"/>
                </a:lnTo>
                <a:lnTo>
                  <a:pt x="192" y="357"/>
                </a:lnTo>
                <a:lnTo>
                  <a:pt x="192" y="345"/>
                </a:lnTo>
                <a:lnTo>
                  <a:pt x="193" y="332"/>
                </a:lnTo>
                <a:lnTo>
                  <a:pt x="193" y="316"/>
                </a:lnTo>
                <a:lnTo>
                  <a:pt x="194" y="296"/>
                </a:lnTo>
                <a:lnTo>
                  <a:pt x="195" y="275"/>
                </a:lnTo>
                <a:lnTo>
                  <a:pt x="195" y="254"/>
                </a:lnTo>
                <a:lnTo>
                  <a:pt x="195" y="232"/>
                </a:lnTo>
                <a:lnTo>
                  <a:pt x="194" y="211"/>
                </a:lnTo>
                <a:lnTo>
                  <a:pt x="192" y="192"/>
                </a:lnTo>
                <a:lnTo>
                  <a:pt x="201" y="192"/>
                </a:lnTo>
                <a:lnTo>
                  <a:pt x="207" y="190"/>
                </a:lnTo>
                <a:lnTo>
                  <a:pt x="214" y="189"/>
                </a:lnTo>
                <a:lnTo>
                  <a:pt x="219" y="185"/>
                </a:lnTo>
                <a:lnTo>
                  <a:pt x="224" y="182"/>
                </a:lnTo>
                <a:lnTo>
                  <a:pt x="228" y="179"/>
                </a:lnTo>
                <a:lnTo>
                  <a:pt x="232" y="176"/>
                </a:lnTo>
                <a:lnTo>
                  <a:pt x="236" y="172"/>
                </a:lnTo>
                <a:lnTo>
                  <a:pt x="241" y="165"/>
                </a:lnTo>
                <a:lnTo>
                  <a:pt x="247" y="158"/>
                </a:lnTo>
                <a:lnTo>
                  <a:pt x="249" y="155"/>
                </a:lnTo>
                <a:lnTo>
                  <a:pt x="252" y="152"/>
                </a:lnTo>
                <a:lnTo>
                  <a:pt x="256" y="150"/>
                </a:lnTo>
                <a:lnTo>
                  <a:pt x="259" y="149"/>
                </a:lnTo>
                <a:lnTo>
                  <a:pt x="281" y="146"/>
                </a:lnTo>
                <a:lnTo>
                  <a:pt x="297" y="145"/>
                </a:lnTo>
                <a:lnTo>
                  <a:pt x="306" y="144"/>
                </a:lnTo>
                <a:lnTo>
                  <a:pt x="314" y="143"/>
                </a:lnTo>
                <a:lnTo>
                  <a:pt x="323" y="140"/>
                </a:lnTo>
                <a:lnTo>
                  <a:pt x="331" y="137"/>
                </a:lnTo>
                <a:lnTo>
                  <a:pt x="340" y="131"/>
                </a:lnTo>
                <a:lnTo>
                  <a:pt x="348" y="124"/>
                </a:lnTo>
                <a:lnTo>
                  <a:pt x="354" y="116"/>
                </a:lnTo>
                <a:lnTo>
                  <a:pt x="360" y="108"/>
                </a:lnTo>
                <a:lnTo>
                  <a:pt x="371" y="89"/>
                </a:lnTo>
                <a:lnTo>
                  <a:pt x="380" y="68"/>
                </a:lnTo>
                <a:lnTo>
                  <a:pt x="388" y="48"/>
                </a:lnTo>
                <a:lnTo>
                  <a:pt x="397" y="29"/>
                </a:lnTo>
                <a:lnTo>
                  <a:pt x="402" y="21"/>
                </a:lnTo>
                <a:lnTo>
                  <a:pt x="407" y="12"/>
                </a:lnTo>
                <a:lnTo>
                  <a:pt x="413" y="6"/>
                </a:lnTo>
                <a:lnTo>
                  <a:pt x="418" y="0"/>
                </a:lnTo>
                <a:lnTo>
                  <a:pt x="426" y="8"/>
                </a:lnTo>
                <a:lnTo>
                  <a:pt x="433" y="14"/>
                </a:lnTo>
                <a:lnTo>
                  <a:pt x="441" y="17"/>
                </a:lnTo>
                <a:lnTo>
                  <a:pt x="449" y="20"/>
                </a:lnTo>
                <a:lnTo>
                  <a:pt x="465" y="20"/>
                </a:lnTo>
                <a:lnTo>
                  <a:pt x="485" y="20"/>
                </a:lnTo>
                <a:lnTo>
                  <a:pt x="512" y="18"/>
                </a:lnTo>
                <a:lnTo>
                  <a:pt x="543" y="16"/>
                </a:lnTo>
                <a:lnTo>
                  <a:pt x="571" y="14"/>
                </a:lnTo>
                <a:lnTo>
                  <a:pt x="590" y="13"/>
                </a:lnTo>
                <a:lnTo>
                  <a:pt x="594" y="13"/>
                </a:lnTo>
                <a:lnTo>
                  <a:pt x="595" y="15"/>
                </a:lnTo>
                <a:lnTo>
                  <a:pt x="597" y="17"/>
                </a:lnTo>
                <a:lnTo>
                  <a:pt x="599" y="21"/>
                </a:lnTo>
                <a:lnTo>
                  <a:pt x="601" y="28"/>
                </a:lnTo>
                <a:lnTo>
                  <a:pt x="605" y="36"/>
                </a:lnTo>
                <a:lnTo>
                  <a:pt x="607" y="44"/>
                </a:lnTo>
                <a:lnTo>
                  <a:pt x="609" y="49"/>
                </a:lnTo>
                <a:lnTo>
                  <a:pt x="611" y="51"/>
                </a:lnTo>
                <a:lnTo>
                  <a:pt x="613" y="52"/>
                </a:lnTo>
                <a:lnTo>
                  <a:pt x="615" y="51"/>
                </a:lnTo>
                <a:lnTo>
                  <a:pt x="618" y="50"/>
                </a:lnTo>
                <a:lnTo>
                  <a:pt x="631" y="5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595" name="Freeform 547"/>
          <p:cNvSpPr>
            <a:spLocks/>
          </p:cNvSpPr>
          <p:nvPr>
            <p:custDataLst>
              <p:tags r:id="rId378"/>
            </p:custDataLst>
          </p:nvPr>
        </p:nvSpPr>
        <p:spPr bwMode="auto">
          <a:xfrm>
            <a:off x="4392616" y="1097763"/>
            <a:ext cx="236537" cy="69056"/>
          </a:xfrm>
          <a:custGeom>
            <a:avLst/>
            <a:gdLst/>
            <a:ahLst/>
            <a:cxnLst>
              <a:cxn ang="0">
                <a:pos x="74" y="19"/>
              </a:cxn>
              <a:cxn ang="0">
                <a:pos x="94" y="34"/>
              </a:cxn>
              <a:cxn ang="0">
                <a:pos x="110" y="27"/>
              </a:cxn>
              <a:cxn ang="0">
                <a:pos x="132" y="27"/>
              </a:cxn>
              <a:cxn ang="0">
                <a:pos x="161" y="44"/>
              </a:cxn>
              <a:cxn ang="0">
                <a:pos x="209" y="19"/>
              </a:cxn>
              <a:cxn ang="0">
                <a:pos x="243" y="19"/>
              </a:cxn>
              <a:cxn ang="0">
                <a:pos x="260" y="16"/>
              </a:cxn>
              <a:cxn ang="0">
                <a:pos x="269" y="14"/>
              </a:cxn>
              <a:cxn ang="0">
                <a:pos x="279" y="11"/>
              </a:cxn>
              <a:cxn ang="0">
                <a:pos x="286" y="3"/>
              </a:cxn>
              <a:cxn ang="0">
                <a:pos x="321" y="5"/>
              </a:cxn>
              <a:cxn ang="0">
                <a:pos x="333" y="12"/>
              </a:cxn>
              <a:cxn ang="0">
                <a:pos x="348" y="7"/>
              </a:cxn>
              <a:cxn ang="0">
                <a:pos x="353" y="0"/>
              </a:cxn>
              <a:cxn ang="0">
                <a:pos x="367" y="7"/>
              </a:cxn>
              <a:cxn ang="0">
                <a:pos x="389" y="7"/>
              </a:cxn>
              <a:cxn ang="0">
                <a:pos x="436" y="1"/>
              </a:cxn>
              <a:cxn ang="0">
                <a:pos x="482" y="6"/>
              </a:cxn>
              <a:cxn ang="0">
                <a:pos x="528" y="12"/>
              </a:cxn>
              <a:cxn ang="0">
                <a:pos x="545" y="49"/>
              </a:cxn>
              <a:cxn ang="0">
                <a:pos x="537" y="60"/>
              </a:cxn>
              <a:cxn ang="0">
                <a:pos x="513" y="62"/>
              </a:cxn>
              <a:cxn ang="0">
                <a:pos x="483" y="54"/>
              </a:cxn>
              <a:cxn ang="0">
                <a:pos x="413" y="44"/>
              </a:cxn>
              <a:cxn ang="0">
                <a:pos x="438" y="81"/>
              </a:cxn>
              <a:cxn ang="0">
                <a:pos x="471" y="102"/>
              </a:cxn>
              <a:cxn ang="0">
                <a:pos x="493" y="119"/>
              </a:cxn>
              <a:cxn ang="0">
                <a:pos x="475" y="136"/>
              </a:cxn>
              <a:cxn ang="0">
                <a:pos x="449" y="142"/>
              </a:cxn>
              <a:cxn ang="0">
                <a:pos x="426" y="141"/>
              </a:cxn>
              <a:cxn ang="0">
                <a:pos x="412" y="134"/>
              </a:cxn>
              <a:cxn ang="0">
                <a:pos x="399" y="130"/>
              </a:cxn>
              <a:cxn ang="0">
                <a:pos x="385" y="121"/>
              </a:cxn>
              <a:cxn ang="0">
                <a:pos x="375" y="104"/>
              </a:cxn>
              <a:cxn ang="0">
                <a:pos x="365" y="92"/>
              </a:cxn>
              <a:cxn ang="0">
                <a:pos x="344" y="84"/>
              </a:cxn>
              <a:cxn ang="0">
                <a:pos x="325" y="76"/>
              </a:cxn>
              <a:cxn ang="0">
                <a:pos x="303" y="87"/>
              </a:cxn>
              <a:cxn ang="0">
                <a:pos x="258" y="134"/>
              </a:cxn>
              <a:cxn ang="0">
                <a:pos x="236" y="163"/>
              </a:cxn>
              <a:cxn ang="0">
                <a:pos x="220" y="172"/>
              </a:cxn>
              <a:cxn ang="0">
                <a:pos x="188" y="167"/>
              </a:cxn>
              <a:cxn ang="0">
                <a:pos x="165" y="155"/>
              </a:cxn>
              <a:cxn ang="0">
                <a:pos x="113" y="105"/>
              </a:cxn>
              <a:cxn ang="0">
                <a:pos x="95" y="91"/>
              </a:cxn>
              <a:cxn ang="0">
                <a:pos x="60" y="76"/>
              </a:cxn>
              <a:cxn ang="0">
                <a:pos x="16" y="58"/>
              </a:cxn>
              <a:cxn ang="0">
                <a:pos x="11" y="34"/>
              </a:cxn>
              <a:cxn ang="0">
                <a:pos x="28" y="19"/>
              </a:cxn>
              <a:cxn ang="0">
                <a:pos x="47" y="12"/>
              </a:cxn>
            </a:cxnLst>
            <a:rect l="0" t="0" r="r" b="b"/>
            <a:pathLst>
              <a:path w="546" h="173">
                <a:moveTo>
                  <a:pt x="47" y="12"/>
                </a:moveTo>
                <a:lnTo>
                  <a:pt x="61" y="15"/>
                </a:lnTo>
                <a:lnTo>
                  <a:pt x="74" y="19"/>
                </a:lnTo>
                <a:lnTo>
                  <a:pt x="61" y="38"/>
                </a:lnTo>
                <a:lnTo>
                  <a:pt x="87" y="38"/>
                </a:lnTo>
                <a:lnTo>
                  <a:pt x="94" y="34"/>
                </a:lnTo>
                <a:lnTo>
                  <a:pt x="102" y="31"/>
                </a:lnTo>
                <a:lnTo>
                  <a:pt x="107" y="29"/>
                </a:lnTo>
                <a:lnTo>
                  <a:pt x="110" y="27"/>
                </a:lnTo>
                <a:lnTo>
                  <a:pt x="112" y="23"/>
                </a:lnTo>
                <a:lnTo>
                  <a:pt x="113" y="19"/>
                </a:lnTo>
                <a:lnTo>
                  <a:pt x="132" y="27"/>
                </a:lnTo>
                <a:lnTo>
                  <a:pt x="142" y="32"/>
                </a:lnTo>
                <a:lnTo>
                  <a:pt x="150" y="36"/>
                </a:lnTo>
                <a:lnTo>
                  <a:pt x="161" y="44"/>
                </a:lnTo>
                <a:lnTo>
                  <a:pt x="161" y="19"/>
                </a:lnTo>
                <a:lnTo>
                  <a:pt x="188" y="19"/>
                </a:lnTo>
                <a:lnTo>
                  <a:pt x="209" y="19"/>
                </a:lnTo>
                <a:lnTo>
                  <a:pt x="224" y="19"/>
                </a:lnTo>
                <a:lnTo>
                  <a:pt x="233" y="19"/>
                </a:lnTo>
                <a:lnTo>
                  <a:pt x="243" y="19"/>
                </a:lnTo>
                <a:lnTo>
                  <a:pt x="253" y="19"/>
                </a:lnTo>
                <a:lnTo>
                  <a:pt x="256" y="17"/>
                </a:lnTo>
                <a:lnTo>
                  <a:pt x="260" y="16"/>
                </a:lnTo>
                <a:lnTo>
                  <a:pt x="264" y="14"/>
                </a:lnTo>
                <a:lnTo>
                  <a:pt x="266" y="12"/>
                </a:lnTo>
                <a:lnTo>
                  <a:pt x="269" y="14"/>
                </a:lnTo>
                <a:lnTo>
                  <a:pt x="273" y="14"/>
                </a:lnTo>
                <a:lnTo>
                  <a:pt x="276" y="13"/>
                </a:lnTo>
                <a:lnTo>
                  <a:pt x="279" y="11"/>
                </a:lnTo>
                <a:lnTo>
                  <a:pt x="281" y="8"/>
                </a:lnTo>
                <a:lnTo>
                  <a:pt x="285" y="6"/>
                </a:lnTo>
                <a:lnTo>
                  <a:pt x="286" y="3"/>
                </a:lnTo>
                <a:lnTo>
                  <a:pt x="287" y="0"/>
                </a:lnTo>
                <a:lnTo>
                  <a:pt x="320" y="0"/>
                </a:lnTo>
                <a:lnTo>
                  <a:pt x="321" y="5"/>
                </a:lnTo>
                <a:lnTo>
                  <a:pt x="324" y="9"/>
                </a:lnTo>
                <a:lnTo>
                  <a:pt x="329" y="11"/>
                </a:lnTo>
                <a:lnTo>
                  <a:pt x="333" y="12"/>
                </a:lnTo>
                <a:lnTo>
                  <a:pt x="338" y="11"/>
                </a:lnTo>
                <a:lnTo>
                  <a:pt x="345" y="9"/>
                </a:lnTo>
                <a:lnTo>
                  <a:pt x="348" y="7"/>
                </a:lnTo>
                <a:lnTo>
                  <a:pt x="351" y="5"/>
                </a:lnTo>
                <a:lnTo>
                  <a:pt x="353" y="3"/>
                </a:lnTo>
                <a:lnTo>
                  <a:pt x="353" y="0"/>
                </a:lnTo>
                <a:lnTo>
                  <a:pt x="358" y="3"/>
                </a:lnTo>
                <a:lnTo>
                  <a:pt x="363" y="6"/>
                </a:lnTo>
                <a:lnTo>
                  <a:pt x="367" y="7"/>
                </a:lnTo>
                <a:lnTo>
                  <a:pt x="371" y="8"/>
                </a:lnTo>
                <a:lnTo>
                  <a:pt x="380" y="8"/>
                </a:lnTo>
                <a:lnTo>
                  <a:pt x="389" y="7"/>
                </a:lnTo>
                <a:lnTo>
                  <a:pt x="404" y="3"/>
                </a:lnTo>
                <a:lnTo>
                  <a:pt x="420" y="0"/>
                </a:lnTo>
                <a:lnTo>
                  <a:pt x="436" y="1"/>
                </a:lnTo>
                <a:lnTo>
                  <a:pt x="453" y="2"/>
                </a:lnTo>
                <a:lnTo>
                  <a:pt x="467" y="4"/>
                </a:lnTo>
                <a:lnTo>
                  <a:pt x="482" y="6"/>
                </a:lnTo>
                <a:lnTo>
                  <a:pt x="498" y="9"/>
                </a:lnTo>
                <a:lnTo>
                  <a:pt x="513" y="11"/>
                </a:lnTo>
                <a:lnTo>
                  <a:pt x="528" y="12"/>
                </a:lnTo>
                <a:lnTo>
                  <a:pt x="546" y="12"/>
                </a:lnTo>
                <a:lnTo>
                  <a:pt x="546" y="44"/>
                </a:lnTo>
                <a:lnTo>
                  <a:pt x="545" y="49"/>
                </a:lnTo>
                <a:lnTo>
                  <a:pt x="542" y="55"/>
                </a:lnTo>
                <a:lnTo>
                  <a:pt x="539" y="58"/>
                </a:lnTo>
                <a:lnTo>
                  <a:pt x="537" y="60"/>
                </a:lnTo>
                <a:lnTo>
                  <a:pt x="535" y="61"/>
                </a:lnTo>
                <a:lnTo>
                  <a:pt x="533" y="62"/>
                </a:lnTo>
                <a:lnTo>
                  <a:pt x="513" y="62"/>
                </a:lnTo>
                <a:lnTo>
                  <a:pt x="498" y="60"/>
                </a:lnTo>
                <a:lnTo>
                  <a:pt x="490" y="57"/>
                </a:lnTo>
                <a:lnTo>
                  <a:pt x="483" y="54"/>
                </a:lnTo>
                <a:lnTo>
                  <a:pt x="478" y="50"/>
                </a:lnTo>
                <a:lnTo>
                  <a:pt x="472" y="44"/>
                </a:lnTo>
                <a:lnTo>
                  <a:pt x="413" y="44"/>
                </a:lnTo>
                <a:lnTo>
                  <a:pt x="421" y="58"/>
                </a:lnTo>
                <a:lnTo>
                  <a:pt x="428" y="70"/>
                </a:lnTo>
                <a:lnTo>
                  <a:pt x="438" y="81"/>
                </a:lnTo>
                <a:lnTo>
                  <a:pt x="448" y="89"/>
                </a:lnTo>
                <a:lnTo>
                  <a:pt x="459" y="96"/>
                </a:lnTo>
                <a:lnTo>
                  <a:pt x="471" y="102"/>
                </a:lnTo>
                <a:lnTo>
                  <a:pt x="484" y="107"/>
                </a:lnTo>
                <a:lnTo>
                  <a:pt x="499" y="111"/>
                </a:lnTo>
                <a:lnTo>
                  <a:pt x="493" y="119"/>
                </a:lnTo>
                <a:lnTo>
                  <a:pt x="488" y="126"/>
                </a:lnTo>
                <a:lnTo>
                  <a:pt x="481" y="132"/>
                </a:lnTo>
                <a:lnTo>
                  <a:pt x="475" y="136"/>
                </a:lnTo>
                <a:lnTo>
                  <a:pt x="466" y="139"/>
                </a:lnTo>
                <a:lnTo>
                  <a:pt x="458" y="141"/>
                </a:lnTo>
                <a:lnTo>
                  <a:pt x="449" y="142"/>
                </a:lnTo>
                <a:lnTo>
                  <a:pt x="439" y="142"/>
                </a:lnTo>
                <a:lnTo>
                  <a:pt x="432" y="142"/>
                </a:lnTo>
                <a:lnTo>
                  <a:pt x="426" y="141"/>
                </a:lnTo>
                <a:lnTo>
                  <a:pt x="421" y="139"/>
                </a:lnTo>
                <a:lnTo>
                  <a:pt x="416" y="136"/>
                </a:lnTo>
                <a:lnTo>
                  <a:pt x="412" y="134"/>
                </a:lnTo>
                <a:lnTo>
                  <a:pt x="409" y="132"/>
                </a:lnTo>
                <a:lnTo>
                  <a:pt x="404" y="131"/>
                </a:lnTo>
                <a:lnTo>
                  <a:pt x="399" y="130"/>
                </a:lnTo>
                <a:lnTo>
                  <a:pt x="394" y="128"/>
                </a:lnTo>
                <a:lnTo>
                  <a:pt x="390" y="125"/>
                </a:lnTo>
                <a:lnTo>
                  <a:pt x="385" y="121"/>
                </a:lnTo>
                <a:lnTo>
                  <a:pt x="381" y="116"/>
                </a:lnTo>
                <a:lnTo>
                  <a:pt x="378" y="110"/>
                </a:lnTo>
                <a:lnTo>
                  <a:pt x="375" y="104"/>
                </a:lnTo>
                <a:lnTo>
                  <a:pt x="374" y="98"/>
                </a:lnTo>
                <a:lnTo>
                  <a:pt x="372" y="93"/>
                </a:lnTo>
                <a:lnTo>
                  <a:pt x="365" y="92"/>
                </a:lnTo>
                <a:lnTo>
                  <a:pt x="358" y="90"/>
                </a:lnTo>
                <a:lnTo>
                  <a:pt x="351" y="87"/>
                </a:lnTo>
                <a:lnTo>
                  <a:pt x="344" y="84"/>
                </a:lnTo>
                <a:lnTo>
                  <a:pt x="337" y="81"/>
                </a:lnTo>
                <a:lnTo>
                  <a:pt x="331" y="78"/>
                </a:lnTo>
                <a:lnTo>
                  <a:pt x="325" y="76"/>
                </a:lnTo>
                <a:lnTo>
                  <a:pt x="320" y="75"/>
                </a:lnTo>
                <a:lnTo>
                  <a:pt x="314" y="78"/>
                </a:lnTo>
                <a:lnTo>
                  <a:pt x="303" y="87"/>
                </a:lnTo>
                <a:lnTo>
                  <a:pt x="289" y="101"/>
                </a:lnTo>
                <a:lnTo>
                  <a:pt x="274" y="117"/>
                </a:lnTo>
                <a:lnTo>
                  <a:pt x="258" y="134"/>
                </a:lnTo>
                <a:lnTo>
                  <a:pt x="246" y="150"/>
                </a:lnTo>
                <a:lnTo>
                  <a:pt x="241" y="157"/>
                </a:lnTo>
                <a:lnTo>
                  <a:pt x="236" y="163"/>
                </a:lnTo>
                <a:lnTo>
                  <a:pt x="234" y="169"/>
                </a:lnTo>
                <a:lnTo>
                  <a:pt x="233" y="173"/>
                </a:lnTo>
                <a:lnTo>
                  <a:pt x="220" y="172"/>
                </a:lnTo>
                <a:lnTo>
                  <a:pt x="209" y="171"/>
                </a:lnTo>
                <a:lnTo>
                  <a:pt x="198" y="169"/>
                </a:lnTo>
                <a:lnTo>
                  <a:pt x="188" y="167"/>
                </a:lnTo>
                <a:lnTo>
                  <a:pt x="180" y="163"/>
                </a:lnTo>
                <a:lnTo>
                  <a:pt x="172" y="160"/>
                </a:lnTo>
                <a:lnTo>
                  <a:pt x="165" y="155"/>
                </a:lnTo>
                <a:lnTo>
                  <a:pt x="158" y="151"/>
                </a:lnTo>
                <a:lnTo>
                  <a:pt x="136" y="128"/>
                </a:lnTo>
                <a:lnTo>
                  <a:pt x="113" y="105"/>
                </a:lnTo>
                <a:lnTo>
                  <a:pt x="108" y="100"/>
                </a:lnTo>
                <a:lnTo>
                  <a:pt x="101" y="95"/>
                </a:lnTo>
                <a:lnTo>
                  <a:pt x="95" y="91"/>
                </a:lnTo>
                <a:lnTo>
                  <a:pt x="88" y="87"/>
                </a:lnTo>
                <a:lnTo>
                  <a:pt x="74" y="81"/>
                </a:lnTo>
                <a:lnTo>
                  <a:pt x="60" y="76"/>
                </a:lnTo>
                <a:lnTo>
                  <a:pt x="45" y="70"/>
                </a:lnTo>
                <a:lnTo>
                  <a:pt x="31" y="64"/>
                </a:lnTo>
                <a:lnTo>
                  <a:pt x="16" y="58"/>
                </a:lnTo>
                <a:lnTo>
                  <a:pt x="0" y="50"/>
                </a:lnTo>
                <a:lnTo>
                  <a:pt x="6" y="41"/>
                </a:lnTo>
                <a:lnTo>
                  <a:pt x="11" y="34"/>
                </a:lnTo>
                <a:lnTo>
                  <a:pt x="16" y="28"/>
                </a:lnTo>
                <a:lnTo>
                  <a:pt x="21" y="22"/>
                </a:lnTo>
                <a:lnTo>
                  <a:pt x="28" y="19"/>
                </a:lnTo>
                <a:lnTo>
                  <a:pt x="33" y="15"/>
                </a:lnTo>
                <a:lnTo>
                  <a:pt x="40" y="13"/>
                </a:lnTo>
                <a:lnTo>
                  <a:pt x="47" y="12"/>
                </a:lnTo>
              </a:path>
            </a:pathLst>
          </a:custGeom>
          <a:solidFill>
            <a:srgbClr val="0070C0"/>
          </a:solidFill>
          <a:ln w="9525" cap="flat" cmpd="sng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596" name="Freeform 548"/>
          <p:cNvSpPr>
            <a:spLocks/>
          </p:cNvSpPr>
          <p:nvPr>
            <p:custDataLst>
              <p:tags r:id="rId379"/>
            </p:custDataLst>
          </p:nvPr>
        </p:nvSpPr>
        <p:spPr bwMode="auto">
          <a:xfrm>
            <a:off x="4903788" y="1085858"/>
            <a:ext cx="107950" cy="45244"/>
          </a:xfrm>
          <a:custGeom>
            <a:avLst/>
            <a:gdLst/>
            <a:ahLst/>
            <a:cxnLst>
              <a:cxn ang="0">
                <a:pos x="27" y="36"/>
              </a:cxn>
              <a:cxn ang="0">
                <a:pos x="36" y="36"/>
              </a:cxn>
              <a:cxn ang="0">
                <a:pos x="45" y="35"/>
              </a:cxn>
              <a:cxn ang="0">
                <a:pos x="53" y="33"/>
              </a:cxn>
              <a:cxn ang="0">
                <a:pos x="59" y="31"/>
              </a:cxn>
              <a:cxn ang="0">
                <a:pos x="66" y="30"/>
              </a:cxn>
              <a:cxn ang="0">
                <a:pos x="72" y="29"/>
              </a:cxn>
              <a:cxn ang="0">
                <a:pos x="80" y="29"/>
              </a:cxn>
              <a:cxn ang="0">
                <a:pos x="87" y="30"/>
              </a:cxn>
              <a:cxn ang="0">
                <a:pos x="87" y="42"/>
              </a:cxn>
              <a:cxn ang="0">
                <a:pos x="154" y="42"/>
              </a:cxn>
              <a:cxn ang="0">
                <a:pos x="154" y="39"/>
              </a:cxn>
              <a:cxn ang="0">
                <a:pos x="156" y="36"/>
              </a:cxn>
              <a:cxn ang="0">
                <a:pos x="159" y="33"/>
              </a:cxn>
              <a:cxn ang="0">
                <a:pos x="163" y="31"/>
              </a:cxn>
              <a:cxn ang="0">
                <a:pos x="175" y="26"/>
              </a:cxn>
              <a:cxn ang="0">
                <a:pos x="190" y="23"/>
              </a:cxn>
              <a:cxn ang="0">
                <a:pos x="221" y="17"/>
              </a:cxn>
              <a:cxn ang="0">
                <a:pos x="246" y="12"/>
              </a:cxn>
              <a:cxn ang="0">
                <a:pos x="212" y="13"/>
              </a:cxn>
              <a:cxn ang="0">
                <a:pos x="186" y="14"/>
              </a:cxn>
              <a:cxn ang="0">
                <a:pos x="178" y="15"/>
              </a:cxn>
              <a:cxn ang="0">
                <a:pos x="171" y="15"/>
              </a:cxn>
              <a:cxn ang="0">
                <a:pos x="168" y="14"/>
              </a:cxn>
              <a:cxn ang="0">
                <a:pos x="167" y="12"/>
              </a:cxn>
              <a:cxn ang="0">
                <a:pos x="159" y="16"/>
              </a:cxn>
              <a:cxn ang="0">
                <a:pos x="152" y="17"/>
              </a:cxn>
              <a:cxn ang="0">
                <a:pos x="147" y="17"/>
              </a:cxn>
              <a:cxn ang="0">
                <a:pos x="141" y="15"/>
              </a:cxn>
              <a:cxn ang="0">
                <a:pos x="137" y="12"/>
              </a:cxn>
              <a:cxn ang="0">
                <a:pos x="133" y="9"/>
              </a:cxn>
              <a:cxn ang="0">
                <a:pos x="129" y="5"/>
              </a:cxn>
              <a:cxn ang="0">
                <a:pos x="126" y="0"/>
              </a:cxn>
              <a:cxn ang="0">
                <a:pos x="121" y="2"/>
              </a:cxn>
              <a:cxn ang="0">
                <a:pos x="113" y="4"/>
              </a:cxn>
              <a:cxn ang="0">
                <a:pos x="103" y="5"/>
              </a:cxn>
              <a:cxn ang="0">
                <a:pos x="93" y="5"/>
              </a:cxn>
              <a:cxn ang="0">
                <a:pos x="74" y="6"/>
              </a:cxn>
              <a:cxn ang="0">
                <a:pos x="60" y="6"/>
              </a:cxn>
              <a:cxn ang="0">
                <a:pos x="58" y="9"/>
              </a:cxn>
              <a:cxn ang="0">
                <a:pos x="56" y="12"/>
              </a:cxn>
              <a:cxn ang="0">
                <a:pos x="54" y="15"/>
              </a:cxn>
              <a:cxn ang="0">
                <a:pos x="50" y="17"/>
              </a:cxn>
              <a:cxn ang="0">
                <a:pos x="42" y="20"/>
              </a:cxn>
              <a:cxn ang="0">
                <a:pos x="33" y="22"/>
              </a:cxn>
              <a:cxn ang="0">
                <a:pos x="14" y="24"/>
              </a:cxn>
              <a:cxn ang="0">
                <a:pos x="0" y="24"/>
              </a:cxn>
              <a:cxn ang="0">
                <a:pos x="1" y="27"/>
              </a:cxn>
              <a:cxn ang="0">
                <a:pos x="3" y="29"/>
              </a:cxn>
              <a:cxn ang="0">
                <a:pos x="5" y="31"/>
              </a:cxn>
              <a:cxn ang="0">
                <a:pos x="9" y="33"/>
              </a:cxn>
              <a:cxn ang="0">
                <a:pos x="17" y="35"/>
              </a:cxn>
              <a:cxn ang="0">
                <a:pos x="27" y="36"/>
              </a:cxn>
            </a:cxnLst>
            <a:rect l="0" t="0" r="r" b="b"/>
            <a:pathLst>
              <a:path w="246" h="42">
                <a:moveTo>
                  <a:pt x="27" y="36"/>
                </a:moveTo>
                <a:lnTo>
                  <a:pt x="36" y="36"/>
                </a:lnTo>
                <a:lnTo>
                  <a:pt x="45" y="35"/>
                </a:lnTo>
                <a:lnTo>
                  <a:pt x="53" y="33"/>
                </a:lnTo>
                <a:lnTo>
                  <a:pt x="59" y="31"/>
                </a:lnTo>
                <a:lnTo>
                  <a:pt x="66" y="30"/>
                </a:lnTo>
                <a:lnTo>
                  <a:pt x="72" y="29"/>
                </a:lnTo>
                <a:lnTo>
                  <a:pt x="80" y="29"/>
                </a:lnTo>
                <a:lnTo>
                  <a:pt x="87" y="30"/>
                </a:lnTo>
                <a:lnTo>
                  <a:pt x="87" y="42"/>
                </a:lnTo>
                <a:lnTo>
                  <a:pt x="154" y="42"/>
                </a:lnTo>
                <a:lnTo>
                  <a:pt x="154" y="39"/>
                </a:lnTo>
                <a:lnTo>
                  <a:pt x="156" y="36"/>
                </a:lnTo>
                <a:lnTo>
                  <a:pt x="159" y="33"/>
                </a:lnTo>
                <a:lnTo>
                  <a:pt x="163" y="31"/>
                </a:lnTo>
                <a:lnTo>
                  <a:pt x="175" y="26"/>
                </a:lnTo>
                <a:lnTo>
                  <a:pt x="190" y="23"/>
                </a:lnTo>
                <a:lnTo>
                  <a:pt x="221" y="17"/>
                </a:lnTo>
                <a:lnTo>
                  <a:pt x="246" y="12"/>
                </a:lnTo>
                <a:lnTo>
                  <a:pt x="212" y="13"/>
                </a:lnTo>
                <a:lnTo>
                  <a:pt x="186" y="14"/>
                </a:lnTo>
                <a:lnTo>
                  <a:pt x="178" y="15"/>
                </a:lnTo>
                <a:lnTo>
                  <a:pt x="171" y="15"/>
                </a:lnTo>
                <a:lnTo>
                  <a:pt x="168" y="14"/>
                </a:lnTo>
                <a:lnTo>
                  <a:pt x="167" y="12"/>
                </a:lnTo>
                <a:lnTo>
                  <a:pt x="159" y="16"/>
                </a:lnTo>
                <a:lnTo>
                  <a:pt x="152" y="17"/>
                </a:lnTo>
                <a:lnTo>
                  <a:pt x="147" y="17"/>
                </a:lnTo>
                <a:lnTo>
                  <a:pt x="141" y="15"/>
                </a:lnTo>
                <a:lnTo>
                  <a:pt x="137" y="12"/>
                </a:lnTo>
                <a:lnTo>
                  <a:pt x="133" y="9"/>
                </a:lnTo>
                <a:lnTo>
                  <a:pt x="129" y="5"/>
                </a:lnTo>
                <a:lnTo>
                  <a:pt x="126" y="0"/>
                </a:lnTo>
                <a:lnTo>
                  <a:pt x="121" y="2"/>
                </a:lnTo>
                <a:lnTo>
                  <a:pt x="113" y="4"/>
                </a:lnTo>
                <a:lnTo>
                  <a:pt x="103" y="5"/>
                </a:lnTo>
                <a:lnTo>
                  <a:pt x="93" y="5"/>
                </a:lnTo>
                <a:lnTo>
                  <a:pt x="74" y="6"/>
                </a:lnTo>
                <a:lnTo>
                  <a:pt x="60" y="6"/>
                </a:lnTo>
                <a:lnTo>
                  <a:pt x="58" y="9"/>
                </a:lnTo>
                <a:lnTo>
                  <a:pt x="56" y="12"/>
                </a:lnTo>
                <a:lnTo>
                  <a:pt x="54" y="15"/>
                </a:lnTo>
                <a:lnTo>
                  <a:pt x="50" y="17"/>
                </a:lnTo>
                <a:lnTo>
                  <a:pt x="42" y="20"/>
                </a:lnTo>
                <a:lnTo>
                  <a:pt x="33" y="22"/>
                </a:lnTo>
                <a:lnTo>
                  <a:pt x="14" y="24"/>
                </a:lnTo>
                <a:lnTo>
                  <a:pt x="0" y="24"/>
                </a:lnTo>
                <a:lnTo>
                  <a:pt x="1" y="27"/>
                </a:lnTo>
                <a:lnTo>
                  <a:pt x="3" y="29"/>
                </a:lnTo>
                <a:lnTo>
                  <a:pt x="5" y="31"/>
                </a:lnTo>
                <a:lnTo>
                  <a:pt x="9" y="33"/>
                </a:lnTo>
                <a:lnTo>
                  <a:pt x="17" y="35"/>
                </a:lnTo>
                <a:lnTo>
                  <a:pt x="27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597" name="Freeform 549"/>
          <p:cNvSpPr>
            <a:spLocks/>
          </p:cNvSpPr>
          <p:nvPr>
            <p:custDataLst>
              <p:tags r:id="rId380"/>
            </p:custDataLst>
          </p:nvPr>
        </p:nvSpPr>
        <p:spPr bwMode="auto">
          <a:xfrm>
            <a:off x="5046663" y="1072758"/>
            <a:ext cx="63500" cy="42863"/>
          </a:xfrm>
          <a:custGeom>
            <a:avLst/>
            <a:gdLst/>
            <a:ahLst/>
            <a:cxnLst>
              <a:cxn ang="0">
                <a:pos x="103" y="0"/>
              </a:cxn>
              <a:cxn ang="0">
                <a:pos x="118" y="1"/>
              </a:cxn>
              <a:cxn ang="0">
                <a:pos x="134" y="3"/>
              </a:cxn>
              <a:cxn ang="0">
                <a:pos x="145" y="5"/>
              </a:cxn>
              <a:cxn ang="0">
                <a:pos x="149" y="6"/>
              </a:cxn>
              <a:cxn ang="0">
                <a:pos x="149" y="8"/>
              </a:cxn>
              <a:cxn ang="0">
                <a:pos x="147" y="10"/>
              </a:cxn>
              <a:cxn ang="0">
                <a:pos x="145" y="12"/>
              </a:cxn>
              <a:cxn ang="0">
                <a:pos x="141" y="13"/>
              </a:cxn>
              <a:cxn ang="0">
                <a:pos x="137" y="14"/>
              </a:cxn>
              <a:cxn ang="0">
                <a:pos x="132" y="14"/>
              </a:cxn>
              <a:cxn ang="0">
                <a:pos x="127" y="14"/>
              </a:cxn>
              <a:cxn ang="0">
                <a:pos x="123" y="12"/>
              </a:cxn>
              <a:cxn ang="0">
                <a:pos x="123" y="23"/>
              </a:cxn>
              <a:cxn ang="0">
                <a:pos x="123" y="33"/>
              </a:cxn>
              <a:cxn ang="0">
                <a:pos x="123" y="41"/>
              </a:cxn>
              <a:cxn ang="0">
                <a:pos x="123" y="49"/>
              </a:cxn>
              <a:cxn ang="0">
                <a:pos x="116" y="50"/>
              </a:cxn>
              <a:cxn ang="0">
                <a:pos x="109" y="51"/>
              </a:cxn>
              <a:cxn ang="0">
                <a:pos x="104" y="53"/>
              </a:cxn>
              <a:cxn ang="0">
                <a:pos x="100" y="55"/>
              </a:cxn>
              <a:cxn ang="0">
                <a:pos x="94" y="57"/>
              </a:cxn>
              <a:cxn ang="0">
                <a:pos x="89" y="59"/>
              </a:cxn>
              <a:cxn ang="0">
                <a:pos x="83" y="61"/>
              </a:cxn>
              <a:cxn ang="0">
                <a:pos x="76" y="61"/>
              </a:cxn>
              <a:cxn ang="0">
                <a:pos x="67" y="60"/>
              </a:cxn>
              <a:cxn ang="0">
                <a:pos x="53" y="57"/>
              </a:cxn>
              <a:cxn ang="0">
                <a:pos x="39" y="54"/>
              </a:cxn>
              <a:cxn ang="0">
                <a:pos x="25" y="49"/>
              </a:cxn>
              <a:cxn ang="0">
                <a:pos x="12" y="45"/>
              </a:cxn>
              <a:cxn ang="0">
                <a:pos x="3" y="41"/>
              </a:cxn>
              <a:cxn ang="0">
                <a:pos x="1" y="39"/>
              </a:cxn>
              <a:cxn ang="0">
                <a:pos x="0" y="38"/>
              </a:cxn>
              <a:cxn ang="0">
                <a:pos x="0" y="37"/>
              </a:cxn>
              <a:cxn ang="0">
                <a:pos x="3" y="37"/>
              </a:cxn>
              <a:cxn ang="0">
                <a:pos x="19" y="36"/>
              </a:cxn>
              <a:cxn ang="0">
                <a:pos x="35" y="35"/>
              </a:cxn>
              <a:cxn ang="0">
                <a:pos x="48" y="32"/>
              </a:cxn>
              <a:cxn ang="0">
                <a:pos x="60" y="27"/>
              </a:cxn>
              <a:cxn ang="0">
                <a:pos x="72" y="22"/>
              </a:cxn>
              <a:cxn ang="0">
                <a:pos x="82" y="16"/>
              </a:cxn>
              <a:cxn ang="0">
                <a:pos x="93" y="8"/>
              </a:cxn>
              <a:cxn ang="0">
                <a:pos x="103" y="0"/>
              </a:cxn>
            </a:cxnLst>
            <a:rect l="0" t="0" r="r" b="b"/>
            <a:pathLst>
              <a:path w="149" h="61">
                <a:moveTo>
                  <a:pt x="103" y="0"/>
                </a:moveTo>
                <a:lnTo>
                  <a:pt x="118" y="1"/>
                </a:lnTo>
                <a:lnTo>
                  <a:pt x="134" y="3"/>
                </a:lnTo>
                <a:lnTo>
                  <a:pt x="145" y="5"/>
                </a:lnTo>
                <a:lnTo>
                  <a:pt x="149" y="6"/>
                </a:lnTo>
                <a:lnTo>
                  <a:pt x="149" y="8"/>
                </a:lnTo>
                <a:lnTo>
                  <a:pt x="147" y="10"/>
                </a:lnTo>
                <a:lnTo>
                  <a:pt x="145" y="12"/>
                </a:lnTo>
                <a:lnTo>
                  <a:pt x="141" y="13"/>
                </a:lnTo>
                <a:lnTo>
                  <a:pt x="137" y="14"/>
                </a:lnTo>
                <a:lnTo>
                  <a:pt x="132" y="14"/>
                </a:lnTo>
                <a:lnTo>
                  <a:pt x="127" y="14"/>
                </a:lnTo>
                <a:lnTo>
                  <a:pt x="123" y="12"/>
                </a:lnTo>
                <a:lnTo>
                  <a:pt x="123" y="23"/>
                </a:lnTo>
                <a:lnTo>
                  <a:pt x="123" y="33"/>
                </a:lnTo>
                <a:lnTo>
                  <a:pt x="123" y="41"/>
                </a:lnTo>
                <a:lnTo>
                  <a:pt x="123" y="49"/>
                </a:lnTo>
                <a:lnTo>
                  <a:pt x="116" y="50"/>
                </a:lnTo>
                <a:lnTo>
                  <a:pt x="109" y="51"/>
                </a:lnTo>
                <a:lnTo>
                  <a:pt x="104" y="53"/>
                </a:lnTo>
                <a:lnTo>
                  <a:pt x="100" y="55"/>
                </a:lnTo>
                <a:lnTo>
                  <a:pt x="94" y="57"/>
                </a:lnTo>
                <a:lnTo>
                  <a:pt x="89" y="59"/>
                </a:lnTo>
                <a:lnTo>
                  <a:pt x="83" y="61"/>
                </a:lnTo>
                <a:lnTo>
                  <a:pt x="76" y="61"/>
                </a:lnTo>
                <a:lnTo>
                  <a:pt x="67" y="60"/>
                </a:lnTo>
                <a:lnTo>
                  <a:pt x="53" y="57"/>
                </a:lnTo>
                <a:lnTo>
                  <a:pt x="39" y="54"/>
                </a:lnTo>
                <a:lnTo>
                  <a:pt x="25" y="49"/>
                </a:lnTo>
                <a:lnTo>
                  <a:pt x="12" y="45"/>
                </a:lnTo>
                <a:lnTo>
                  <a:pt x="3" y="41"/>
                </a:lnTo>
                <a:lnTo>
                  <a:pt x="1" y="39"/>
                </a:lnTo>
                <a:lnTo>
                  <a:pt x="0" y="38"/>
                </a:lnTo>
                <a:lnTo>
                  <a:pt x="0" y="37"/>
                </a:lnTo>
                <a:lnTo>
                  <a:pt x="3" y="37"/>
                </a:lnTo>
                <a:lnTo>
                  <a:pt x="19" y="36"/>
                </a:lnTo>
                <a:lnTo>
                  <a:pt x="35" y="35"/>
                </a:lnTo>
                <a:lnTo>
                  <a:pt x="48" y="32"/>
                </a:lnTo>
                <a:lnTo>
                  <a:pt x="60" y="27"/>
                </a:lnTo>
                <a:lnTo>
                  <a:pt x="72" y="22"/>
                </a:lnTo>
                <a:lnTo>
                  <a:pt x="82" y="16"/>
                </a:lnTo>
                <a:lnTo>
                  <a:pt x="93" y="8"/>
                </a:lnTo>
                <a:lnTo>
                  <a:pt x="10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2598" name="Freeform 550"/>
          <p:cNvSpPr>
            <a:spLocks/>
          </p:cNvSpPr>
          <p:nvPr>
            <p:custDataLst>
              <p:tags r:id="rId381"/>
            </p:custDataLst>
          </p:nvPr>
        </p:nvSpPr>
        <p:spPr bwMode="auto">
          <a:xfrm>
            <a:off x="5083182" y="1078711"/>
            <a:ext cx="130175" cy="42863"/>
          </a:xfrm>
          <a:custGeom>
            <a:avLst/>
            <a:gdLst/>
            <a:ahLst/>
            <a:cxnLst>
              <a:cxn ang="0">
                <a:pos x="133" y="72"/>
              </a:cxn>
              <a:cxn ang="0">
                <a:pos x="154" y="65"/>
              </a:cxn>
              <a:cxn ang="0">
                <a:pos x="178" y="54"/>
              </a:cxn>
              <a:cxn ang="0">
                <a:pos x="199" y="42"/>
              </a:cxn>
              <a:cxn ang="0">
                <a:pos x="207" y="40"/>
              </a:cxn>
              <a:cxn ang="0">
                <a:pos x="211" y="46"/>
              </a:cxn>
              <a:cxn ang="0">
                <a:pos x="220" y="51"/>
              </a:cxn>
              <a:cxn ang="0">
                <a:pos x="243" y="55"/>
              </a:cxn>
              <a:cxn ang="0">
                <a:pos x="269" y="55"/>
              </a:cxn>
              <a:cxn ang="0">
                <a:pos x="286" y="55"/>
              </a:cxn>
              <a:cxn ang="0">
                <a:pos x="293" y="46"/>
              </a:cxn>
              <a:cxn ang="0">
                <a:pos x="298" y="31"/>
              </a:cxn>
              <a:cxn ang="0">
                <a:pos x="279" y="25"/>
              </a:cxn>
              <a:cxn ang="0">
                <a:pos x="244" y="25"/>
              </a:cxn>
              <a:cxn ang="0">
                <a:pos x="225" y="25"/>
              </a:cxn>
              <a:cxn ang="0">
                <a:pos x="214" y="27"/>
              </a:cxn>
              <a:cxn ang="0">
                <a:pos x="204" y="33"/>
              </a:cxn>
              <a:cxn ang="0">
                <a:pos x="172" y="37"/>
              </a:cxn>
              <a:cxn ang="0">
                <a:pos x="176" y="28"/>
              </a:cxn>
              <a:cxn ang="0">
                <a:pos x="180" y="21"/>
              </a:cxn>
              <a:cxn ang="0">
                <a:pos x="194" y="13"/>
              </a:cxn>
              <a:cxn ang="0">
                <a:pos x="210" y="9"/>
              </a:cxn>
              <a:cxn ang="0">
                <a:pos x="225" y="0"/>
              </a:cxn>
              <a:cxn ang="0">
                <a:pos x="185" y="3"/>
              </a:cxn>
              <a:cxn ang="0">
                <a:pos x="157" y="11"/>
              </a:cxn>
              <a:cxn ang="0">
                <a:pos x="134" y="25"/>
              </a:cxn>
              <a:cxn ang="0">
                <a:pos x="114" y="40"/>
              </a:cxn>
              <a:cxn ang="0">
                <a:pos x="100" y="53"/>
              </a:cxn>
              <a:cxn ang="0">
                <a:pos x="87" y="59"/>
              </a:cxn>
              <a:cxn ang="0">
                <a:pos x="64" y="63"/>
              </a:cxn>
              <a:cxn ang="0">
                <a:pos x="32" y="64"/>
              </a:cxn>
              <a:cxn ang="0">
                <a:pos x="12" y="67"/>
              </a:cxn>
              <a:cxn ang="0">
                <a:pos x="2" y="70"/>
              </a:cxn>
              <a:cxn ang="0">
                <a:pos x="39" y="74"/>
              </a:cxn>
              <a:cxn ang="0">
                <a:pos x="102" y="74"/>
              </a:cxn>
            </a:cxnLst>
            <a:rect l="0" t="0" r="r" b="b"/>
            <a:pathLst>
              <a:path w="299" h="74">
                <a:moveTo>
                  <a:pt x="126" y="74"/>
                </a:moveTo>
                <a:lnTo>
                  <a:pt x="133" y="72"/>
                </a:lnTo>
                <a:lnTo>
                  <a:pt x="142" y="69"/>
                </a:lnTo>
                <a:lnTo>
                  <a:pt x="154" y="65"/>
                </a:lnTo>
                <a:lnTo>
                  <a:pt x="166" y="60"/>
                </a:lnTo>
                <a:lnTo>
                  <a:pt x="178" y="54"/>
                </a:lnTo>
                <a:lnTo>
                  <a:pt x="189" y="48"/>
                </a:lnTo>
                <a:lnTo>
                  <a:pt x="199" y="42"/>
                </a:lnTo>
                <a:lnTo>
                  <a:pt x="205" y="37"/>
                </a:lnTo>
                <a:lnTo>
                  <a:pt x="207" y="40"/>
                </a:lnTo>
                <a:lnTo>
                  <a:pt x="209" y="43"/>
                </a:lnTo>
                <a:lnTo>
                  <a:pt x="211" y="46"/>
                </a:lnTo>
                <a:lnTo>
                  <a:pt x="214" y="48"/>
                </a:lnTo>
                <a:lnTo>
                  <a:pt x="220" y="51"/>
                </a:lnTo>
                <a:lnTo>
                  <a:pt x="227" y="53"/>
                </a:lnTo>
                <a:lnTo>
                  <a:pt x="243" y="55"/>
                </a:lnTo>
                <a:lnTo>
                  <a:pt x="259" y="55"/>
                </a:lnTo>
                <a:lnTo>
                  <a:pt x="269" y="55"/>
                </a:lnTo>
                <a:lnTo>
                  <a:pt x="278" y="55"/>
                </a:lnTo>
                <a:lnTo>
                  <a:pt x="286" y="55"/>
                </a:lnTo>
                <a:lnTo>
                  <a:pt x="292" y="55"/>
                </a:lnTo>
                <a:lnTo>
                  <a:pt x="293" y="46"/>
                </a:lnTo>
                <a:lnTo>
                  <a:pt x="295" y="38"/>
                </a:lnTo>
                <a:lnTo>
                  <a:pt x="298" y="31"/>
                </a:lnTo>
                <a:lnTo>
                  <a:pt x="299" y="25"/>
                </a:lnTo>
                <a:lnTo>
                  <a:pt x="279" y="25"/>
                </a:lnTo>
                <a:lnTo>
                  <a:pt x="260" y="25"/>
                </a:lnTo>
                <a:lnTo>
                  <a:pt x="244" y="25"/>
                </a:lnTo>
                <a:lnTo>
                  <a:pt x="232" y="25"/>
                </a:lnTo>
                <a:lnTo>
                  <a:pt x="225" y="25"/>
                </a:lnTo>
                <a:lnTo>
                  <a:pt x="220" y="26"/>
                </a:lnTo>
                <a:lnTo>
                  <a:pt x="214" y="27"/>
                </a:lnTo>
                <a:lnTo>
                  <a:pt x="211" y="29"/>
                </a:lnTo>
                <a:lnTo>
                  <a:pt x="204" y="33"/>
                </a:lnTo>
                <a:lnTo>
                  <a:pt x="199" y="37"/>
                </a:lnTo>
                <a:lnTo>
                  <a:pt x="172" y="37"/>
                </a:lnTo>
                <a:lnTo>
                  <a:pt x="174" y="32"/>
                </a:lnTo>
                <a:lnTo>
                  <a:pt x="176" y="28"/>
                </a:lnTo>
                <a:lnTo>
                  <a:pt x="178" y="24"/>
                </a:lnTo>
                <a:lnTo>
                  <a:pt x="180" y="21"/>
                </a:lnTo>
                <a:lnTo>
                  <a:pt x="187" y="16"/>
                </a:lnTo>
                <a:lnTo>
                  <a:pt x="194" y="13"/>
                </a:lnTo>
                <a:lnTo>
                  <a:pt x="202" y="11"/>
                </a:lnTo>
                <a:lnTo>
                  <a:pt x="210" y="9"/>
                </a:lnTo>
                <a:lnTo>
                  <a:pt x="217" y="5"/>
                </a:lnTo>
                <a:lnTo>
                  <a:pt x="225" y="0"/>
                </a:lnTo>
                <a:lnTo>
                  <a:pt x="199" y="0"/>
                </a:lnTo>
                <a:lnTo>
                  <a:pt x="185" y="3"/>
                </a:lnTo>
                <a:lnTo>
                  <a:pt x="170" y="7"/>
                </a:lnTo>
                <a:lnTo>
                  <a:pt x="157" y="11"/>
                </a:lnTo>
                <a:lnTo>
                  <a:pt x="145" y="18"/>
                </a:lnTo>
                <a:lnTo>
                  <a:pt x="134" y="25"/>
                </a:lnTo>
                <a:lnTo>
                  <a:pt x="123" y="32"/>
                </a:lnTo>
                <a:lnTo>
                  <a:pt x="114" y="40"/>
                </a:lnTo>
                <a:lnTo>
                  <a:pt x="105" y="49"/>
                </a:lnTo>
                <a:lnTo>
                  <a:pt x="100" y="53"/>
                </a:lnTo>
                <a:lnTo>
                  <a:pt x="95" y="56"/>
                </a:lnTo>
                <a:lnTo>
                  <a:pt x="87" y="59"/>
                </a:lnTo>
                <a:lnTo>
                  <a:pt x="80" y="61"/>
                </a:lnTo>
                <a:lnTo>
                  <a:pt x="64" y="63"/>
                </a:lnTo>
                <a:lnTo>
                  <a:pt x="47" y="64"/>
                </a:lnTo>
                <a:lnTo>
                  <a:pt x="32" y="64"/>
                </a:lnTo>
                <a:lnTo>
                  <a:pt x="18" y="65"/>
                </a:lnTo>
                <a:lnTo>
                  <a:pt x="12" y="67"/>
                </a:lnTo>
                <a:lnTo>
                  <a:pt x="7" y="68"/>
                </a:lnTo>
                <a:lnTo>
                  <a:pt x="2" y="70"/>
                </a:lnTo>
                <a:lnTo>
                  <a:pt x="0" y="74"/>
                </a:lnTo>
                <a:lnTo>
                  <a:pt x="39" y="74"/>
                </a:lnTo>
                <a:lnTo>
                  <a:pt x="73" y="74"/>
                </a:lnTo>
                <a:lnTo>
                  <a:pt x="102" y="74"/>
                </a:lnTo>
                <a:lnTo>
                  <a:pt x="126" y="7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77898" tIns="38949" rIns="77898" bIns="38949"/>
          <a:lstStyle/>
          <a:p>
            <a:endParaRPr lang="en-US" dirty="0"/>
          </a:p>
        </p:txBody>
      </p:sp>
      <p:sp>
        <p:nvSpPr>
          <p:cNvPr id="557" name="TextBox 556"/>
          <p:cNvSpPr txBox="1"/>
          <p:nvPr/>
        </p:nvSpPr>
        <p:spPr>
          <a:xfrm>
            <a:off x="4343400" y="685809"/>
            <a:ext cx="838200" cy="232547"/>
          </a:xfrm>
          <a:prstGeom prst="rect">
            <a:avLst/>
          </a:prstGeom>
          <a:noFill/>
        </p:spPr>
        <p:txBody>
          <a:bodyPr wrap="square" lIns="77898" tIns="38949" rIns="77898" bIns="38949" rtlCol="0">
            <a:spAutoFit/>
          </a:bodyPr>
          <a:lstStyle/>
          <a:p>
            <a:r>
              <a:rPr lang="en-US" sz="1000" dirty="0" smtClean="0"/>
              <a:t>WMO</a:t>
            </a:r>
            <a:endParaRPr lang="en-US" sz="1000" dirty="0"/>
          </a:p>
        </p:txBody>
      </p:sp>
      <p:sp>
        <p:nvSpPr>
          <p:cNvPr id="565" name="Title 1"/>
          <p:cNvSpPr txBox="1">
            <a:spLocks/>
          </p:cNvSpPr>
          <p:nvPr/>
        </p:nvSpPr>
        <p:spPr>
          <a:xfrm>
            <a:off x="390144" y="0"/>
            <a:ext cx="8229600" cy="715565"/>
          </a:xfrm>
          <a:prstGeom prst="rect">
            <a:avLst/>
          </a:prstGeom>
          <a:solidFill>
            <a:srgbClr val="7030A0"/>
          </a:solidFill>
        </p:spPr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Newsletter Readers across the world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566" name="TextBox 565"/>
          <p:cNvSpPr txBox="1"/>
          <p:nvPr/>
        </p:nvSpPr>
        <p:spPr>
          <a:xfrm>
            <a:off x="2109216" y="4487477"/>
            <a:ext cx="5118679" cy="294120"/>
          </a:xfrm>
          <a:prstGeom prst="rect">
            <a:avLst/>
          </a:prstGeom>
          <a:solidFill>
            <a:srgbClr val="009900"/>
          </a:solidFill>
        </p:spPr>
        <p:txBody>
          <a:bodyPr wrap="square" lIns="77916" tIns="38958" rIns="77916" bIns="38958" rtlCol="0">
            <a:spAutoFit/>
          </a:bodyPr>
          <a:lstStyle/>
          <a:p>
            <a:r>
              <a:rPr lang="en-US" sz="1400" dirty="0" smtClean="0"/>
              <a:t>Subscribed to by </a:t>
            </a:r>
            <a:r>
              <a:rPr lang="en-US" sz="1400" smtClean="0"/>
              <a:t>over </a:t>
            </a:r>
            <a:r>
              <a:rPr lang="en-US" sz="1400" smtClean="0"/>
              <a:t>320 </a:t>
            </a:r>
            <a:r>
              <a:rPr lang="en-US" sz="1400" dirty="0" smtClean="0"/>
              <a:t>members across the world </a:t>
            </a:r>
            <a:endParaRPr lang="en-US" sz="14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8714" y="5"/>
            <a:ext cx="8229600" cy="576943"/>
          </a:xfrm>
          <a:solidFill>
            <a:srgbClr val="7030A0"/>
          </a:solidFill>
        </p:spPr>
        <p:txBody>
          <a:bodyPr/>
          <a:lstStyle/>
          <a:p>
            <a:r>
              <a:rPr lang="en-US" dirty="0" smtClean="0"/>
              <a:t>Newsletter Article Review process</a:t>
            </a:r>
            <a:endParaRPr lang="en-US" dirty="0"/>
          </a:p>
        </p:txBody>
      </p:sp>
      <p:sp>
        <p:nvSpPr>
          <p:cNvPr id="3074" name="Text Box 2"/>
          <p:cNvSpPr txBox="1">
            <a:spLocks noChangeArrowheads="1"/>
          </p:cNvSpPr>
          <p:nvPr/>
        </p:nvSpPr>
        <p:spPr bwMode="auto">
          <a:xfrm>
            <a:off x="436386" y="1163108"/>
            <a:ext cx="2057400" cy="714375"/>
          </a:xfrm>
          <a:prstGeom prst="rect">
            <a:avLst/>
          </a:prstGeom>
          <a:solidFill>
            <a:srgbClr val="00B050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91388" tIns="45692" rIns="91388" bIns="45692" numCol="1" anchor="t" anchorCtr="0" compatLnSpc="1">
            <a:prstTxWarp prst="textNoShape">
              <a:avLst/>
            </a:prstTxWarp>
          </a:bodyPr>
          <a:lstStyle/>
          <a:p>
            <a:pPr defTabSz="913880">
              <a:spcAft>
                <a:spcPts val="1000"/>
              </a:spcAft>
            </a:pPr>
            <a:r>
              <a:rPr lang="en-US" sz="1100" b="0" dirty="0" smtClean="0">
                <a:solidFill>
                  <a:schemeClr val="tx1"/>
                </a:solidFill>
                <a:latin typeface="Calibri" pitchFamily="34" charset="0"/>
                <a:cs typeface="Arial" pitchFamily="34" charset="0"/>
              </a:rPr>
              <a:t>Articles are solicited round the year however  call is sent out every quarter via the GSICS Dev.</a:t>
            </a:r>
          </a:p>
          <a:p>
            <a:pPr defTabSz="913880">
              <a:spcAft>
                <a:spcPts val="1000"/>
              </a:spcAft>
            </a:pPr>
            <a:r>
              <a:rPr lang="en-US" sz="1100" b="0" dirty="0" smtClean="0">
                <a:solidFill>
                  <a:schemeClr val="tx1"/>
                </a:solidFill>
                <a:latin typeface="Calibri" pitchFamily="34" charset="0"/>
                <a:cs typeface="Arial" pitchFamily="34" charset="0"/>
              </a:rPr>
              <a:t> </a:t>
            </a:r>
            <a:endParaRPr lang="en-US" sz="1800" b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075" name="Text Box 3"/>
          <p:cNvSpPr txBox="1">
            <a:spLocks noChangeArrowheads="1"/>
          </p:cNvSpPr>
          <p:nvPr/>
        </p:nvSpPr>
        <p:spPr bwMode="auto">
          <a:xfrm>
            <a:off x="3135766" y="1137560"/>
            <a:ext cx="2590800" cy="714375"/>
          </a:xfrm>
          <a:prstGeom prst="rect">
            <a:avLst/>
          </a:prstGeom>
          <a:solidFill>
            <a:srgbClr val="00B050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91388" tIns="45692" rIns="91388" bIns="45692" numCol="1" anchor="t" anchorCtr="0" compatLnSpc="1">
            <a:prstTxWarp prst="textNoShape">
              <a:avLst/>
            </a:prstTxWarp>
          </a:bodyPr>
          <a:lstStyle/>
          <a:p>
            <a:pPr defTabSz="913880">
              <a:spcAft>
                <a:spcPts val="1000"/>
              </a:spcAft>
            </a:pPr>
            <a:r>
              <a:rPr lang="en-US" sz="1100" b="0" dirty="0" smtClean="0">
                <a:solidFill>
                  <a:schemeClr val="tx1"/>
                </a:solidFill>
                <a:latin typeface="Calibri" pitchFamily="34" charset="0"/>
                <a:cs typeface="Arial" pitchFamily="34" charset="0"/>
              </a:rPr>
              <a:t>Articles are sent to the Newsletter Editor directly or via GSICS Correspondents or Chairs of GSICS Groups/Subgroups.</a:t>
            </a:r>
          </a:p>
          <a:p>
            <a:pPr defTabSz="913880">
              <a:spcAft>
                <a:spcPts val="1000"/>
              </a:spcAft>
            </a:pPr>
            <a:r>
              <a:rPr lang="en-US" sz="1100" b="0" dirty="0" smtClean="0">
                <a:solidFill>
                  <a:schemeClr val="tx1"/>
                </a:solidFill>
                <a:latin typeface="Calibri" pitchFamily="34" charset="0"/>
                <a:cs typeface="Arial" pitchFamily="34" charset="0"/>
              </a:rPr>
              <a:t> </a:t>
            </a:r>
            <a:endParaRPr lang="en-US" sz="1800" b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076" name="Text Box 4"/>
          <p:cNvSpPr txBox="1">
            <a:spLocks noChangeArrowheads="1"/>
          </p:cNvSpPr>
          <p:nvPr/>
        </p:nvSpPr>
        <p:spPr bwMode="auto">
          <a:xfrm>
            <a:off x="6128657" y="936854"/>
            <a:ext cx="2362200" cy="2447925"/>
          </a:xfrm>
          <a:prstGeom prst="rect">
            <a:avLst/>
          </a:prstGeom>
          <a:solidFill>
            <a:srgbClr val="00B050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91388" tIns="45692" rIns="91388" bIns="45692" numCol="1" anchor="t" anchorCtr="0" compatLnSpc="1">
            <a:prstTxWarp prst="textNoShape">
              <a:avLst/>
            </a:prstTxWarp>
          </a:bodyPr>
          <a:lstStyle/>
          <a:p>
            <a:pPr defTabSz="913880">
              <a:spcAft>
                <a:spcPts val="1000"/>
              </a:spcAft>
            </a:pPr>
            <a:r>
              <a:rPr lang="en-US" sz="1100" b="0" dirty="0" smtClean="0">
                <a:solidFill>
                  <a:schemeClr val="tx1"/>
                </a:solidFill>
                <a:latin typeface="Calibri" pitchFamily="34" charset="0"/>
                <a:cs typeface="Arial" pitchFamily="34" charset="0"/>
              </a:rPr>
              <a:t>Editor has a preliminary look at the article and  checks.</a:t>
            </a:r>
          </a:p>
          <a:p>
            <a:pPr marL="456940" lvl="1" defTabSz="913880">
              <a:spcAft>
                <a:spcPts val="1000"/>
              </a:spcAft>
              <a:buFont typeface="Calibri" pitchFamily="34" charset="0"/>
              <a:buChar char="1"/>
            </a:pPr>
            <a:r>
              <a:rPr lang="en-US" sz="1100" b="0" dirty="0" smtClean="0">
                <a:solidFill>
                  <a:schemeClr val="tx1"/>
                </a:solidFill>
                <a:latin typeface="Times New Roman" pitchFamily="18" charset="0"/>
                <a:cs typeface="Arial" pitchFamily="34" charset="0"/>
              </a:rPr>
              <a:t>If the article falls within the scope of GSICS/WMO/CGMS /GPM-X or scope of its partners including the 3G</a:t>
            </a:r>
          </a:p>
          <a:p>
            <a:pPr defTabSz="913880">
              <a:spcAft>
                <a:spcPts val="1000"/>
              </a:spcAft>
              <a:buFont typeface="Calibri" pitchFamily="34" charset="0"/>
              <a:buChar char="2"/>
            </a:pPr>
            <a:r>
              <a:rPr lang="en-US" sz="1100" b="0" dirty="0" smtClean="0">
                <a:solidFill>
                  <a:schemeClr val="tx1"/>
                </a:solidFill>
                <a:latin typeface="Times New Roman" pitchFamily="18" charset="0"/>
                <a:cs typeface="Arial" pitchFamily="34" charset="0"/>
              </a:rPr>
              <a:t>Article falls within the 700-800 word limit with 2 Figures and 1 table.</a:t>
            </a:r>
          </a:p>
          <a:p>
            <a:pPr defTabSz="913880">
              <a:spcAft>
                <a:spcPts val="1000"/>
              </a:spcAft>
              <a:buFont typeface="Calibri" pitchFamily="34" charset="0"/>
              <a:buChar char="3"/>
            </a:pPr>
            <a:r>
              <a:rPr lang="en-US" sz="1100" b="0" dirty="0" smtClean="0">
                <a:solidFill>
                  <a:schemeClr val="tx1"/>
                </a:solidFill>
                <a:latin typeface="Times New Roman" pitchFamily="18" charset="0"/>
                <a:cs typeface="Arial" pitchFamily="34" charset="0"/>
              </a:rPr>
              <a:t>If the article is a lead article it fulfils lead article criterion</a:t>
            </a:r>
          </a:p>
          <a:p>
            <a:pPr defTabSz="913880">
              <a:spcAft>
                <a:spcPts val="1000"/>
              </a:spcAft>
            </a:pPr>
            <a:r>
              <a:rPr lang="en-US" sz="1100" b="0" dirty="0" smtClean="0">
                <a:solidFill>
                  <a:schemeClr val="tx1"/>
                </a:solidFill>
                <a:latin typeface="Calibri" pitchFamily="34" charset="0"/>
                <a:cs typeface="Arial" pitchFamily="34" charset="0"/>
              </a:rPr>
              <a:t> </a:t>
            </a:r>
            <a:endParaRPr lang="en-US" sz="1800" b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077" name="Text Box 5"/>
          <p:cNvSpPr txBox="1">
            <a:spLocks noChangeArrowheads="1"/>
          </p:cNvSpPr>
          <p:nvPr/>
        </p:nvSpPr>
        <p:spPr bwMode="auto">
          <a:xfrm>
            <a:off x="481672" y="3526695"/>
            <a:ext cx="2547937" cy="1447800"/>
          </a:xfrm>
          <a:prstGeom prst="rect">
            <a:avLst/>
          </a:prstGeom>
          <a:solidFill>
            <a:srgbClr val="00B050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91388" tIns="45692" rIns="91388" bIns="45692" numCol="1" anchor="t" anchorCtr="0" compatLnSpc="1">
            <a:prstTxWarp prst="textNoShape">
              <a:avLst/>
            </a:prstTxWarp>
          </a:bodyPr>
          <a:lstStyle/>
          <a:p>
            <a:pPr defTabSz="913880">
              <a:spcAft>
                <a:spcPts val="1000"/>
              </a:spcAft>
            </a:pPr>
            <a:r>
              <a:rPr lang="en-US" sz="1100" b="0" dirty="0" smtClean="0">
                <a:solidFill>
                  <a:schemeClr val="tx1"/>
                </a:solidFill>
                <a:latin typeface="Calibri" pitchFamily="34" charset="0"/>
                <a:cs typeface="Arial" pitchFamily="34" charset="0"/>
              </a:rPr>
              <a:t>If the editor decides to publish the article, the article is sent to a proof reader or/and a subject expert reviewer.</a:t>
            </a:r>
          </a:p>
          <a:p>
            <a:pPr defTabSz="913880">
              <a:spcAft>
                <a:spcPts val="1000"/>
              </a:spcAft>
            </a:pPr>
            <a:r>
              <a:rPr lang="en-US" sz="1100" b="0" dirty="0" smtClean="0">
                <a:solidFill>
                  <a:schemeClr val="tx1"/>
                </a:solidFill>
                <a:latin typeface="Calibri" pitchFamily="34" charset="0"/>
                <a:cs typeface="Arial" pitchFamily="34" charset="0"/>
              </a:rPr>
              <a:t>Editor may decide to send the article directly to a reviewer or via a proof reader.</a:t>
            </a:r>
            <a:endParaRPr lang="en-US" sz="1800" b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078" name="Text Box 6"/>
          <p:cNvSpPr txBox="1">
            <a:spLocks noChangeArrowheads="1"/>
          </p:cNvSpPr>
          <p:nvPr/>
        </p:nvSpPr>
        <p:spPr bwMode="auto">
          <a:xfrm>
            <a:off x="3735161" y="3646035"/>
            <a:ext cx="2362200" cy="1295400"/>
          </a:xfrm>
          <a:prstGeom prst="rect">
            <a:avLst/>
          </a:prstGeom>
          <a:solidFill>
            <a:srgbClr val="00B050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91388" tIns="45692" rIns="91388" bIns="45692" numCol="1" anchor="t" anchorCtr="0" compatLnSpc="1">
            <a:prstTxWarp prst="textNoShape">
              <a:avLst/>
            </a:prstTxWarp>
          </a:bodyPr>
          <a:lstStyle/>
          <a:p>
            <a:pPr defTabSz="913880">
              <a:spcAft>
                <a:spcPts val="1000"/>
              </a:spcAft>
            </a:pPr>
            <a:r>
              <a:rPr lang="en-US" sz="1100" b="0" dirty="0" smtClean="0">
                <a:solidFill>
                  <a:schemeClr val="tx1"/>
                </a:solidFill>
                <a:latin typeface="Calibri" pitchFamily="34" charset="0"/>
                <a:cs typeface="Arial" pitchFamily="34" charset="0"/>
              </a:rPr>
              <a:t>Editor forwards the Comments from the reviewer to the author who makes changes and re-submits the article to the editor who forwards them back to the reviewer for his final  go ahead. </a:t>
            </a:r>
            <a:endParaRPr lang="en-US" sz="1800" b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079" name="Text Box 7"/>
          <p:cNvSpPr txBox="1">
            <a:spLocks noChangeArrowheads="1"/>
          </p:cNvSpPr>
          <p:nvPr/>
        </p:nvSpPr>
        <p:spPr bwMode="auto">
          <a:xfrm>
            <a:off x="6781800" y="3505200"/>
            <a:ext cx="2362200" cy="1638300"/>
          </a:xfrm>
          <a:prstGeom prst="rect">
            <a:avLst/>
          </a:prstGeom>
          <a:solidFill>
            <a:srgbClr val="00B050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91388" tIns="45692" rIns="91388" bIns="45692" numCol="1" anchor="t" anchorCtr="0" compatLnSpc="1">
            <a:prstTxWarp prst="textNoShape">
              <a:avLst/>
            </a:prstTxWarp>
          </a:bodyPr>
          <a:lstStyle/>
          <a:p>
            <a:pPr defTabSz="913880">
              <a:spcAft>
                <a:spcPts val="1000"/>
              </a:spcAft>
            </a:pPr>
            <a:r>
              <a:rPr lang="en-US" sz="1100" b="0" dirty="0" smtClean="0">
                <a:solidFill>
                  <a:schemeClr val="tx1"/>
                </a:solidFill>
                <a:latin typeface="Calibri" pitchFamily="34" charset="0"/>
                <a:cs typeface="Arial" pitchFamily="34" charset="0"/>
              </a:rPr>
              <a:t>Editor procures </a:t>
            </a:r>
            <a:r>
              <a:rPr lang="en-US" sz="1100" u="sng" dirty="0" err="1" smtClean="0">
                <a:solidFill>
                  <a:schemeClr val="tx1"/>
                </a:solidFill>
                <a:latin typeface="Calibri" pitchFamily="34" charset="0"/>
                <a:cs typeface="Arial" pitchFamily="34" charset="0"/>
              </a:rPr>
              <a:t>doi</a:t>
            </a:r>
            <a:r>
              <a:rPr lang="en-US" sz="1100" b="0" dirty="0" smtClean="0">
                <a:solidFill>
                  <a:schemeClr val="tx1"/>
                </a:solidFill>
                <a:latin typeface="Calibri" pitchFamily="34" charset="0"/>
                <a:cs typeface="Arial" pitchFamily="34" charset="0"/>
              </a:rPr>
              <a:t> number from NOAA library and pastes  it into the Newsletter and gives the final copy of the newsletter to the technical expert for release via </a:t>
            </a:r>
            <a:r>
              <a:rPr lang="en-US" sz="1100" b="0" dirty="0" err="1" smtClean="0">
                <a:solidFill>
                  <a:schemeClr val="tx1"/>
                </a:solidFill>
                <a:latin typeface="Calibri" pitchFamily="34" charset="0"/>
                <a:cs typeface="Arial" pitchFamily="34" charset="0"/>
              </a:rPr>
              <a:t>mailcimp</a:t>
            </a:r>
            <a:r>
              <a:rPr lang="en-US" sz="1100" b="0" dirty="0" smtClean="0">
                <a:solidFill>
                  <a:schemeClr val="tx1"/>
                </a:solidFill>
                <a:latin typeface="Calibri" pitchFamily="34" charset="0"/>
                <a:cs typeface="Arial" pitchFamily="34" charset="0"/>
              </a:rPr>
              <a:t>. The technical expert releases I and also makes a web version of the lead article.  </a:t>
            </a:r>
            <a:endParaRPr lang="en-US" sz="1800" b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ight Arrow 17"/>
          <p:cNvSpPr/>
          <p:nvPr/>
        </p:nvSpPr>
        <p:spPr>
          <a:xfrm>
            <a:off x="2551294" y="1136147"/>
            <a:ext cx="541867" cy="624921"/>
          </a:xfrm>
          <a:prstGeom prst="rightArrow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692" rIns="91388" bIns="45692" rtlCol="0" anchor="ctr"/>
          <a:lstStyle/>
          <a:p>
            <a:pPr algn="ctr"/>
            <a:endParaRPr lang="en-US"/>
          </a:p>
        </p:txBody>
      </p:sp>
      <p:sp>
        <p:nvSpPr>
          <p:cNvPr id="19" name="Right Arrow 18"/>
          <p:cNvSpPr/>
          <p:nvPr/>
        </p:nvSpPr>
        <p:spPr>
          <a:xfrm>
            <a:off x="5751694" y="1198235"/>
            <a:ext cx="389467" cy="624921"/>
          </a:xfrm>
          <a:prstGeom prst="rightArrow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692" rIns="91388" bIns="45692" rtlCol="0" anchor="ctr"/>
          <a:lstStyle/>
          <a:p>
            <a:pPr algn="ctr"/>
            <a:endParaRPr lang="en-US"/>
          </a:p>
        </p:txBody>
      </p:sp>
      <p:sp>
        <p:nvSpPr>
          <p:cNvPr id="20" name="Right Arrow 19"/>
          <p:cNvSpPr/>
          <p:nvPr/>
        </p:nvSpPr>
        <p:spPr>
          <a:xfrm>
            <a:off x="3036711" y="3964013"/>
            <a:ext cx="716846" cy="624921"/>
          </a:xfrm>
          <a:prstGeom prst="rightArrow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692" rIns="91388" bIns="45692" rtlCol="0" anchor="ctr"/>
          <a:lstStyle/>
          <a:p>
            <a:pPr algn="ctr"/>
            <a:endParaRPr lang="en-US"/>
          </a:p>
        </p:txBody>
      </p:sp>
      <p:sp>
        <p:nvSpPr>
          <p:cNvPr id="21" name="Right Arrow 20"/>
          <p:cNvSpPr/>
          <p:nvPr/>
        </p:nvSpPr>
        <p:spPr>
          <a:xfrm>
            <a:off x="6203249" y="3964013"/>
            <a:ext cx="541867" cy="624921"/>
          </a:xfrm>
          <a:prstGeom prst="rightArrow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692" rIns="91388" bIns="45692" rtlCol="0" anchor="ctr"/>
          <a:lstStyle/>
          <a:p>
            <a:pPr algn="ctr"/>
            <a:endParaRPr lang="en-US"/>
          </a:p>
        </p:txBody>
      </p:sp>
      <p:sp>
        <p:nvSpPr>
          <p:cNvPr id="22" name="Right Arrow 21"/>
          <p:cNvSpPr/>
          <p:nvPr/>
        </p:nvSpPr>
        <p:spPr>
          <a:xfrm rot="10800000">
            <a:off x="5503338" y="2552900"/>
            <a:ext cx="541867" cy="624921"/>
          </a:xfrm>
          <a:prstGeom prst="rightArrow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692" rIns="91388" bIns="45692" rtlCol="0" anchor="ctr"/>
          <a:lstStyle/>
          <a:p>
            <a:pPr algn="ctr"/>
            <a:endParaRPr lang="en-US"/>
          </a:p>
        </p:txBody>
      </p:sp>
      <p:sp>
        <p:nvSpPr>
          <p:cNvPr id="23" name="Bent-Up Arrow 22"/>
          <p:cNvSpPr/>
          <p:nvPr/>
        </p:nvSpPr>
        <p:spPr>
          <a:xfrm rot="10800000">
            <a:off x="1524000" y="2856089"/>
            <a:ext cx="756356" cy="609600"/>
          </a:xfrm>
          <a:prstGeom prst="bentUpArrow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692" rIns="91388" bIns="45692" rtlCol="0" anchor="ctr"/>
          <a:lstStyle/>
          <a:p>
            <a:pPr algn="ctr"/>
            <a:endParaRPr lang="en-US"/>
          </a:p>
        </p:txBody>
      </p:sp>
      <p:grpSp>
        <p:nvGrpSpPr>
          <p:cNvPr id="16" name="Group 15"/>
          <p:cNvGrpSpPr/>
          <p:nvPr/>
        </p:nvGrpSpPr>
        <p:grpSpPr>
          <a:xfrm>
            <a:off x="514057" y="620488"/>
            <a:ext cx="8447314" cy="4404891"/>
            <a:chOff x="295936" y="500743"/>
            <a:chExt cx="8577943" cy="4679169"/>
          </a:xfrm>
        </p:grpSpPr>
        <p:grpSp>
          <p:nvGrpSpPr>
            <p:cNvPr id="15" name="Group 14"/>
            <p:cNvGrpSpPr/>
            <p:nvPr/>
          </p:nvGrpSpPr>
          <p:grpSpPr>
            <a:xfrm>
              <a:off x="295936" y="500743"/>
              <a:ext cx="8577943" cy="4642757"/>
              <a:chOff x="295936" y="500743"/>
              <a:chExt cx="8577943" cy="4642757"/>
            </a:xfrm>
          </p:grpSpPr>
          <p:grpSp>
            <p:nvGrpSpPr>
              <p:cNvPr id="10" name="Group 9"/>
              <p:cNvGrpSpPr/>
              <p:nvPr/>
            </p:nvGrpSpPr>
            <p:grpSpPr>
              <a:xfrm>
                <a:off x="295936" y="500743"/>
                <a:ext cx="8577943" cy="4642757"/>
                <a:chOff x="5447235" y="389467"/>
                <a:chExt cx="8026400" cy="4766733"/>
              </a:xfrm>
            </p:grpSpPr>
            <p:graphicFrame>
              <p:nvGraphicFramePr>
                <p:cNvPr id="11" name="Diagram 10"/>
                <p:cNvGraphicFramePr/>
                <p:nvPr/>
              </p:nvGraphicFramePr>
              <p:xfrm>
                <a:off x="5447235" y="389467"/>
                <a:ext cx="8026400" cy="4766733"/>
              </p:xfrm>
              <a:graphic>
                <a:graphicData uri="http://schemas.openxmlformats.org/drawingml/2006/diagram">
                  <dgm:relIds xmlns:dgm="http://schemas.openxmlformats.org/drawingml/2006/diagram" xmlns:r="http://schemas.openxmlformats.org/officeDocument/2006/relationships" r:dm="rId2" r:lo="rId3" r:qs="rId4" r:cs="rId5"/>
                </a:graphicData>
              </a:graphic>
            </p:graphicFrame>
            <p:sp>
              <p:nvSpPr>
                <p:cNvPr id="12" name="TextBox 11"/>
                <p:cNvSpPr txBox="1"/>
                <p:nvPr/>
              </p:nvSpPr>
              <p:spPr>
                <a:xfrm>
                  <a:off x="8615067" y="2769810"/>
                  <a:ext cx="1524000" cy="503507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sz="1200" dirty="0" smtClean="0">
                      <a:solidFill>
                        <a:srgbClr val="002060"/>
                      </a:solidFill>
                    </a:rPr>
                    <a:t>Newsletter review</a:t>
                  </a:r>
                </a:p>
                <a:p>
                  <a:r>
                    <a:rPr lang="en-US" sz="1200" dirty="0" smtClean="0">
                      <a:solidFill>
                        <a:srgbClr val="002060"/>
                      </a:solidFill>
                    </a:rPr>
                    <a:t>Guiding Principal</a:t>
                  </a:r>
                  <a:endParaRPr lang="en-US" sz="1200" dirty="0">
                    <a:solidFill>
                      <a:srgbClr val="002060"/>
                    </a:solidFill>
                  </a:endParaRPr>
                </a:p>
              </p:txBody>
            </p:sp>
          </p:grpSp>
          <p:sp>
            <p:nvSpPr>
              <p:cNvPr id="13" name="Left-Right Arrow 12"/>
              <p:cNvSpPr/>
              <p:nvPr/>
            </p:nvSpPr>
            <p:spPr>
              <a:xfrm>
                <a:off x="3374572" y="3624941"/>
                <a:ext cx="1992086" cy="881743"/>
              </a:xfrm>
              <a:prstGeom prst="leftRightArrow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4" name="TextBox 13"/>
            <p:cNvSpPr txBox="1"/>
            <p:nvPr/>
          </p:nvSpPr>
          <p:spPr>
            <a:xfrm>
              <a:off x="3026229" y="4558725"/>
              <a:ext cx="5540829" cy="6211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 smtClean="0">
                  <a:solidFill>
                    <a:srgbClr val="C00000"/>
                  </a:solidFill>
                </a:rPr>
                <a:t>Editor facilities communication between Author and Reviewer to get GSICS/peer reviewed article.</a:t>
              </a:r>
              <a:endParaRPr lang="en-US" sz="1600" dirty="0">
                <a:solidFill>
                  <a:srgbClr val="C00000"/>
                </a:solidFill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solidFill>
            <a:srgbClr val="7030A0"/>
          </a:solidFill>
        </p:spPr>
        <p:txBody>
          <a:bodyPr/>
          <a:lstStyle/>
          <a:p>
            <a:r>
              <a:rPr lang="en-US" dirty="0" smtClean="0"/>
              <a:t>Type of articles accepted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1933" y="1712218"/>
            <a:ext cx="8558981" cy="1750310"/>
          </a:xfrm>
        </p:spPr>
        <p:txBody>
          <a:bodyPr/>
          <a:lstStyle/>
          <a:p>
            <a:pPr>
              <a:buNone/>
            </a:pPr>
            <a:r>
              <a:rPr lang="en-US" dirty="0" smtClean="0"/>
              <a:t>Experimented with several types of articles.</a:t>
            </a:r>
          </a:p>
          <a:p>
            <a:pPr lvl="1"/>
            <a:r>
              <a:rPr lang="en-US" sz="1800" dirty="0" smtClean="0"/>
              <a:t>Articles on brand new work, not peer reviewed earlier (GCC does not have the resources to review such work adequately)</a:t>
            </a:r>
          </a:p>
          <a:p>
            <a:pPr lvl="1"/>
            <a:r>
              <a:rPr lang="en-US" sz="1800" dirty="0" smtClean="0"/>
              <a:t>Articles based on already published work (replication of text and key result figures need to be avoided)</a:t>
            </a:r>
            <a:endParaRPr lang="en-US" sz="1800" dirty="0" smtClean="0">
              <a:solidFill>
                <a:srgbClr val="FF0000"/>
              </a:solidFill>
            </a:endParaRPr>
          </a:p>
          <a:p>
            <a:pPr>
              <a:buNone/>
            </a:pP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719328" y="3520574"/>
            <a:ext cx="7607808" cy="646331"/>
          </a:xfrm>
          <a:prstGeom prst="rect">
            <a:avLst/>
          </a:prstGeom>
          <a:solidFill>
            <a:srgbClr val="009900"/>
          </a:solidFill>
        </p:spPr>
        <p:txBody>
          <a:bodyPr wrap="square" rtlCol="0">
            <a:spAutoFit/>
          </a:bodyPr>
          <a:lstStyle/>
          <a:p>
            <a:r>
              <a:rPr lang="en-US" sz="1800" dirty="0" smtClean="0"/>
              <a:t>Mainly review articles accepted. Articles should be 800-1000 words long with at most two figures and one </a:t>
            </a:r>
            <a:r>
              <a:rPr lang="en-US" sz="1800" dirty="0"/>
              <a:t>t</a:t>
            </a:r>
            <a:r>
              <a:rPr lang="en-US" sz="1800" dirty="0" smtClean="0"/>
              <a:t>ab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1181" y="157217"/>
            <a:ext cx="7535537" cy="715565"/>
          </a:xfrm>
          <a:solidFill>
            <a:srgbClr val="7030A0"/>
          </a:solidFill>
        </p:spPr>
        <p:txBody>
          <a:bodyPr/>
          <a:lstStyle/>
          <a:p>
            <a:r>
              <a:rPr lang="en-US" dirty="0" smtClean="0"/>
              <a:t>GSIC S Newsletter at Center of Inter-Calibration  journal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111067" y="1131186"/>
            <a:ext cx="5079442" cy="518114"/>
          </a:xfrm>
          <a:solidFill>
            <a:schemeClr val="bg1">
              <a:lumMod val="50000"/>
            </a:schemeClr>
          </a:solidFill>
        </p:spPr>
        <p:txBody>
          <a:bodyPr/>
          <a:lstStyle/>
          <a:p>
            <a:pPr>
              <a:buNone/>
            </a:pPr>
            <a:r>
              <a:rPr lang="en-US" dirty="0" smtClean="0">
                <a:solidFill>
                  <a:schemeClr val="bg1"/>
                </a:solidFill>
              </a:rPr>
              <a:t>Atmospheric Measurement Techniques (AMT)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Content Placeholder 2"/>
          <p:cNvSpPr txBox="1">
            <a:spLocks/>
          </p:cNvSpPr>
          <p:nvPr/>
        </p:nvSpPr>
        <p:spPr bwMode="auto">
          <a:xfrm>
            <a:off x="114300" y="1924531"/>
            <a:ext cx="2314575" cy="1352069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77925" tIns="38963" rIns="77925" bIns="38963" numCol="1" anchor="t" anchorCtr="0" compatLnSpc="1">
            <a:prstTxWarp prst="textNoShape">
              <a:avLst/>
            </a:prstTxWarp>
          </a:bodyPr>
          <a:lstStyle/>
          <a:p>
            <a:pPr marL="292219" lvl="0" indent="-292219" eaLnBrk="0" hangingPunct="0">
              <a:spcBef>
                <a:spcPct val="20000"/>
              </a:spcBef>
              <a:defRPr/>
            </a:pPr>
            <a:r>
              <a:rPr lang="en-US" sz="2000" dirty="0" smtClean="0">
                <a:latin typeface="+mj-lt"/>
              </a:rPr>
              <a:t>Transactions  On Geosciences  And Remote Sensing </a:t>
            </a:r>
            <a:r>
              <a:rPr kumimoji="0" lang="en-US" sz="20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(TGRS)</a:t>
            </a:r>
            <a:endParaRPr kumimoji="0" lang="en-US" sz="20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5" name="Content Placeholder 2"/>
          <p:cNvSpPr txBox="1">
            <a:spLocks/>
          </p:cNvSpPr>
          <p:nvPr/>
        </p:nvSpPr>
        <p:spPr bwMode="auto">
          <a:xfrm>
            <a:off x="6855071" y="1933575"/>
            <a:ext cx="2288929" cy="1007051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77925" tIns="38963" rIns="77925" bIns="38963" numCol="1" anchor="t" anchorCtr="0" compatLnSpc="1">
            <a:prstTxWarp prst="textNoShape">
              <a:avLst/>
            </a:prstTxWarp>
          </a:bodyPr>
          <a:lstStyle/>
          <a:p>
            <a:pPr marL="292219" lvl="0" indent="-292219" eaLnBrk="0" hangingPunct="0">
              <a:spcBef>
                <a:spcPct val="20000"/>
              </a:spcBef>
              <a:defRPr/>
            </a:pPr>
            <a:r>
              <a:rPr lang="en-US" sz="2000" dirty="0" smtClean="0">
                <a:latin typeface="+mj-lt"/>
              </a:rPr>
              <a:t>Journal of Geophysical Research (JGR). 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6" name="Content Placeholder 2"/>
          <p:cNvSpPr txBox="1">
            <a:spLocks/>
          </p:cNvSpPr>
          <p:nvPr/>
        </p:nvSpPr>
        <p:spPr bwMode="auto">
          <a:xfrm>
            <a:off x="2695928" y="3364548"/>
            <a:ext cx="3611354" cy="518114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77925" tIns="38963" rIns="77925" bIns="38963" numCol="1" anchor="t" anchorCtr="0" compatLnSpc="1">
            <a:prstTxWarp prst="textNoShape">
              <a:avLst/>
            </a:prstTxWarp>
          </a:bodyPr>
          <a:lstStyle/>
          <a:p>
            <a:pPr marL="292219" marR="0" lvl="0" indent="-292219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Journal of Remote Sensing (JRS)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045643" y="2232104"/>
            <a:ext cx="1093899" cy="46166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200" dirty="0" smtClean="0">
                <a:solidFill>
                  <a:schemeClr val="tx1"/>
                </a:solidFill>
              </a:rPr>
              <a:t>GSICS  </a:t>
            </a:r>
          </a:p>
          <a:p>
            <a:r>
              <a:rPr lang="en-US" sz="1200" dirty="0" smtClean="0">
                <a:solidFill>
                  <a:schemeClr val="tx1"/>
                </a:solidFill>
              </a:rPr>
              <a:t>Newsletter 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23828" y="3973949"/>
            <a:ext cx="8887968" cy="92333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800" dirty="0" smtClean="0">
                <a:solidFill>
                  <a:srgbClr val="92D050"/>
                </a:solidFill>
                <a:latin typeface="+mn-lt"/>
              </a:rPr>
              <a:t>As a result of decision to publish review article </a:t>
            </a:r>
            <a:endParaRPr lang="en-US" sz="1600" dirty="0" smtClean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  <a:p>
            <a:pPr marL="617961" lvl="1" indent="-228600">
              <a:buFont typeface="+mj-lt"/>
              <a:buAutoNum type="arabicPeriod"/>
            </a:pPr>
            <a:r>
              <a:rPr lang="en-US" sz="1200" dirty="0" smtClean="0"/>
              <a:t>Newsletter sits at the center of Inter-calibration  research.</a:t>
            </a:r>
          </a:p>
          <a:p>
            <a:pPr marL="617961" lvl="1" indent="-228600">
              <a:buFont typeface="+mj-lt"/>
              <a:buAutoNum type="arabicPeriod"/>
            </a:pPr>
            <a:r>
              <a:rPr lang="en-US" sz="1200" dirty="0" smtClean="0"/>
              <a:t>Journals considering advising authors to write  review articles for GSICS Newsletter</a:t>
            </a:r>
          </a:p>
          <a:p>
            <a:pPr marL="617961" lvl="1" indent="-228600">
              <a:buFont typeface="+mj-lt"/>
              <a:buAutoNum type="arabicPeriod"/>
            </a:pPr>
            <a:r>
              <a:rPr lang="en-US" sz="1200" dirty="0" smtClean="0"/>
              <a:t>Mainstream journals provided copyrights for figures and text</a:t>
            </a:r>
          </a:p>
        </p:txBody>
      </p:sp>
      <p:sp>
        <p:nvSpPr>
          <p:cNvPr id="9" name="Down Arrow 8"/>
          <p:cNvSpPr/>
          <p:nvPr/>
        </p:nvSpPr>
        <p:spPr>
          <a:xfrm>
            <a:off x="4114800" y="1776845"/>
            <a:ext cx="384464" cy="384464"/>
          </a:xfrm>
          <a:prstGeom prst="downArrow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Down Arrow 9"/>
          <p:cNvSpPr/>
          <p:nvPr/>
        </p:nvSpPr>
        <p:spPr>
          <a:xfrm rot="5400000">
            <a:off x="6218978" y="2272145"/>
            <a:ext cx="384464" cy="384464"/>
          </a:xfrm>
          <a:prstGeom prst="downArrow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Down Arrow 10"/>
          <p:cNvSpPr/>
          <p:nvPr/>
        </p:nvSpPr>
        <p:spPr>
          <a:xfrm rot="16200000">
            <a:off x="2566555" y="2313710"/>
            <a:ext cx="384464" cy="384464"/>
          </a:xfrm>
          <a:prstGeom prst="downArrow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Down Arrow 11"/>
          <p:cNvSpPr/>
          <p:nvPr/>
        </p:nvSpPr>
        <p:spPr>
          <a:xfrm rot="10800000">
            <a:off x="4069773" y="2861687"/>
            <a:ext cx="384464" cy="384464"/>
          </a:xfrm>
          <a:prstGeom prst="downArrow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4818" name="Picture 2" descr="http://gsics.atmos.umd.edu/pub/Development/Logos/GSICS1000px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013023" y="2053963"/>
            <a:ext cx="2001404" cy="810568"/>
          </a:xfrm>
          <a:prstGeom prst="rect">
            <a:avLst/>
          </a:prstGeom>
          <a:noFill/>
        </p:spPr>
      </p:pic>
      <p:sp>
        <p:nvSpPr>
          <p:cNvPr id="16" name="Rectangle 15"/>
          <p:cNvSpPr/>
          <p:nvPr/>
        </p:nvSpPr>
        <p:spPr>
          <a:xfrm>
            <a:off x="3009900" y="2133600"/>
            <a:ext cx="3209925" cy="733425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8686800" cy="715565"/>
          </a:xfrm>
          <a:solidFill>
            <a:srgbClr val="7030A0"/>
          </a:solidFill>
        </p:spPr>
        <p:txBody>
          <a:bodyPr/>
          <a:lstStyle/>
          <a:p>
            <a:r>
              <a:rPr lang="en-US" dirty="0" smtClean="0"/>
              <a:t>Newsletter-Editorial Board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4103605"/>
            <a:ext cx="4864608" cy="893591"/>
          </a:xfrm>
          <a:solidFill>
            <a:srgbClr val="009900"/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/>
          <a:lstStyle/>
          <a:p>
            <a:pPr>
              <a:buNone/>
            </a:pPr>
            <a:r>
              <a:rPr lang="en-US" dirty="0" smtClean="0"/>
              <a:t>Nominations accepted for the Editorial Board.</a:t>
            </a:r>
          </a:p>
        </p:txBody>
      </p:sp>
      <p:sp>
        <p:nvSpPr>
          <p:cNvPr id="5" name="Rectangle 4"/>
          <p:cNvSpPr/>
          <p:nvPr/>
        </p:nvSpPr>
        <p:spPr>
          <a:xfrm>
            <a:off x="0" y="1122898"/>
            <a:ext cx="4843567" cy="2723800"/>
          </a:xfrm>
          <a:prstGeom prst="rect">
            <a:avLst/>
          </a:prstGeom>
        </p:spPr>
        <p:txBody>
          <a:bodyPr wrap="square" lIns="91420" tIns="45709" rIns="91420" bIns="45709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u="sng" dirty="0" smtClean="0">
                <a:solidFill>
                  <a:schemeClr val="tx1"/>
                </a:solidFill>
              </a:rPr>
              <a:t>Editorial Board</a:t>
            </a:r>
          </a:p>
          <a:p>
            <a:pPr>
              <a:lnSpc>
                <a:spcPct val="150000"/>
              </a:lnSpc>
            </a:pPr>
            <a:r>
              <a:rPr lang="en-US" sz="1600" dirty="0" err="1" smtClean="0">
                <a:solidFill>
                  <a:schemeClr val="tx1"/>
                </a:solidFill>
              </a:rPr>
              <a:t>Manik</a:t>
            </a:r>
            <a:r>
              <a:rPr lang="en-US" sz="1600" dirty="0" smtClean="0">
                <a:solidFill>
                  <a:schemeClr val="tx1"/>
                </a:solidFill>
              </a:rPr>
              <a:t> Bali, Editor </a:t>
            </a:r>
          </a:p>
          <a:p>
            <a:pPr>
              <a:lnSpc>
                <a:spcPct val="150000"/>
              </a:lnSpc>
            </a:pPr>
            <a:r>
              <a:rPr lang="en-US" sz="1600" dirty="0" smtClean="0">
                <a:solidFill>
                  <a:schemeClr val="tx1"/>
                </a:solidFill>
              </a:rPr>
              <a:t>Lawrence E. Flynn, Reviewer </a:t>
            </a:r>
          </a:p>
          <a:p>
            <a:pPr>
              <a:lnSpc>
                <a:spcPct val="150000"/>
              </a:lnSpc>
            </a:pPr>
            <a:r>
              <a:rPr lang="en-US" sz="1600" dirty="0" smtClean="0">
                <a:solidFill>
                  <a:schemeClr val="tx1"/>
                </a:solidFill>
              </a:rPr>
              <a:t>Lori K. Brown, Tech Support</a:t>
            </a:r>
          </a:p>
          <a:p>
            <a:pPr>
              <a:lnSpc>
                <a:spcPct val="150000"/>
              </a:lnSpc>
            </a:pPr>
            <a:r>
              <a:rPr lang="en-US" sz="1600" dirty="0" err="1" smtClean="0">
                <a:solidFill>
                  <a:schemeClr val="tx1"/>
                </a:solidFill>
              </a:rPr>
              <a:t>FangFang</a:t>
            </a:r>
            <a:r>
              <a:rPr lang="en-US" sz="1600" dirty="0" smtClean="0">
                <a:solidFill>
                  <a:schemeClr val="tx1"/>
                </a:solidFill>
              </a:rPr>
              <a:t> Yu, Americas Correspondent. </a:t>
            </a:r>
          </a:p>
          <a:p>
            <a:pPr>
              <a:lnSpc>
                <a:spcPct val="150000"/>
              </a:lnSpc>
            </a:pPr>
            <a:r>
              <a:rPr lang="en-US" sz="1600" dirty="0" smtClean="0">
                <a:solidFill>
                  <a:schemeClr val="tx1"/>
                </a:solidFill>
              </a:rPr>
              <a:t>Tim </a:t>
            </a:r>
            <a:r>
              <a:rPr lang="en-US" sz="1600" dirty="0" err="1" smtClean="0">
                <a:solidFill>
                  <a:schemeClr val="tx1"/>
                </a:solidFill>
              </a:rPr>
              <a:t>Hewison</a:t>
            </a:r>
            <a:r>
              <a:rPr lang="en-US" sz="1600" dirty="0" smtClean="0">
                <a:solidFill>
                  <a:schemeClr val="tx1"/>
                </a:solidFill>
              </a:rPr>
              <a:t>, European Correspondent </a:t>
            </a:r>
          </a:p>
          <a:p>
            <a:pPr>
              <a:lnSpc>
                <a:spcPct val="150000"/>
              </a:lnSpc>
            </a:pPr>
            <a:r>
              <a:rPr lang="en-US" sz="1600" dirty="0" smtClean="0">
                <a:solidFill>
                  <a:schemeClr val="tx1"/>
                </a:solidFill>
              </a:rPr>
              <a:t>Yuan Li, Asian Correspondent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6" name="Content Placeholder 2"/>
          <p:cNvSpPr txBox="1">
            <a:spLocks/>
          </p:cNvSpPr>
          <p:nvPr/>
        </p:nvSpPr>
        <p:spPr bwMode="auto">
          <a:xfrm>
            <a:off x="5059680" y="3372085"/>
            <a:ext cx="4084320" cy="1614443"/>
          </a:xfrm>
          <a:prstGeom prst="rect">
            <a:avLst/>
          </a:prstGeom>
          <a:ln w="9525" cap="flat" cmpd="sng" algn="ctr">
            <a:solidFill>
              <a:schemeClr val="dk1">
                <a:shade val="95000"/>
                <a:satMod val="105000"/>
              </a:schemeClr>
            </a:solidFill>
            <a:prstDash val="solid"/>
            <a:miter lim="800000"/>
            <a:headEnd/>
            <a:tailEnd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square" lIns="77871" tIns="38935" rIns="77871" bIns="38935" numCol="1" anchor="t" anchorCtr="0" compatLnSpc="1">
            <a:prstTxWarp prst="textNoShape">
              <a:avLst/>
            </a:prstTxWarp>
          </a:bodyPr>
          <a:lstStyle/>
          <a:p>
            <a:pPr marL="292020" marR="0" lvl="0" indent="-29202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Wish to thank, Authors,</a:t>
            </a:r>
            <a:r>
              <a:rPr kumimoji="0" lang="en-US" sz="2000" b="1" i="0" u="none" strike="noStrike" kern="1200" cap="none" spc="0" normalizeH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Reviewers, Members of the Editorial Board and Tech Support for their immense contributions to the GSICS Newsletter.</a:t>
            </a:r>
            <a:endParaRPr kumimoji="0" lang="en-US" sz="2000" b="1" i="0" u="none" strike="noStrike" kern="1200" cap="none" spc="0" normalizeH="0" baseline="0" noProof="0" dirty="0" smtClean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10242" name="Picture 2" descr="Image result for thank you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844422" y="904430"/>
            <a:ext cx="4153274" cy="2373694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solidFill>
            <a:srgbClr val="7030A0"/>
          </a:solidFill>
        </p:spPr>
        <p:txBody>
          <a:bodyPr/>
          <a:lstStyle/>
          <a:p>
            <a:r>
              <a:rPr lang="en-US" dirty="0" smtClean="0"/>
              <a:t>Conclusion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5968" y="1041660"/>
            <a:ext cx="8229600" cy="2378788"/>
          </a:xfrm>
        </p:spPr>
        <p:txBody>
          <a:bodyPr/>
          <a:lstStyle/>
          <a:p>
            <a:r>
              <a:rPr lang="en-US" dirty="0" smtClean="0"/>
              <a:t>The GSICS Newsletter has evolved into an effective tool for sharing GSICS research with the global scientific community. </a:t>
            </a:r>
          </a:p>
          <a:p>
            <a:r>
              <a:rPr lang="en-US" dirty="0" smtClean="0"/>
              <a:t>The Newsletter has been recognized as one of the main platforms for exchanging  satellite inter-calibration ideas.</a:t>
            </a:r>
          </a:p>
          <a:p>
            <a:r>
              <a:rPr lang="en-US" dirty="0" smtClean="0"/>
              <a:t>An editorial board has been formed – accepting recommendations for new members.</a:t>
            </a:r>
          </a:p>
          <a:p>
            <a:r>
              <a:rPr lang="en-US" dirty="0" smtClean="0"/>
              <a:t>Using a NOAA Email ID (Lori K. Brown) to avoid spam classification and rejection.</a:t>
            </a:r>
          </a:p>
          <a:p>
            <a:r>
              <a:rPr lang="en-US" dirty="0" smtClean="0"/>
              <a:t>Newsletter included in SCOPUS and newsletter articles cited in various journals, reports and social media (Twitter, Facebook).</a:t>
            </a:r>
          </a:p>
          <a:p>
            <a:r>
              <a:rPr lang="en-US" dirty="0" smtClean="0"/>
              <a:t>Four quarterly issues of the Newsletter were produced during the last year as planned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DnGgMBJUOosEVC6Jujp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9vwXCt_kaqt93_I_0wg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EFRAcLkUG4.D4yiQ0OM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eady1DkyYEHpqGJQso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xmkzlL_06P3qdxRJN3N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Khuvf20G3pxE3rPGRU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kMnv3zlEKDSJGrmiFeo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5u6petYUq6GelXeFA7p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WZlsW60G25Gj2zTYvG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DfpTpkWkGRU9ufGRs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oTXi.a8k29hZwoKHVUr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qkn5jtNE.PxoBHZYul8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RfRG1DiEq46CiZYMcsT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HtMxV1OUCVLbZgg8uBB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FTXuruXkaeXH3pHZBUy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mKvu9F2UqOWV.jKpi8W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2xfNTVk06iIOPzTtH.u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v8hXAZWkCYS8D5SyMVP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nLKf6o.E6SSCaRFPVIF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H1kZKxkKh6YkXiGJ4a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ITI98aT02LTNhyRpzW3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bYLyEbkyIVp3rqipD5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RtM18uS0KZlPVn2g69C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DVC2Kjqk.9epEZDxgyh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0WeLBjf0O5HNxtwnif4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HM6e4rj0uhDZTKOz91V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tLYQtC7EG0NYQ8m9lwC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UT3dMkHk2g6Pi4xQ3h3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pX3Q7RUSh_wdv1Vjix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hkDa3qLEOMVFlevwgde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6jGyjCFECvDuetubeMy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Vpfiz3Hkq5_b3Sm8PXf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IXCG1tkaOTMCh23pIc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bnGkMGkmR0WxtxOoCU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b3Kmxq0e4OB1bXPiDr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m6O3J3L066EUBFzB3v5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8dSPdzlE.m_rpCioloP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izzi840.LiNTG8UVDb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uM940MUSeXxQBzkdzn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Bt32EnUeho7Uz0f0VQ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8D.p_LkCxmMOrbfCI5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zO8sgqNUSkchh94pbPI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UChXo_nUeXhYoxb.MpS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xRufkSkWt0L5oOQv3G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O0CReBL0WiYmOhaNIl8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VK9o_lBEiW_jjZq23vh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1if8U_kkGRbmTVFqmnH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LiWtjQUE.DY8EyBT7AB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Xi8y3rkWT2N0TNDcBL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1z8NsBkKqhkcVXOqZU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c8kkt4q0e.ZrLgD36kO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gqzpZyk.0.Gd7n1AIy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84YlLhUaaoYi7s90WF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SpjFO8EWtLeIsaUqPE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j2IPyFxECfvo1gw9Sbw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ZJwjSc.kWzdZmgqa2zd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s2zvHYdEil09VeTvEf6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JotP6Di0eOWSDd30vk.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Fp9GFKhUieQsCqXlIHu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MEBUZEP0GsVgX8zaljo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ohiDLWEisxP_yOIOfD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LH8BsF6EmK5vWXEpLfA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zJTor7Pk2ErGKMhi6Ih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EnU6Npkmsawl6_T0dt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8Qg5sPv0SWAJvICnZTU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RKL946_k.T7OLgXmrIV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Q7WbpnNECUeu72B0vj2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gP_BoBtU2W2fKf7zUfZ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K3GWVLI0aoBoHVvTCiG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kX4fT2hkyqieKGzVuJT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hZkNymx0WrQ9F2pEb9U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0bAEKDlEOgKZqud9DGK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Nkl4BDm0yeYT5nsgSpa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f9xI6RkEG2vzREIBYAG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8O33vRwk61GjtU.Oydw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MNLu58kCkf8yt8SRDd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8xQ7OMU6AiGciNqwDo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LNBYoZ.kCOuU7B2V4_vQ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7zE5eyd0GFC.JEDQsbS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dN4B_m4USf1SHNvQr38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3kVGSD8E2R3a_uiz4uy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evLIyIkUaOHXXRiS7NXg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k7_zEYFUqGR92W0eUF.Q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X_bzdjZEG.TwFxTGram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CnxqHdU68pN3zmniVY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j4yuZlQ0ygwe55UkkzJ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CIAQe320ifVlq_jDHOSg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c5S_JgjUekhJoSO4cD0A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AmX7t8pkO5M7P6nsgLU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sHtCYT.U2.da0_MDqLF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JplmT8SUuXCeBLOSANy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6Hc8C6QkelXfa25mKf3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LpmmEE_UyDMzK4.SPAAg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8cvlXIdkSmO8JdNpWDo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aV209d0KSl4RMuLFKX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XBK8mjE23Vdsi34RMp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my8oAKY0aMgr4hUO575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sHzi_zQUif9tgOXAxHV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Xb9kwUE.wFZMRail7W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RI8Yx3rkiRV0cBVP79F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tHjDOu10Oyf0_PMzAymA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Ac.xljkqa9_1EATV0L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QtEbX6E6QN9jSC0trs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1_CYR57Eq88XT8VRrqn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yX4eurEyR1btNlyBsTw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nZU4uJESxRZHTwBKsh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OYIvuZUK7vL5D4Inzc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5xmm5wFUGFCBuzKaXYwg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UU6.v9VkGNQri0dDfnWA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QiJJLXskSm_N3iYMcRqw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G2Zf8v0mlvBios7Sy7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oIvoZFaUGd5sH.karlKg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DNiCzIU.ZLYarAYz_Gw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x6YloDkGy_kS_F_XBgQ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sWh42skWMQ9rV_qByXQ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VKGmdkSUA61x9_QIdA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AFrcGwEK81CTHhYdE7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Wylrfjkasb5WPvteMY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voMpFV4US6YqovARnID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LLm4JPGkeBTbiuaXxfvQ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tXRq3Sg0uHynw1ro0M2A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rYnzPg80iGV6nDsYa3_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C.PDPTIUmydEN_FB7EcQ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q.3zDmkSx7CTl.T46TQ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Pu_r3.dEy2P8YDwWaROA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IUtXOWaky.v0EENhvtIg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jSJuip06YNxTsDcyIcg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JVcvH4XkuNHaEqInWOmA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ComMW8k2NI54MPI6leQ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X2_q3qPk.ZHDqIFCogTg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bXJxse70WBoNfG5VoESQ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YYtpjJgk217rT2rubEY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euV5hW5Eijg6ZeMel1T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BMq1cpeEKIE4fDMB5b9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a21afFvU27.CePXGVSd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YWbkeG90uaf4h5uqXm0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3OXfCtikaP6GqJL_MyA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.VBm6MjUGslyaSVjam8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3zGpEE5ESAs3sCQE1YK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yNhhKT9EaZjP8ypRXzT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BDIz_ex0S45.vp57Z5Z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4KfLJQEkapxtYUfKSrm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EDzEFf023Cck6.kOYF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MoMhEiskGS8dcTWyBy2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zRnfu8YE.TpKGz7DECr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c2gO_wrEyobii_fUC7p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Kc4aMTWkexewir9tEgh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DZ7Da6s0OnTdZ11Ym4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DfUliNcE2s2JZ3l8B7i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FgiavccEymIkC4O2zxR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z_G0cRUUSPFfaI4HGfU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mTnk4TkSHQ52A11zsG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tIfkN5j0W7fAbt2bh2m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hWOMcUk64nKp7R3Xsd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V.kMn0OEuzfLKA1PdTE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jNB.mOkmEv7mlHOgZI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uLmJYrj0GNwUXFjqMTL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ftQQhTdEamZKojTfCgD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yix8h_E0OwFiDPNjCHk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n_HmIe2EK866vv2.bCd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ts24.8s06YbRlkYrra0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528dKmeqk.2LlA0UzQ8B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FjCpaJEEuW7D9P735Hd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dZDwxhjUi08vW1N97hK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1kA4PPUW3rgOS82cTb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Wq1k2uPEiP00IpLWJ9Y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B4nK190S_NYBwEbrFX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c8b4RXEUOHU.m6RMcao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24HOWf02Q6pUyevoSL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XV1mXpskeBdPC9RRbTe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IhW3nE5U.0xjuRHL5FZ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EF8PwB5UaMn1DplTq7e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r4nrhh5kunukGBetMK8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heme1</Template>
  <TotalTime>59289</TotalTime>
  <Words>915</Words>
  <Application>Microsoft Office PowerPoint</Application>
  <PresentationFormat>On-screen Show (16:9)</PresentationFormat>
  <Paragraphs>119</Paragraphs>
  <Slides>13</Slides>
  <Notes>4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0" baseType="lpstr">
      <vt:lpstr>Arial</vt:lpstr>
      <vt:lpstr>Calibri</vt:lpstr>
      <vt:lpstr>Helvetica</vt:lpstr>
      <vt:lpstr>Tahoma</vt:lpstr>
      <vt:lpstr>Times New Roman</vt:lpstr>
      <vt:lpstr>Wingdings</vt:lpstr>
      <vt:lpstr>Office Theme</vt:lpstr>
      <vt:lpstr> GSICS Quarterly www.star.nesdis.noaa.gov/smcd/GCC/newsletters.php</vt:lpstr>
      <vt:lpstr>Outline</vt:lpstr>
      <vt:lpstr>GSICS Newsletter-Past Year</vt:lpstr>
      <vt:lpstr>PowerPoint Presentation</vt:lpstr>
      <vt:lpstr>Newsletter Article Review process</vt:lpstr>
      <vt:lpstr>Type of articles accepted.</vt:lpstr>
      <vt:lpstr>GSIC S Newsletter at Center of Inter-Calibration  journals</vt:lpstr>
      <vt:lpstr>Newsletter-Editorial Board</vt:lpstr>
      <vt:lpstr>Conclusions</vt:lpstr>
      <vt:lpstr>PowerPoint Presentation</vt:lpstr>
      <vt:lpstr>ACTION</vt:lpstr>
      <vt:lpstr>PowerPoint Presentation</vt:lpstr>
      <vt:lpstr>PowerPoint Presentation</vt:lpstr>
    </vt:vector>
  </TitlesOfParts>
  <Company>Eumetsa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o Slide Title</dc:title>
  <dc:creator>Thomas Staudte</dc:creator>
  <cp:lastModifiedBy>Manik Bali</cp:lastModifiedBy>
  <cp:revision>2696</cp:revision>
  <cp:lastPrinted>2006-03-06T14:11:17Z</cp:lastPrinted>
  <dcterms:created xsi:type="dcterms:W3CDTF">2010-09-10T00:53:07Z</dcterms:created>
  <dcterms:modified xsi:type="dcterms:W3CDTF">2017-03-24T16:17:56Z</dcterms:modified>
</cp:coreProperties>
</file>